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3.xml" ContentType="application/vnd.openxmlformats-officedocument.theme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5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theme/theme6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theme/theme7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theme/theme8.xml" ContentType="application/vnd.openxmlformats-officedocument.theme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theme/theme9.xml" ContentType="application/vnd.openxmlformats-officedocument.theme+xml"/>
  <Override PartName="/ppt/tags/tag43.xml" ContentType="application/vnd.openxmlformats-officedocument.presentationml.tags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theme/theme10.xml" ContentType="application/vnd.openxmlformats-officedocument.them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theme/theme11.xml" ContentType="application/vnd.openxmlformats-officedocument.theme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theme/theme12.xml" ContentType="application/vnd.openxmlformats-officedocument.theme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theme/theme13.xml" ContentType="application/vnd.openxmlformats-officedocument.theme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slideLayouts/slideLayout407.xml" ContentType="application/vnd.openxmlformats-officedocument.presentationml.slideLayout+xml"/>
  <Override PartName="/ppt/slideLayouts/slideLayout408.xml" ContentType="application/vnd.openxmlformats-officedocument.presentationml.slideLayout+xml"/>
  <Override PartName="/ppt/slideLayouts/slideLayout409.xml" ContentType="application/vnd.openxmlformats-officedocument.presentationml.slideLayout+xml"/>
  <Override PartName="/ppt/slideLayouts/slideLayout410.xml" ContentType="application/vnd.openxmlformats-officedocument.presentationml.slideLayout+xml"/>
  <Override PartName="/ppt/theme/theme14.xml" ContentType="application/vnd.openxmlformats-officedocument.theme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slideLayouts/slideLayout411.xml" ContentType="application/vnd.openxmlformats-officedocument.presentationml.slideLayout+xml"/>
  <Override PartName="/ppt/slideLayouts/slideLayout412.xml" ContentType="application/vnd.openxmlformats-officedocument.presentationml.slideLayout+xml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slideLayouts/slideLayout416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18.xml" ContentType="application/vnd.openxmlformats-officedocument.presentationml.slideLayout+xml"/>
  <Override PartName="/ppt/theme/theme15.xml" ContentType="application/vnd.openxmlformats-officedocument.theme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heme/theme16.xml" ContentType="application/vnd.openxmlformats-officedocument.theme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464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465.xml" ContentType="application/vnd.openxmlformats-officedocument.presentationml.tags+xml"/>
  <Override PartName="/ppt/notesSlides/notesSlide9.xml" ContentType="application/vnd.openxmlformats-officedocument.presentationml.notesSlide+xml"/>
  <Override PartName="/ppt/tags/tag466.xml" ContentType="application/vnd.openxmlformats-officedocument.presentationml.tags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93" r:id="rId2"/>
    <p:sldMasterId id="2147483728" r:id="rId3"/>
    <p:sldMasterId id="2147483737" r:id="rId4"/>
    <p:sldMasterId id="2147483745" r:id="rId5"/>
    <p:sldMasterId id="2147483754" r:id="rId6"/>
    <p:sldMasterId id="2147483767" r:id="rId7"/>
    <p:sldMasterId id="2147483783" r:id="rId8"/>
    <p:sldMasterId id="2147483795" r:id="rId9"/>
    <p:sldMasterId id="2147483818" r:id="rId10"/>
    <p:sldMasterId id="2147483893" r:id="rId11"/>
    <p:sldMasterId id="2147483902" r:id="rId12"/>
    <p:sldMasterId id="2147483959" r:id="rId13"/>
    <p:sldMasterId id="2147484016" r:id="rId14"/>
    <p:sldMasterId id="2147484092" r:id="rId15"/>
  </p:sldMasterIdLst>
  <p:notesMasterIdLst>
    <p:notesMasterId r:id="rId26"/>
  </p:notesMasterIdLst>
  <p:sldIdLst>
    <p:sldId id="314" r:id="rId16"/>
    <p:sldId id="412" r:id="rId17"/>
    <p:sldId id="413" r:id="rId18"/>
    <p:sldId id="395" r:id="rId19"/>
    <p:sldId id="392" r:id="rId20"/>
    <p:sldId id="391" r:id="rId21"/>
    <p:sldId id="396" r:id="rId22"/>
    <p:sldId id="393" r:id="rId23"/>
    <p:sldId id="397" r:id="rId24"/>
    <p:sldId id="318" r:id="rId25"/>
  </p:sldIdLst>
  <p:sldSz cx="12192000" cy="6858000"/>
  <p:notesSz cx="6735763" cy="9866313"/>
  <p:custDataLst>
    <p:tags r:id="rId27"/>
  </p:custDataLst>
  <p:defaultTextStyle>
    <a:defPPr>
      <a:defRPr lang="de-DE"/>
    </a:defPPr>
    <a:lvl1pPr marL="0" algn="l" defTabSz="108895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44479" algn="l" defTabSz="108895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88959" algn="l" defTabSz="108895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633438" algn="l" defTabSz="108895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177918" algn="l" defTabSz="108895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722397" algn="l" defTabSz="108895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266877" algn="l" defTabSz="108895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811356" algn="l" defTabSz="108895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355836" algn="l" defTabSz="108895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56" userDrawn="1">
          <p15:clr>
            <a:srgbClr val="A4A3A4"/>
          </p15:clr>
        </p15:guide>
        <p15:guide id="2" pos="7512" userDrawn="1">
          <p15:clr>
            <a:srgbClr val="A4A3A4"/>
          </p15:clr>
        </p15:guide>
        <p15:guide id="3" pos="192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6C245"/>
    <a:srgbClr val="C8C8C8"/>
    <a:srgbClr val="FEEC00"/>
    <a:srgbClr val="C41300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21E4AEA4-8DFA-4A89-87EB-49C32662AFE0}" styleName="中間スタイル 2 - アクセント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426" autoAdjust="0"/>
    <p:restoredTop sz="30081" autoAdjust="0"/>
  </p:normalViewPr>
  <p:slideViewPr>
    <p:cSldViewPr snapToGrid="0" showGuides="1">
      <p:cViewPr varScale="1">
        <p:scale>
          <a:sx n="101" d="100"/>
          <a:sy n="101" d="100"/>
        </p:scale>
        <p:origin x="101" y="144"/>
      </p:cViewPr>
      <p:guideLst>
        <p:guide orient="horz" pos="456"/>
        <p:guide pos="7512"/>
        <p:guide pos="19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3.xml"/><Relationship Id="rId26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6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2.xml"/><Relationship Id="rId25" Type="http://schemas.openxmlformats.org/officeDocument/2006/relationships/slide" Target="slides/slide10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.xml"/><Relationship Id="rId20" Type="http://schemas.openxmlformats.org/officeDocument/2006/relationships/slide" Target="slides/slide5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9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8.xml"/><Relationship Id="rId28" Type="http://schemas.openxmlformats.org/officeDocument/2006/relationships/presProps" Target="presProps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4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7.xml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0.emf"/></Relationships>
</file>

<file path=ppt/drawings/_rels/vmlDrawing1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0.emf"/></Relationships>
</file>

<file path=ppt/drawings/_rels/vmlDrawing1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1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1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7.emf"/></Relationships>
</file>

<file path=ppt/drawings/_rels/vmlDrawing1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1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0.emf"/></Relationships>
</file>

<file path=ppt/drawings/_rels/vmlDrawing1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1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7.emf"/></Relationships>
</file>

<file path=ppt/drawings/_rels/vmlDrawing1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2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2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2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2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2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2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2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2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2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2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2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2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2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2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2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2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2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2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2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2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7.emf"/></Relationships>
</file>

<file path=ppt/drawings/_rels/vmlDrawing2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2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2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2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2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2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2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2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2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2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2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2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2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2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2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2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2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2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2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2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2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2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2.emf"/></Relationships>
</file>

<file path=ppt/drawings/_rels/vmlDrawing2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2.emf"/></Relationships>
</file>

<file path=ppt/drawings/_rels/vmlDrawing24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4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4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4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4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4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2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2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2.emf"/></Relationships>
</file>

<file path=ppt/drawings/_rels/vmlDrawing2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2.emf"/></Relationships>
</file>

<file path=ppt/drawings/_rels/vmlDrawing2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2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2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2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2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2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2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2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7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2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3.emf"/></Relationships>
</file>

<file path=ppt/drawings/_rels/vmlDrawing2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3.emf"/></Relationships>
</file>

<file path=ppt/drawings/_rels/vmlDrawing2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7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2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2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2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2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2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7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15373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20E713E-0554-4502-9634-61FEC3511735}" type="datetimeFigureOut">
              <a:rPr lang="en-US" smtClean="0"/>
              <a:t>10/2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1233488"/>
            <a:ext cx="5916613" cy="3328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3577" y="4748163"/>
            <a:ext cx="5388610" cy="388486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15373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ACB7D24-CA4F-4FCC-9424-6CB1C2D702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436340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mtClean="0"/>
              <a:t>Notes view: </a:t>
            </a:r>
            <a:fld id="{128CEAFE-FA94-43E5-B0FF-D47E1CCDD1B4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121089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mtClean="0"/>
              <a:t>Notes view: </a:t>
            </a:r>
            <a:fld id="{128CEAFE-FA94-43E5-B0FF-D47E1CCDD1B4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375263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 altLang="ja-JP" baseline="0" dirty="0" smtClean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0889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C7F1437-3BF2-450D-A7B9-B11E523F51F3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08895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7634572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0889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C7F1437-3BF2-450D-A7B9-B11E523F51F3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08895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6973633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7F1437-3BF2-450D-A7B9-B11E523F51F3}" type="slidenum">
              <a:rPr lang="de-DE" smtClean="0"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138056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 altLang="ja-JP" dirty="0" smtClean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7F1437-3BF2-450D-A7B9-B11E523F51F3}" type="slidenum">
              <a:rPr lang="de-DE" smtClean="0"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138056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7F1437-3BF2-450D-A7B9-B11E523F51F3}" type="slidenum">
              <a:rPr lang="de-DE" smtClean="0"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138056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7F1437-3BF2-450D-A7B9-B11E523F51F3}" type="slidenum">
              <a:rPr lang="de-DE" smtClean="0"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138056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7F1437-3BF2-450D-A7B9-B11E523F51F3}" type="slidenum">
              <a:rPr lang="de-DE" smtClean="0"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138056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7F1437-3BF2-450D-A7B9-B11E523F51F3}" type="slidenum">
              <a:rPr lang="de-DE" smtClean="0"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13805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2.png"/><Relationship Id="rId1" Type="http://schemas.openxmlformats.org/officeDocument/2006/relationships/slideMaster" Target="../slideMasters/slideMaster7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29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30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31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32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33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34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35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36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37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38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39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40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41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42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jpe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58.png"/><Relationship Id="rId5" Type="http://schemas.openxmlformats.org/officeDocument/2006/relationships/image" Target="../media/image57.png"/><Relationship Id="rId4" Type="http://schemas.openxmlformats.org/officeDocument/2006/relationships/image" Target="../media/image56.png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9.jpeg"/><Relationship Id="rId1" Type="http://schemas.openxmlformats.org/officeDocument/2006/relationships/slideMaster" Target="../slideMasters/slideMaster9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jpeg"/><Relationship Id="rId1" Type="http://schemas.openxmlformats.org/officeDocument/2006/relationships/slideMaster" Target="../slideMasters/slideMaster9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9.jpeg"/><Relationship Id="rId1" Type="http://schemas.openxmlformats.org/officeDocument/2006/relationships/slideMaster" Target="../slideMasters/slideMaster9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jpeg"/><Relationship Id="rId1" Type="http://schemas.openxmlformats.org/officeDocument/2006/relationships/slideMaster" Target="../slideMasters/slideMaster9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49.jpe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64.png"/><Relationship Id="rId5" Type="http://schemas.openxmlformats.org/officeDocument/2006/relationships/image" Target="../media/image63.png"/><Relationship Id="rId4" Type="http://schemas.openxmlformats.org/officeDocument/2006/relationships/image" Target="../media/image62.png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5.jpeg"/><Relationship Id="rId1" Type="http://schemas.openxmlformats.org/officeDocument/2006/relationships/slideMaster" Target="../slideMasters/slideMaster9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49.jpeg"/><Relationship Id="rId1" Type="http://schemas.openxmlformats.org/officeDocument/2006/relationships/slideMaster" Target="../slideMasters/slideMaster9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5.jpeg"/><Relationship Id="rId1" Type="http://schemas.openxmlformats.org/officeDocument/2006/relationships/slideMaster" Target="../slideMasters/slideMaster9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jpeg"/><Relationship Id="rId1" Type="http://schemas.openxmlformats.org/officeDocument/2006/relationships/slideMaster" Target="../slideMasters/slideMaster9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jpg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43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27.emf"/><Relationship Id="rId4" Type="http://schemas.openxmlformats.org/officeDocument/2006/relationships/oleObject" Target="../embeddings/oleObject19.bin"/></Relationships>
</file>

<file path=ppt/slideLayouts/_rels/slideLayout1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13" Type="http://schemas.openxmlformats.org/officeDocument/2006/relationships/image" Target="../media/image37.png"/><Relationship Id="rId3" Type="http://schemas.openxmlformats.org/officeDocument/2006/relationships/slideMaster" Target="../slideMasters/slideMaster10.xml"/><Relationship Id="rId7" Type="http://schemas.openxmlformats.org/officeDocument/2006/relationships/image" Target="../media/image31.png"/><Relationship Id="rId12" Type="http://schemas.openxmlformats.org/officeDocument/2006/relationships/image" Target="../media/image36.png"/><Relationship Id="rId2" Type="http://schemas.openxmlformats.org/officeDocument/2006/relationships/tags" Target="../tags/tag46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30.png"/><Relationship Id="rId11" Type="http://schemas.openxmlformats.org/officeDocument/2006/relationships/image" Target="../media/image35.png"/><Relationship Id="rId5" Type="http://schemas.openxmlformats.org/officeDocument/2006/relationships/image" Target="../media/image29.emf"/><Relationship Id="rId10" Type="http://schemas.openxmlformats.org/officeDocument/2006/relationships/image" Target="../media/image34.png"/><Relationship Id="rId4" Type="http://schemas.openxmlformats.org/officeDocument/2006/relationships/oleObject" Target="../embeddings/oleObject21.bin"/><Relationship Id="rId9" Type="http://schemas.openxmlformats.org/officeDocument/2006/relationships/image" Target="../media/image33.png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0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2" Type="http://schemas.openxmlformats.org/officeDocument/2006/relationships/tags" Target="../tags/tag49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67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0.xml"/></Relationships>
</file>

<file path=ppt/slideLayouts/_rels/slideLayout148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52.xml"/><Relationship Id="rId7" Type="http://schemas.openxmlformats.org/officeDocument/2006/relationships/image" Target="../media/image68.png"/><Relationship Id="rId2" Type="http://schemas.openxmlformats.org/officeDocument/2006/relationships/tags" Target="../tags/tag51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0.xml"/></Relationships>
</file>

<file path=ppt/slideLayouts/_rels/slideLayout149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54.xml"/><Relationship Id="rId7" Type="http://schemas.openxmlformats.org/officeDocument/2006/relationships/image" Target="../media/image68.png"/><Relationship Id="rId2" Type="http://schemas.openxmlformats.org/officeDocument/2006/relationships/tags" Target="../tags/tag53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10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jpg"/></Relationships>
</file>

<file path=ppt/slideLayouts/_rels/slideLayout150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56.xml"/><Relationship Id="rId7" Type="http://schemas.openxmlformats.org/officeDocument/2006/relationships/image" Target="../media/image68.png"/><Relationship Id="rId2" Type="http://schemas.openxmlformats.org/officeDocument/2006/relationships/tags" Target="../tags/tag55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26.bin"/><Relationship Id="rId4" Type="http://schemas.openxmlformats.org/officeDocument/2006/relationships/slideMaster" Target="../slideMasters/slideMaster10.xml"/></Relationships>
</file>

<file path=ppt/slideLayouts/_rels/slideLayout151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tags" Target="../tags/tag58.xml"/><Relationship Id="rId7" Type="http://schemas.openxmlformats.org/officeDocument/2006/relationships/image" Target="../media/image69.png"/><Relationship Id="rId2" Type="http://schemas.openxmlformats.org/officeDocument/2006/relationships/tags" Target="../tags/tag57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27.bin"/><Relationship Id="rId4" Type="http://schemas.openxmlformats.org/officeDocument/2006/relationships/slideMaster" Target="../slideMasters/slideMaster10.xml"/></Relationships>
</file>

<file path=ppt/slideLayouts/_rels/slideLayout152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tags" Target="../tags/tag60.xml"/><Relationship Id="rId7" Type="http://schemas.openxmlformats.org/officeDocument/2006/relationships/image" Target="../media/image70.png"/><Relationship Id="rId2" Type="http://schemas.openxmlformats.org/officeDocument/2006/relationships/tags" Target="../tags/tag59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10.xml"/></Relationships>
</file>

<file path=ppt/slideLayouts/_rels/slideLayout153.xml.rels><?xml version="1.0" encoding="UTF-8" standalone="yes"?>
<Relationships xmlns="http://schemas.openxmlformats.org/package/2006/relationships"><Relationship Id="rId8" Type="http://schemas.microsoft.com/office/2007/relationships/hdphoto" Target="../media/hdphoto4.wdp"/><Relationship Id="rId3" Type="http://schemas.openxmlformats.org/officeDocument/2006/relationships/tags" Target="../tags/tag62.xml"/><Relationship Id="rId7" Type="http://schemas.openxmlformats.org/officeDocument/2006/relationships/image" Target="../media/image71.png"/><Relationship Id="rId2" Type="http://schemas.openxmlformats.org/officeDocument/2006/relationships/tags" Target="../tags/tag61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29.bin"/><Relationship Id="rId4" Type="http://schemas.openxmlformats.org/officeDocument/2006/relationships/slideMaster" Target="../slideMasters/slideMaster10.xml"/></Relationships>
</file>

<file path=ppt/slideLayouts/_rels/slideLayout154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tags" Target="../tags/tag64.xml"/><Relationship Id="rId7" Type="http://schemas.openxmlformats.org/officeDocument/2006/relationships/image" Target="../media/image70.png"/><Relationship Id="rId2" Type="http://schemas.openxmlformats.org/officeDocument/2006/relationships/tags" Target="../tags/tag63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10.xml"/></Relationships>
</file>

<file path=ppt/slideLayouts/_rels/slideLayout155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tags" Target="../tags/tag66.xml"/><Relationship Id="rId7" Type="http://schemas.openxmlformats.org/officeDocument/2006/relationships/image" Target="../media/image69.png"/><Relationship Id="rId2" Type="http://schemas.openxmlformats.org/officeDocument/2006/relationships/tags" Target="../tags/tag65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10.xml"/></Relationships>
</file>

<file path=ppt/slideLayouts/_rels/slideLayout156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tags" Target="../tags/tag68.xml"/><Relationship Id="rId7" Type="http://schemas.openxmlformats.org/officeDocument/2006/relationships/image" Target="../media/image70.png"/><Relationship Id="rId2" Type="http://schemas.openxmlformats.org/officeDocument/2006/relationships/tags" Target="../tags/tag67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10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7" Type="http://schemas.microsoft.com/office/2007/relationships/hdphoto" Target="../media/hdphoto2.wdp"/><Relationship Id="rId2" Type="http://schemas.openxmlformats.org/officeDocument/2006/relationships/tags" Target="../tags/tag69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69.png"/><Relationship Id="rId5" Type="http://schemas.openxmlformats.org/officeDocument/2006/relationships/image" Target="../media/image29.emf"/><Relationship Id="rId4" Type="http://schemas.openxmlformats.org/officeDocument/2006/relationships/oleObject" Target="../embeddings/oleObject33.bin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7" Type="http://schemas.microsoft.com/office/2007/relationships/hdphoto" Target="../media/hdphoto3.wdp"/><Relationship Id="rId2" Type="http://schemas.openxmlformats.org/officeDocument/2006/relationships/tags" Target="../tags/tag70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70.png"/><Relationship Id="rId5" Type="http://schemas.openxmlformats.org/officeDocument/2006/relationships/image" Target="../media/image29.emf"/><Relationship Id="rId4" Type="http://schemas.openxmlformats.org/officeDocument/2006/relationships/oleObject" Target="../embeddings/oleObject34.bin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tags" Target="../tags/tag72.xml"/><Relationship Id="rId2" Type="http://schemas.openxmlformats.org/officeDocument/2006/relationships/tags" Target="../tags/tag71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35.bin"/><Relationship Id="rId4" Type="http://schemas.openxmlformats.org/officeDocument/2006/relationships/slideMaster" Target="../slideMasters/slideMaster10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3.jpeg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tags" Target="../tags/tag74.xml"/><Relationship Id="rId2" Type="http://schemas.openxmlformats.org/officeDocument/2006/relationships/tags" Target="../tags/tag73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36.bin"/><Relationship Id="rId4" Type="http://schemas.openxmlformats.org/officeDocument/2006/relationships/slideMaster" Target="../slideMasters/slideMaster10.xml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tags" Target="../tags/tag76.xml"/><Relationship Id="rId2" Type="http://schemas.openxmlformats.org/officeDocument/2006/relationships/tags" Target="../tags/tag75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37.bin"/><Relationship Id="rId4" Type="http://schemas.openxmlformats.org/officeDocument/2006/relationships/slideMaster" Target="../slideMasters/slideMaster10.xml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tags" Target="../tags/tag78.xml"/><Relationship Id="rId2" Type="http://schemas.openxmlformats.org/officeDocument/2006/relationships/tags" Target="../tags/tag77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38.bin"/><Relationship Id="rId4" Type="http://schemas.openxmlformats.org/officeDocument/2006/relationships/slideMaster" Target="../slideMasters/slideMaster10.xml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tags" Target="../tags/tag80.xml"/><Relationship Id="rId2" Type="http://schemas.openxmlformats.org/officeDocument/2006/relationships/tags" Target="../tags/tag79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39.bin"/><Relationship Id="rId4" Type="http://schemas.openxmlformats.org/officeDocument/2006/relationships/slideMaster" Target="../slideMasters/slideMaster10.xml"/></Relationships>
</file>

<file path=ppt/slideLayouts/_rels/slideLayout16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13" Type="http://schemas.openxmlformats.org/officeDocument/2006/relationships/image" Target="../media/image37.png"/><Relationship Id="rId3" Type="http://schemas.openxmlformats.org/officeDocument/2006/relationships/slideMaster" Target="../slideMasters/slideMaster10.xml"/><Relationship Id="rId7" Type="http://schemas.openxmlformats.org/officeDocument/2006/relationships/image" Target="../media/image31.png"/><Relationship Id="rId12" Type="http://schemas.openxmlformats.org/officeDocument/2006/relationships/image" Target="../media/image36.png"/><Relationship Id="rId2" Type="http://schemas.openxmlformats.org/officeDocument/2006/relationships/tags" Target="../tags/tag81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30.png"/><Relationship Id="rId11" Type="http://schemas.openxmlformats.org/officeDocument/2006/relationships/image" Target="../media/image35.png"/><Relationship Id="rId5" Type="http://schemas.openxmlformats.org/officeDocument/2006/relationships/image" Target="../media/image29.emf"/><Relationship Id="rId10" Type="http://schemas.openxmlformats.org/officeDocument/2006/relationships/image" Target="../media/image34.png"/><Relationship Id="rId4" Type="http://schemas.openxmlformats.org/officeDocument/2006/relationships/oleObject" Target="../embeddings/oleObject40.bin"/><Relationship Id="rId9" Type="http://schemas.openxmlformats.org/officeDocument/2006/relationships/image" Target="../media/image33.png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tags" Target="../tags/tag83.xml"/><Relationship Id="rId2" Type="http://schemas.openxmlformats.org/officeDocument/2006/relationships/tags" Target="../tags/tag82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41.bin"/><Relationship Id="rId4" Type="http://schemas.openxmlformats.org/officeDocument/2006/relationships/slideMaster" Target="../slideMasters/slideMaster10.xml"/></Relationships>
</file>

<file path=ppt/slideLayouts/_rels/slideLayout16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13" Type="http://schemas.openxmlformats.org/officeDocument/2006/relationships/image" Target="../media/image37.png"/><Relationship Id="rId3" Type="http://schemas.openxmlformats.org/officeDocument/2006/relationships/slideMaster" Target="../slideMasters/slideMaster10.xml"/><Relationship Id="rId7" Type="http://schemas.openxmlformats.org/officeDocument/2006/relationships/image" Target="../media/image31.png"/><Relationship Id="rId12" Type="http://schemas.openxmlformats.org/officeDocument/2006/relationships/image" Target="../media/image36.png"/><Relationship Id="rId2" Type="http://schemas.openxmlformats.org/officeDocument/2006/relationships/tags" Target="../tags/tag84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30.png"/><Relationship Id="rId11" Type="http://schemas.openxmlformats.org/officeDocument/2006/relationships/image" Target="../media/image35.png"/><Relationship Id="rId5" Type="http://schemas.openxmlformats.org/officeDocument/2006/relationships/image" Target="../media/image29.emf"/><Relationship Id="rId10" Type="http://schemas.openxmlformats.org/officeDocument/2006/relationships/image" Target="../media/image34.png"/><Relationship Id="rId4" Type="http://schemas.openxmlformats.org/officeDocument/2006/relationships/oleObject" Target="../embeddings/oleObject42.bin"/><Relationship Id="rId9" Type="http://schemas.openxmlformats.org/officeDocument/2006/relationships/image" Target="../media/image33.png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tags" Target="../tags/tag86.xml"/><Relationship Id="rId2" Type="http://schemas.openxmlformats.org/officeDocument/2006/relationships/tags" Target="../tags/tag85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10.xml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tags" Target="../tags/tag88.xml"/><Relationship Id="rId2" Type="http://schemas.openxmlformats.org/officeDocument/2006/relationships/tags" Target="../tags/tag87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44.bin"/><Relationship Id="rId4" Type="http://schemas.openxmlformats.org/officeDocument/2006/relationships/slideMaster" Target="../slideMasters/slideMaster10.xml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tags" Target="../tags/tag90.xml"/><Relationship Id="rId2" Type="http://schemas.openxmlformats.org/officeDocument/2006/relationships/tags" Target="../tags/tag89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45.bin"/><Relationship Id="rId4" Type="http://schemas.openxmlformats.org/officeDocument/2006/relationships/slideMaster" Target="../slideMasters/slideMaster10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jpeg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46.bin"/><Relationship Id="rId4" Type="http://schemas.openxmlformats.org/officeDocument/2006/relationships/slideMaster" Target="../slideMasters/slideMaster10.xml"/></Relationships>
</file>

<file path=ppt/slideLayouts/_rels/slideLayout171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94.xml"/><Relationship Id="rId7" Type="http://schemas.openxmlformats.org/officeDocument/2006/relationships/image" Target="../media/image68.png"/><Relationship Id="rId2" Type="http://schemas.openxmlformats.org/officeDocument/2006/relationships/tags" Target="../tags/tag93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47.bin"/><Relationship Id="rId4" Type="http://schemas.openxmlformats.org/officeDocument/2006/relationships/slideMaster" Target="../slideMasters/slideMaster10.xml"/></Relationships>
</file>

<file path=ppt/slideLayouts/_rels/slideLayout172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96.xml"/><Relationship Id="rId7" Type="http://schemas.openxmlformats.org/officeDocument/2006/relationships/image" Target="../media/image68.png"/><Relationship Id="rId2" Type="http://schemas.openxmlformats.org/officeDocument/2006/relationships/tags" Target="../tags/tag95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48.bin"/><Relationship Id="rId4" Type="http://schemas.openxmlformats.org/officeDocument/2006/relationships/slideMaster" Target="../slideMasters/slideMaster10.xml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7" Type="http://schemas.microsoft.com/office/2007/relationships/hdphoto" Target="../media/hdphoto1.wdp"/><Relationship Id="rId2" Type="http://schemas.openxmlformats.org/officeDocument/2006/relationships/tags" Target="../tags/tag97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68.png"/><Relationship Id="rId5" Type="http://schemas.openxmlformats.org/officeDocument/2006/relationships/image" Target="../media/image29.emf"/><Relationship Id="rId4" Type="http://schemas.openxmlformats.org/officeDocument/2006/relationships/oleObject" Target="../embeddings/oleObject49.bin"/></Relationships>
</file>

<file path=ppt/slideLayouts/_rels/slideLayout174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99.xml"/><Relationship Id="rId7" Type="http://schemas.openxmlformats.org/officeDocument/2006/relationships/image" Target="../media/image68.png"/><Relationship Id="rId2" Type="http://schemas.openxmlformats.org/officeDocument/2006/relationships/tags" Target="../tags/tag98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50.bin"/><Relationship Id="rId4" Type="http://schemas.openxmlformats.org/officeDocument/2006/relationships/slideMaster" Target="../slideMasters/slideMaster10.xml"/></Relationships>
</file>

<file path=ppt/slideLayouts/_rels/slideLayout175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101.xml"/><Relationship Id="rId7" Type="http://schemas.openxmlformats.org/officeDocument/2006/relationships/image" Target="../media/image68.png"/><Relationship Id="rId2" Type="http://schemas.openxmlformats.org/officeDocument/2006/relationships/tags" Target="../tags/tag100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51.bin"/><Relationship Id="rId4" Type="http://schemas.openxmlformats.org/officeDocument/2006/relationships/slideMaster" Target="../slideMasters/slideMaster10.xml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7" Type="http://schemas.microsoft.com/office/2007/relationships/hdphoto" Target="../media/hdphoto1.wdp"/><Relationship Id="rId2" Type="http://schemas.openxmlformats.org/officeDocument/2006/relationships/tags" Target="../tags/tag102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68.png"/><Relationship Id="rId5" Type="http://schemas.openxmlformats.org/officeDocument/2006/relationships/image" Target="../media/image29.emf"/><Relationship Id="rId4" Type="http://schemas.openxmlformats.org/officeDocument/2006/relationships/oleObject" Target="../embeddings/oleObject52.bin"/></Relationships>
</file>

<file path=ppt/slideLayouts/_rels/slideLayout177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tags" Target="../tags/tag104.xml"/><Relationship Id="rId7" Type="http://schemas.openxmlformats.org/officeDocument/2006/relationships/image" Target="../media/image69.png"/><Relationship Id="rId2" Type="http://schemas.openxmlformats.org/officeDocument/2006/relationships/tags" Target="../tags/tag103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53.bin"/><Relationship Id="rId4" Type="http://schemas.openxmlformats.org/officeDocument/2006/relationships/slideMaster" Target="../slideMasters/slideMaster10.xml"/></Relationships>
</file>

<file path=ppt/slideLayouts/_rels/slideLayout178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tags" Target="../tags/tag106.xml"/><Relationship Id="rId7" Type="http://schemas.openxmlformats.org/officeDocument/2006/relationships/image" Target="../media/image70.png"/><Relationship Id="rId2" Type="http://schemas.openxmlformats.org/officeDocument/2006/relationships/tags" Target="../tags/tag105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54.bin"/><Relationship Id="rId4" Type="http://schemas.openxmlformats.org/officeDocument/2006/relationships/slideMaster" Target="../slideMasters/slideMaster10.xml"/></Relationships>
</file>

<file path=ppt/slideLayouts/_rels/slideLayout179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tags" Target="../tags/tag108.xml"/><Relationship Id="rId7" Type="http://schemas.openxmlformats.org/officeDocument/2006/relationships/image" Target="../media/image69.png"/><Relationship Id="rId2" Type="http://schemas.openxmlformats.org/officeDocument/2006/relationships/tags" Target="../tags/tag107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55.bin"/><Relationship Id="rId4" Type="http://schemas.openxmlformats.org/officeDocument/2006/relationships/slideMaster" Target="../slideMasters/slideMaster10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5.jpeg"/></Relationships>
</file>

<file path=ppt/slideLayouts/_rels/slideLayout180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tags" Target="../tags/tag110.xml"/><Relationship Id="rId7" Type="http://schemas.openxmlformats.org/officeDocument/2006/relationships/image" Target="../media/image70.png"/><Relationship Id="rId2" Type="http://schemas.openxmlformats.org/officeDocument/2006/relationships/tags" Target="../tags/tag109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56.bin"/><Relationship Id="rId4" Type="http://schemas.openxmlformats.org/officeDocument/2006/relationships/slideMaster" Target="../slideMasters/slideMaster10.xml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tags" Target="../tags/tag112.xml"/><Relationship Id="rId2" Type="http://schemas.openxmlformats.org/officeDocument/2006/relationships/tags" Target="../tags/tag111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57.bin"/><Relationship Id="rId4" Type="http://schemas.openxmlformats.org/officeDocument/2006/relationships/slideMaster" Target="../slideMasters/slideMaster10.xml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tags" Target="../tags/tag114.xml"/><Relationship Id="rId2" Type="http://schemas.openxmlformats.org/officeDocument/2006/relationships/tags" Target="../tags/tag113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58.bin"/><Relationship Id="rId4" Type="http://schemas.openxmlformats.org/officeDocument/2006/relationships/slideMaster" Target="../slideMasters/slideMaster10.xml"/></Relationships>
</file>

<file path=ppt/slideLayouts/_rels/slideLayout183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116.xml"/><Relationship Id="rId7" Type="http://schemas.openxmlformats.org/officeDocument/2006/relationships/image" Target="../media/image68.png"/><Relationship Id="rId2" Type="http://schemas.openxmlformats.org/officeDocument/2006/relationships/tags" Target="../tags/tag115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59.bin"/><Relationship Id="rId4" Type="http://schemas.openxmlformats.org/officeDocument/2006/relationships/slideMaster" Target="../slideMasters/slideMaster10.xml"/></Relationships>
</file>

<file path=ppt/slideLayouts/_rels/slideLayout184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tags" Target="../tags/tag118.xml"/><Relationship Id="rId7" Type="http://schemas.openxmlformats.org/officeDocument/2006/relationships/image" Target="../media/image69.png"/><Relationship Id="rId2" Type="http://schemas.openxmlformats.org/officeDocument/2006/relationships/tags" Target="../tags/tag117.xml"/><Relationship Id="rId1" Type="http://schemas.openxmlformats.org/officeDocument/2006/relationships/vmlDrawing" Target="../drawings/vmlDrawing59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60.bin"/><Relationship Id="rId4" Type="http://schemas.openxmlformats.org/officeDocument/2006/relationships/slideMaster" Target="../slideMasters/slideMaster10.xml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tags" Target="../tags/tag120.xml"/><Relationship Id="rId2" Type="http://schemas.openxmlformats.org/officeDocument/2006/relationships/tags" Target="../tags/tag119.xml"/><Relationship Id="rId1" Type="http://schemas.openxmlformats.org/officeDocument/2006/relationships/vmlDrawing" Target="../drawings/vmlDrawing60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61.bin"/><Relationship Id="rId4" Type="http://schemas.openxmlformats.org/officeDocument/2006/relationships/slideMaster" Target="../slideMasters/slideMaster10.xml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tags" Target="../tags/tag122.xml"/><Relationship Id="rId2" Type="http://schemas.openxmlformats.org/officeDocument/2006/relationships/tags" Target="../tags/tag121.xml"/><Relationship Id="rId1" Type="http://schemas.openxmlformats.org/officeDocument/2006/relationships/vmlDrawing" Target="../drawings/vmlDrawing61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62.bin"/><Relationship Id="rId4" Type="http://schemas.openxmlformats.org/officeDocument/2006/relationships/slideMaster" Target="../slideMasters/slideMaster10.xml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tags" Target="../tags/tag124.xml"/><Relationship Id="rId2" Type="http://schemas.openxmlformats.org/officeDocument/2006/relationships/tags" Target="../tags/tag123.xml"/><Relationship Id="rId1" Type="http://schemas.openxmlformats.org/officeDocument/2006/relationships/vmlDrawing" Target="../drawings/vmlDrawing62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63.bin"/><Relationship Id="rId4" Type="http://schemas.openxmlformats.org/officeDocument/2006/relationships/slideMaster" Target="../slideMasters/slideMaster10.xml"/></Relationships>
</file>

<file path=ppt/slideLayouts/_rels/slideLayout18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13" Type="http://schemas.openxmlformats.org/officeDocument/2006/relationships/image" Target="../media/image37.png"/><Relationship Id="rId3" Type="http://schemas.openxmlformats.org/officeDocument/2006/relationships/slideMaster" Target="../slideMasters/slideMaster10.xml"/><Relationship Id="rId7" Type="http://schemas.openxmlformats.org/officeDocument/2006/relationships/image" Target="../media/image31.png"/><Relationship Id="rId12" Type="http://schemas.openxmlformats.org/officeDocument/2006/relationships/image" Target="../media/image36.png"/><Relationship Id="rId2" Type="http://schemas.openxmlformats.org/officeDocument/2006/relationships/tags" Target="../tags/tag125.xml"/><Relationship Id="rId1" Type="http://schemas.openxmlformats.org/officeDocument/2006/relationships/vmlDrawing" Target="../drawings/vmlDrawing63.vml"/><Relationship Id="rId6" Type="http://schemas.openxmlformats.org/officeDocument/2006/relationships/image" Target="../media/image30.png"/><Relationship Id="rId11" Type="http://schemas.openxmlformats.org/officeDocument/2006/relationships/image" Target="../media/image35.png"/><Relationship Id="rId5" Type="http://schemas.openxmlformats.org/officeDocument/2006/relationships/image" Target="../media/image29.emf"/><Relationship Id="rId10" Type="http://schemas.openxmlformats.org/officeDocument/2006/relationships/image" Target="../media/image34.png"/><Relationship Id="rId4" Type="http://schemas.openxmlformats.org/officeDocument/2006/relationships/oleObject" Target="../embeddings/oleObject64.bin"/><Relationship Id="rId9" Type="http://schemas.openxmlformats.org/officeDocument/2006/relationships/image" Target="../media/image33.png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tags" Target="../tags/tag127.xml"/><Relationship Id="rId2" Type="http://schemas.openxmlformats.org/officeDocument/2006/relationships/tags" Target="../tags/tag126.xml"/><Relationship Id="rId1" Type="http://schemas.openxmlformats.org/officeDocument/2006/relationships/vmlDrawing" Target="../drawings/vmlDrawing64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65.bin"/><Relationship Id="rId4" Type="http://schemas.openxmlformats.org/officeDocument/2006/relationships/slideMaster" Target="../slideMasters/slideMaster10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28.xml"/><Relationship Id="rId1" Type="http://schemas.openxmlformats.org/officeDocument/2006/relationships/vmlDrawing" Target="../drawings/vmlDrawing65.vml"/><Relationship Id="rId5" Type="http://schemas.openxmlformats.org/officeDocument/2006/relationships/image" Target="../media/image72.emf"/><Relationship Id="rId4" Type="http://schemas.openxmlformats.org/officeDocument/2006/relationships/oleObject" Target="../embeddings/oleObject66.bin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29.xml"/><Relationship Id="rId1" Type="http://schemas.openxmlformats.org/officeDocument/2006/relationships/vmlDrawing" Target="../drawings/vmlDrawing66.vml"/><Relationship Id="rId5" Type="http://schemas.openxmlformats.org/officeDocument/2006/relationships/image" Target="../media/image72.emf"/><Relationship Id="rId4" Type="http://schemas.openxmlformats.org/officeDocument/2006/relationships/oleObject" Target="../embeddings/oleObject67.bin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3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30.xml"/><Relationship Id="rId1" Type="http://schemas.openxmlformats.org/officeDocument/2006/relationships/vmlDrawing" Target="../drawings/vmlDrawing67.vml"/><Relationship Id="rId5" Type="http://schemas.openxmlformats.org/officeDocument/2006/relationships/image" Target="NULL"/><Relationship Id="rId4" Type="http://schemas.openxmlformats.org/officeDocument/2006/relationships/oleObject" Target="../embeddings/oleObject68.bin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31.xml"/><Relationship Id="rId1" Type="http://schemas.openxmlformats.org/officeDocument/2006/relationships/vmlDrawing" Target="../drawings/vmlDrawing68.vml"/><Relationship Id="rId5" Type="http://schemas.openxmlformats.org/officeDocument/2006/relationships/image" Target="NULL"/><Relationship Id="rId4" Type="http://schemas.openxmlformats.org/officeDocument/2006/relationships/oleObject" Target="../embeddings/oleObject69.bin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32.xml"/><Relationship Id="rId1" Type="http://schemas.openxmlformats.org/officeDocument/2006/relationships/vmlDrawing" Target="../drawings/vmlDrawing69.vml"/><Relationship Id="rId5" Type="http://schemas.openxmlformats.org/officeDocument/2006/relationships/image" Target="NULL"/><Relationship Id="rId4" Type="http://schemas.openxmlformats.org/officeDocument/2006/relationships/oleObject" Target="../embeddings/oleObject70.bin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33.xml"/><Relationship Id="rId1" Type="http://schemas.openxmlformats.org/officeDocument/2006/relationships/vmlDrawing" Target="../drawings/vmlDrawing70.vml"/><Relationship Id="rId5" Type="http://schemas.openxmlformats.org/officeDocument/2006/relationships/image" Target="NULL"/><Relationship Id="rId4" Type="http://schemas.openxmlformats.org/officeDocument/2006/relationships/oleObject" Target="../embeddings/oleObject7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34.xml"/><Relationship Id="rId1" Type="http://schemas.openxmlformats.org/officeDocument/2006/relationships/vmlDrawing" Target="../drawings/vmlDrawing71.vml"/><Relationship Id="rId5" Type="http://schemas.openxmlformats.org/officeDocument/2006/relationships/image" Target="NULL"/><Relationship Id="rId4" Type="http://schemas.openxmlformats.org/officeDocument/2006/relationships/oleObject" Target="../embeddings/oleObject72.bin"/></Relationships>
</file>

<file path=ppt/slideLayouts/_rels/slideLayout2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35.xml"/><Relationship Id="rId1" Type="http://schemas.openxmlformats.org/officeDocument/2006/relationships/vmlDrawing" Target="../drawings/vmlDrawing72.vml"/><Relationship Id="rId5" Type="http://schemas.openxmlformats.org/officeDocument/2006/relationships/image" Target="NULL"/><Relationship Id="rId4" Type="http://schemas.openxmlformats.org/officeDocument/2006/relationships/oleObject" Target="../embeddings/oleObject73.bin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36.xml"/><Relationship Id="rId1" Type="http://schemas.openxmlformats.org/officeDocument/2006/relationships/vmlDrawing" Target="../drawings/vmlDrawing73.vml"/><Relationship Id="rId5" Type="http://schemas.openxmlformats.org/officeDocument/2006/relationships/image" Target="../media/image72.emf"/><Relationship Id="rId4" Type="http://schemas.openxmlformats.org/officeDocument/2006/relationships/oleObject" Target="../embeddings/oleObject74.bin"/></Relationships>
</file>

<file path=ppt/slideLayouts/_rels/slideLayout2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37.xml"/><Relationship Id="rId1" Type="http://schemas.openxmlformats.org/officeDocument/2006/relationships/vmlDrawing" Target="../drawings/vmlDrawing74.vml"/><Relationship Id="rId5" Type="http://schemas.openxmlformats.org/officeDocument/2006/relationships/image" Target="../media/image72.emf"/><Relationship Id="rId4" Type="http://schemas.openxmlformats.org/officeDocument/2006/relationships/oleObject" Target="../embeddings/oleObject75.bin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38.xml"/><Relationship Id="rId1" Type="http://schemas.openxmlformats.org/officeDocument/2006/relationships/vmlDrawing" Target="../drawings/vmlDrawing75.vml"/><Relationship Id="rId5" Type="http://schemas.openxmlformats.org/officeDocument/2006/relationships/image" Target="../media/image72.emf"/><Relationship Id="rId4" Type="http://schemas.openxmlformats.org/officeDocument/2006/relationships/oleObject" Target="../embeddings/oleObject76.bin"/></Relationships>
</file>

<file path=ppt/slideLayouts/_rels/slideLayout2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17.png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42.xml"/><Relationship Id="rId1" Type="http://schemas.openxmlformats.org/officeDocument/2006/relationships/vmlDrawing" Target="../drawings/vmlDrawing77.vml"/><Relationship Id="rId5" Type="http://schemas.openxmlformats.org/officeDocument/2006/relationships/image" Target="../media/image27.emf"/><Relationship Id="rId4" Type="http://schemas.openxmlformats.org/officeDocument/2006/relationships/oleObject" Target="../embeddings/oleObject78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3" Type="http://schemas.openxmlformats.org/officeDocument/2006/relationships/tags" Target="../tags/tag144.xml"/><Relationship Id="rId7" Type="http://schemas.openxmlformats.org/officeDocument/2006/relationships/oleObject" Target="../embeddings/oleObject80.bin"/><Relationship Id="rId2" Type="http://schemas.openxmlformats.org/officeDocument/2006/relationships/tags" Target="../tags/tag143.xml"/><Relationship Id="rId1" Type="http://schemas.openxmlformats.org/officeDocument/2006/relationships/vmlDrawing" Target="../drawings/vmlDrawing78.vml"/><Relationship Id="rId6" Type="http://schemas.openxmlformats.org/officeDocument/2006/relationships/image" Target="../media/image27.emf"/><Relationship Id="rId5" Type="http://schemas.openxmlformats.org/officeDocument/2006/relationships/oleObject" Target="../embeddings/oleObject79.bin"/><Relationship Id="rId4" Type="http://schemas.openxmlformats.org/officeDocument/2006/relationships/slideMaster" Target="../slideMasters/slideMaster11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45.xml"/><Relationship Id="rId1" Type="http://schemas.openxmlformats.org/officeDocument/2006/relationships/vmlDrawing" Target="../drawings/vmlDrawing79.vml"/><Relationship Id="rId5" Type="http://schemas.openxmlformats.org/officeDocument/2006/relationships/image" Target="../media/image27.emf"/><Relationship Id="rId4" Type="http://schemas.openxmlformats.org/officeDocument/2006/relationships/oleObject" Target="../embeddings/oleObject81.bin"/></Relationships>
</file>

<file path=ppt/slideLayouts/_rels/slideLayout2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13" Type="http://schemas.openxmlformats.org/officeDocument/2006/relationships/image" Target="../media/image37.png"/><Relationship Id="rId3" Type="http://schemas.openxmlformats.org/officeDocument/2006/relationships/slideMaster" Target="../slideMasters/slideMaster11.xml"/><Relationship Id="rId7" Type="http://schemas.openxmlformats.org/officeDocument/2006/relationships/image" Target="../media/image31.png"/><Relationship Id="rId12" Type="http://schemas.openxmlformats.org/officeDocument/2006/relationships/image" Target="../media/image36.png"/><Relationship Id="rId2" Type="http://schemas.openxmlformats.org/officeDocument/2006/relationships/tags" Target="../tags/tag146.xml"/><Relationship Id="rId1" Type="http://schemas.openxmlformats.org/officeDocument/2006/relationships/vmlDrawing" Target="../drawings/vmlDrawing80.vml"/><Relationship Id="rId6" Type="http://schemas.openxmlformats.org/officeDocument/2006/relationships/image" Target="../media/image30.png"/><Relationship Id="rId11" Type="http://schemas.openxmlformats.org/officeDocument/2006/relationships/image" Target="../media/image35.png"/><Relationship Id="rId5" Type="http://schemas.openxmlformats.org/officeDocument/2006/relationships/image" Target="../media/image29.emf"/><Relationship Id="rId10" Type="http://schemas.openxmlformats.org/officeDocument/2006/relationships/image" Target="../media/image34.png"/><Relationship Id="rId4" Type="http://schemas.openxmlformats.org/officeDocument/2006/relationships/oleObject" Target="../embeddings/oleObject82.bin"/><Relationship Id="rId9" Type="http://schemas.openxmlformats.org/officeDocument/2006/relationships/image" Target="../media/image33.png"/></Relationships>
</file>

<file path=ppt/slideLayouts/_rels/slideLayout2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13" Type="http://schemas.openxmlformats.org/officeDocument/2006/relationships/image" Target="../media/image37.png"/><Relationship Id="rId3" Type="http://schemas.openxmlformats.org/officeDocument/2006/relationships/slideMaster" Target="../slideMasters/slideMaster12.xml"/><Relationship Id="rId7" Type="http://schemas.openxmlformats.org/officeDocument/2006/relationships/image" Target="../media/image74.png"/><Relationship Id="rId12" Type="http://schemas.openxmlformats.org/officeDocument/2006/relationships/image" Target="../media/image77.png"/><Relationship Id="rId2" Type="http://schemas.openxmlformats.org/officeDocument/2006/relationships/tags" Target="../tags/tag148.xml"/><Relationship Id="rId1" Type="http://schemas.openxmlformats.org/officeDocument/2006/relationships/vmlDrawing" Target="../drawings/vmlDrawing82.vml"/><Relationship Id="rId6" Type="http://schemas.openxmlformats.org/officeDocument/2006/relationships/image" Target="../media/image73.png"/><Relationship Id="rId11" Type="http://schemas.openxmlformats.org/officeDocument/2006/relationships/image" Target="../media/image5.png"/><Relationship Id="rId5" Type="http://schemas.openxmlformats.org/officeDocument/2006/relationships/image" Target="../media/image29.emf"/><Relationship Id="rId10" Type="http://schemas.openxmlformats.org/officeDocument/2006/relationships/image" Target="../media/image76.png"/><Relationship Id="rId4" Type="http://schemas.openxmlformats.org/officeDocument/2006/relationships/oleObject" Target="../embeddings/oleObject84.bin"/><Relationship Id="rId9" Type="http://schemas.openxmlformats.org/officeDocument/2006/relationships/image" Target="../media/image75.png"/></Relationships>
</file>

<file path=ppt/slideLayouts/_rels/slideLayout226.xml.rels><?xml version="1.0" encoding="UTF-8" standalone="yes"?>
<Relationships xmlns="http://schemas.openxmlformats.org/package/2006/relationships"><Relationship Id="rId3" Type="http://schemas.openxmlformats.org/officeDocument/2006/relationships/tags" Target="../tags/tag150.xml"/><Relationship Id="rId2" Type="http://schemas.openxmlformats.org/officeDocument/2006/relationships/tags" Target="../tags/tag149.xml"/><Relationship Id="rId1" Type="http://schemas.openxmlformats.org/officeDocument/2006/relationships/vmlDrawing" Target="../drawings/vmlDrawing83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85.bin"/><Relationship Id="rId4" Type="http://schemas.openxmlformats.org/officeDocument/2006/relationships/slideMaster" Target="../slideMasters/slideMaster12.xml"/></Relationships>
</file>

<file path=ppt/slideLayouts/_rels/slideLayout227.xml.rels><?xml version="1.0" encoding="UTF-8" standalone="yes"?>
<Relationships xmlns="http://schemas.openxmlformats.org/package/2006/relationships"><Relationship Id="rId3" Type="http://schemas.openxmlformats.org/officeDocument/2006/relationships/tags" Target="../tags/tag152.xml"/><Relationship Id="rId2" Type="http://schemas.openxmlformats.org/officeDocument/2006/relationships/tags" Target="../tags/tag151.xml"/><Relationship Id="rId1" Type="http://schemas.openxmlformats.org/officeDocument/2006/relationships/vmlDrawing" Target="../drawings/vmlDrawing84.vml"/><Relationship Id="rId6" Type="http://schemas.openxmlformats.org/officeDocument/2006/relationships/image" Target="../media/image67.emf"/><Relationship Id="rId5" Type="http://schemas.openxmlformats.org/officeDocument/2006/relationships/oleObject" Target="../embeddings/oleObject86.bin"/><Relationship Id="rId4" Type="http://schemas.openxmlformats.org/officeDocument/2006/relationships/slideMaster" Target="../slideMasters/slideMaster12.xml"/></Relationships>
</file>

<file path=ppt/slideLayouts/_rels/slideLayout228.xml.rels><?xml version="1.0" encoding="UTF-8" standalone="yes"?>
<Relationships xmlns="http://schemas.openxmlformats.org/package/2006/relationships"><Relationship Id="rId3" Type="http://schemas.openxmlformats.org/officeDocument/2006/relationships/tags" Target="../tags/tag154.xml"/><Relationship Id="rId2" Type="http://schemas.openxmlformats.org/officeDocument/2006/relationships/tags" Target="../tags/tag153.xml"/><Relationship Id="rId1" Type="http://schemas.openxmlformats.org/officeDocument/2006/relationships/vmlDrawing" Target="../drawings/vmlDrawing85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87.bin"/><Relationship Id="rId4" Type="http://schemas.openxmlformats.org/officeDocument/2006/relationships/slideMaster" Target="../slideMasters/slideMaster12.xml"/></Relationships>
</file>

<file path=ppt/slideLayouts/_rels/slideLayout229.xml.rels><?xml version="1.0" encoding="UTF-8" standalone="yes"?>
<Relationships xmlns="http://schemas.openxmlformats.org/package/2006/relationships"><Relationship Id="rId3" Type="http://schemas.openxmlformats.org/officeDocument/2006/relationships/tags" Target="../tags/tag156.xml"/><Relationship Id="rId2" Type="http://schemas.openxmlformats.org/officeDocument/2006/relationships/tags" Target="../tags/tag155.xml"/><Relationship Id="rId1" Type="http://schemas.openxmlformats.org/officeDocument/2006/relationships/vmlDrawing" Target="../drawings/vmlDrawing86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88.bin"/><Relationship Id="rId4" Type="http://schemas.openxmlformats.org/officeDocument/2006/relationships/slideMaster" Target="../slideMasters/slideMaster1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3" Type="http://schemas.openxmlformats.org/officeDocument/2006/relationships/tags" Target="../tags/tag158.xml"/><Relationship Id="rId7" Type="http://schemas.openxmlformats.org/officeDocument/2006/relationships/image" Target="../media/image78.png"/><Relationship Id="rId2" Type="http://schemas.openxmlformats.org/officeDocument/2006/relationships/tags" Target="../tags/tag157.xml"/><Relationship Id="rId1" Type="http://schemas.openxmlformats.org/officeDocument/2006/relationships/vmlDrawing" Target="../drawings/vmlDrawing87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89.bin"/><Relationship Id="rId4" Type="http://schemas.openxmlformats.org/officeDocument/2006/relationships/slideMaster" Target="../slideMasters/slideMaster12.xml"/></Relationships>
</file>

<file path=ppt/slideLayouts/_rels/slideLayout231.xml.rels><?xml version="1.0" encoding="UTF-8" standalone="yes"?>
<Relationships xmlns="http://schemas.openxmlformats.org/package/2006/relationships"><Relationship Id="rId3" Type="http://schemas.openxmlformats.org/officeDocument/2006/relationships/tags" Target="../tags/tag160.xml"/><Relationship Id="rId7" Type="http://schemas.openxmlformats.org/officeDocument/2006/relationships/image" Target="../media/image78.png"/><Relationship Id="rId2" Type="http://schemas.openxmlformats.org/officeDocument/2006/relationships/tags" Target="../tags/tag159.xml"/><Relationship Id="rId1" Type="http://schemas.openxmlformats.org/officeDocument/2006/relationships/vmlDrawing" Target="../drawings/vmlDrawing88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90.bin"/><Relationship Id="rId4" Type="http://schemas.openxmlformats.org/officeDocument/2006/relationships/slideMaster" Target="../slideMasters/slideMaster12.xml"/></Relationships>
</file>

<file path=ppt/slideLayouts/_rels/slideLayout232.xml.rels><?xml version="1.0" encoding="UTF-8" standalone="yes"?>
<Relationships xmlns="http://schemas.openxmlformats.org/package/2006/relationships"><Relationship Id="rId3" Type="http://schemas.openxmlformats.org/officeDocument/2006/relationships/tags" Target="../tags/tag162.xml"/><Relationship Id="rId7" Type="http://schemas.openxmlformats.org/officeDocument/2006/relationships/image" Target="../media/image78.png"/><Relationship Id="rId2" Type="http://schemas.openxmlformats.org/officeDocument/2006/relationships/tags" Target="../tags/tag161.xml"/><Relationship Id="rId1" Type="http://schemas.openxmlformats.org/officeDocument/2006/relationships/vmlDrawing" Target="../drawings/vmlDrawing89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91.bin"/><Relationship Id="rId4" Type="http://schemas.openxmlformats.org/officeDocument/2006/relationships/slideMaster" Target="../slideMasters/slideMaster12.xml"/></Relationships>
</file>

<file path=ppt/slideLayouts/_rels/slideLayout233.xml.rels><?xml version="1.0" encoding="UTF-8" standalone="yes"?>
<Relationships xmlns="http://schemas.openxmlformats.org/package/2006/relationships"><Relationship Id="rId3" Type="http://schemas.openxmlformats.org/officeDocument/2006/relationships/tags" Target="../tags/tag164.xml"/><Relationship Id="rId7" Type="http://schemas.openxmlformats.org/officeDocument/2006/relationships/image" Target="../media/image78.png"/><Relationship Id="rId2" Type="http://schemas.openxmlformats.org/officeDocument/2006/relationships/tags" Target="../tags/tag163.xml"/><Relationship Id="rId1" Type="http://schemas.openxmlformats.org/officeDocument/2006/relationships/vmlDrawing" Target="../drawings/vmlDrawing90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92.bin"/><Relationship Id="rId4" Type="http://schemas.openxmlformats.org/officeDocument/2006/relationships/slideMaster" Target="../slideMasters/slideMaster12.xml"/></Relationships>
</file>

<file path=ppt/slideLayouts/_rels/slideLayout2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65.xml"/><Relationship Id="rId1" Type="http://schemas.openxmlformats.org/officeDocument/2006/relationships/vmlDrawing" Target="../drawings/vmlDrawing91.vml"/><Relationship Id="rId6" Type="http://schemas.openxmlformats.org/officeDocument/2006/relationships/image" Target="../media/image78.png"/><Relationship Id="rId5" Type="http://schemas.openxmlformats.org/officeDocument/2006/relationships/image" Target="../media/image29.emf"/><Relationship Id="rId4" Type="http://schemas.openxmlformats.org/officeDocument/2006/relationships/oleObject" Target="../embeddings/oleObject93.bin"/></Relationships>
</file>

<file path=ppt/slideLayouts/_rels/slideLayout235.xml.rels><?xml version="1.0" encoding="UTF-8" standalone="yes"?>
<Relationships xmlns="http://schemas.openxmlformats.org/package/2006/relationships"><Relationship Id="rId3" Type="http://schemas.openxmlformats.org/officeDocument/2006/relationships/tags" Target="../tags/tag167.xml"/><Relationship Id="rId7" Type="http://schemas.openxmlformats.org/officeDocument/2006/relationships/image" Target="../media/image79.png"/><Relationship Id="rId2" Type="http://schemas.openxmlformats.org/officeDocument/2006/relationships/tags" Target="../tags/tag166.xml"/><Relationship Id="rId1" Type="http://schemas.openxmlformats.org/officeDocument/2006/relationships/vmlDrawing" Target="../drawings/vmlDrawing92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94.bin"/><Relationship Id="rId4" Type="http://schemas.openxmlformats.org/officeDocument/2006/relationships/slideMaster" Target="../slideMasters/slideMaster12.xml"/></Relationships>
</file>

<file path=ppt/slideLayouts/_rels/slideLayout236.xml.rels><?xml version="1.0" encoding="UTF-8" standalone="yes"?>
<Relationships xmlns="http://schemas.openxmlformats.org/package/2006/relationships"><Relationship Id="rId3" Type="http://schemas.openxmlformats.org/officeDocument/2006/relationships/tags" Target="../tags/tag169.xml"/><Relationship Id="rId7" Type="http://schemas.openxmlformats.org/officeDocument/2006/relationships/image" Target="../media/image80.png"/><Relationship Id="rId2" Type="http://schemas.openxmlformats.org/officeDocument/2006/relationships/tags" Target="../tags/tag168.xml"/><Relationship Id="rId1" Type="http://schemas.openxmlformats.org/officeDocument/2006/relationships/vmlDrawing" Target="../drawings/vmlDrawing93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95.bin"/><Relationship Id="rId4" Type="http://schemas.openxmlformats.org/officeDocument/2006/relationships/slideMaster" Target="../slideMasters/slideMaster12.xml"/></Relationships>
</file>

<file path=ppt/slideLayouts/_rels/slideLayout237.xml.rels><?xml version="1.0" encoding="UTF-8" standalone="yes"?>
<Relationships xmlns="http://schemas.openxmlformats.org/package/2006/relationships"><Relationship Id="rId3" Type="http://schemas.openxmlformats.org/officeDocument/2006/relationships/tags" Target="../tags/tag171.xml"/><Relationship Id="rId7" Type="http://schemas.openxmlformats.org/officeDocument/2006/relationships/image" Target="../media/image81.png"/><Relationship Id="rId2" Type="http://schemas.openxmlformats.org/officeDocument/2006/relationships/tags" Target="../tags/tag170.xml"/><Relationship Id="rId1" Type="http://schemas.openxmlformats.org/officeDocument/2006/relationships/vmlDrawing" Target="../drawings/vmlDrawing94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96.bin"/><Relationship Id="rId4" Type="http://schemas.openxmlformats.org/officeDocument/2006/relationships/slideMaster" Target="../slideMasters/slideMaster12.xml"/></Relationships>
</file>

<file path=ppt/slideLayouts/_rels/slideLayout238.xml.rels><?xml version="1.0" encoding="UTF-8" standalone="yes"?>
<Relationships xmlns="http://schemas.openxmlformats.org/package/2006/relationships"><Relationship Id="rId3" Type="http://schemas.openxmlformats.org/officeDocument/2006/relationships/tags" Target="../tags/tag173.xml"/><Relationship Id="rId7" Type="http://schemas.openxmlformats.org/officeDocument/2006/relationships/image" Target="../media/image80.png"/><Relationship Id="rId2" Type="http://schemas.openxmlformats.org/officeDocument/2006/relationships/tags" Target="../tags/tag172.xml"/><Relationship Id="rId1" Type="http://schemas.openxmlformats.org/officeDocument/2006/relationships/vmlDrawing" Target="../drawings/vmlDrawing95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97.bin"/><Relationship Id="rId4" Type="http://schemas.openxmlformats.org/officeDocument/2006/relationships/slideMaster" Target="../slideMasters/slideMaster12.xml"/></Relationships>
</file>

<file path=ppt/slideLayouts/_rels/slideLayout239.xml.rels><?xml version="1.0" encoding="UTF-8" standalone="yes"?>
<Relationships xmlns="http://schemas.openxmlformats.org/package/2006/relationships"><Relationship Id="rId3" Type="http://schemas.openxmlformats.org/officeDocument/2006/relationships/tags" Target="../tags/tag175.xml"/><Relationship Id="rId7" Type="http://schemas.openxmlformats.org/officeDocument/2006/relationships/image" Target="../media/image79.png"/><Relationship Id="rId2" Type="http://schemas.openxmlformats.org/officeDocument/2006/relationships/tags" Target="../tags/tag174.xml"/><Relationship Id="rId1" Type="http://schemas.openxmlformats.org/officeDocument/2006/relationships/vmlDrawing" Target="../drawings/vmlDrawing96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98.bin"/><Relationship Id="rId4" Type="http://schemas.openxmlformats.org/officeDocument/2006/relationships/slideMaster" Target="../slideMasters/slideMaster1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3" Type="http://schemas.openxmlformats.org/officeDocument/2006/relationships/tags" Target="../tags/tag177.xml"/><Relationship Id="rId7" Type="http://schemas.openxmlformats.org/officeDocument/2006/relationships/image" Target="../media/image80.png"/><Relationship Id="rId2" Type="http://schemas.openxmlformats.org/officeDocument/2006/relationships/tags" Target="../tags/tag176.xml"/><Relationship Id="rId1" Type="http://schemas.openxmlformats.org/officeDocument/2006/relationships/vmlDrawing" Target="../drawings/vmlDrawing97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99.bin"/><Relationship Id="rId4" Type="http://schemas.openxmlformats.org/officeDocument/2006/relationships/slideMaster" Target="../slideMasters/slideMaster12.xml"/></Relationships>
</file>

<file path=ppt/slideLayouts/_rels/slideLayout2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78.xml"/><Relationship Id="rId1" Type="http://schemas.openxmlformats.org/officeDocument/2006/relationships/vmlDrawing" Target="../drawings/vmlDrawing98.vml"/><Relationship Id="rId6" Type="http://schemas.openxmlformats.org/officeDocument/2006/relationships/image" Target="../media/image79.png"/><Relationship Id="rId5" Type="http://schemas.openxmlformats.org/officeDocument/2006/relationships/image" Target="../media/image29.emf"/><Relationship Id="rId4" Type="http://schemas.openxmlformats.org/officeDocument/2006/relationships/oleObject" Target="../embeddings/oleObject100.bin"/></Relationships>
</file>

<file path=ppt/slideLayouts/_rels/slideLayout2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79.xml"/><Relationship Id="rId1" Type="http://schemas.openxmlformats.org/officeDocument/2006/relationships/vmlDrawing" Target="../drawings/vmlDrawing99.vml"/><Relationship Id="rId6" Type="http://schemas.openxmlformats.org/officeDocument/2006/relationships/image" Target="../media/image80.png"/><Relationship Id="rId5" Type="http://schemas.openxmlformats.org/officeDocument/2006/relationships/image" Target="../media/image29.emf"/><Relationship Id="rId4" Type="http://schemas.openxmlformats.org/officeDocument/2006/relationships/oleObject" Target="../embeddings/oleObject101.bin"/></Relationships>
</file>

<file path=ppt/slideLayouts/_rels/slideLayout243.xml.rels><?xml version="1.0" encoding="UTF-8" standalone="yes"?>
<Relationships xmlns="http://schemas.openxmlformats.org/package/2006/relationships"><Relationship Id="rId3" Type="http://schemas.openxmlformats.org/officeDocument/2006/relationships/tags" Target="../tags/tag181.xml"/><Relationship Id="rId2" Type="http://schemas.openxmlformats.org/officeDocument/2006/relationships/tags" Target="../tags/tag180.xml"/><Relationship Id="rId1" Type="http://schemas.openxmlformats.org/officeDocument/2006/relationships/vmlDrawing" Target="../drawings/vmlDrawing100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02.bin"/><Relationship Id="rId4" Type="http://schemas.openxmlformats.org/officeDocument/2006/relationships/slideMaster" Target="../slideMasters/slideMaster12.xml"/></Relationships>
</file>

<file path=ppt/slideLayouts/_rels/slideLayout244.xml.rels><?xml version="1.0" encoding="UTF-8" standalone="yes"?>
<Relationships xmlns="http://schemas.openxmlformats.org/package/2006/relationships"><Relationship Id="rId3" Type="http://schemas.openxmlformats.org/officeDocument/2006/relationships/tags" Target="../tags/tag183.xml"/><Relationship Id="rId2" Type="http://schemas.openxmlformats.org/officeDocument/2006/relationships/tags" Target="../tags/tag182.xml"/><Relationship Id="rId1" Type="http://schemas.openxmlformats.org/officeDocument/2006/relationships/vmlDrawing" Target="../drawings/vmlDrawing101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03.bin"/><Relationship Id="rId4" Type="http://schemas.openxmlformats.org/officeDocument/2006/relationships/slideMaster" Target="../slideMasters/slideMaster12.xml"/></Relationships>
</file>

<file path=ppt/slideLayouts/_rels/slideLayout245.xml.rels><?xml version="1.0" encoding="UTF-8" standalone="yes"?>
<Relationships xmlns="http://schemas.openxmlformats.org/package/2006/relationships"><Relationship Id="rId3" Type="http://schemas.openxmlformats.org/officeDocument/2006/relationships/tags" Target="../tags/tag185.xml"/><Relationship Id="rId7" Type="http://schemas.openxmlformats.org/officeDocument/2006/relationships/image" Target="../media/image78.png"/><Relationship Id="rId2" Type="http://schemas.openxmlformats.org/officeDocument/2006/relationships/tags" Target="../tags/tag184.xml"/><Relationship Id="rId1" Type="http://schemas.openxmlformats.org/officeDocument/2006/relationships/vmlDrawing" Target="../drawings/vmlDrawing102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04.bin"/><Relationship Id="rId4" Type="http://schemas.openxmlformats.org/officeDocument/2006/relationships/slideMaster" Target="../slideMasters/slideMaster12.xml"/></Relationships>
</file>

<file path=ppt/slideLayouts/_rels/slideLayout246.xml.rels><?xml version="1.0" encoding="UTF-8" standalone="yes"?>
<Relationships xmlns="http://schemas.openxmlformats.org/package/2006/relationships"><Relationship Id="rId3" Type="http://schemas.openxmlformats.org/officeDocument/2006/relationships/tags" Target="../tags/tag187.xml"/><Relationship Id="rId2" Type="http://schemas.openxmlformats.org/officeDocument/2006/relationships/tags" Target="../tags/tag186.xml"/><Relationship Id="rId1" Type="http://schemas.openxmlformats.org/officeDocument/2006/relationships/vmlDrawing" Target="../drawings/vmlDrawing103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05.bin"/><Relationship Id="rId4" Type="http://schemas.openxmlformats.org/officeDocument/2006/relationships/slideMaster" Target="../slideMasters/slideMaster12.xml"/></Relationships>
</file>

<file path=ppt/slideLayouts/_rels/slideLayout247.xml.rels><?xml version="1.0" encoding="UTF-8" standalone="yes"?>
<Relationships xmlns="http://schemas.openxmlformats.org/package/2006/relationships"><Relationship Id="rId3" Type="http://schemas.openxmlformats.org/officeDocument/2006/relationships/tags" Target="../tags/tag189.xml"/><Relationship Id="rId2" Type="http://schemas.openxmlformats.org/officeDocument/2006/relationships/tags" Target="../tags/tag188.xml"/><Relationship Id="rId1" Type="http://schemas.openxmlformats.org/officeDocument/2006/relationships/vmlDrawing" Target="../drawings/vmlDrawing104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06.bin"/><Relationship Id="rId4" Type="http://schemas.openxmlformats.org/officeDocument/2006/relationships/slideMaster" Target="../slideMasters/slideMaster12.xml"/></Relationships>
</file>

<file path=ppt/slideLayouts/_rels/slideLayout248.xml.rels><?xml version="1.0" encoding="UTF-8" standalone="yes"?>
<Relationships xmlns="http://schemas.openxmlformats.org/package/2006/relationships"><Relationship Id="rId3" Type="http://schemas.openxmlformats.org/officeDocument/2006/relationships/tags" Target="../tags/tag191.xml"/><Relationship Id="rId2" Type="http://schemas.openxmlformats.org/officeDocument/2006/relationships/tags" Target="../tags/tag190.xml"/><Relationship Id="rId1" Type="http://schemas.openxmlformats.org/officeDocument/2006/relationships/vmlDrawing" Target="../drawings/vmlDrawing105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07.bin"/><Relationship Id="rId4" Type="http://schemas.openxmlformats.org/officeDocument/2006/relationships/slideMaster" Target="../slideMasters/slideMaster12.xml"/></Relationships>
</file>

<file path=ppt/slideLayouts/_rels/slideLayout249.xml.rels><?xml version="1.0" encoding="UTF-8" standalone="yes"?>
<Relationships xmlns="http://schemas.openxmlformats.org/package/2006/relationships"><Relationship Id="rId3" Type="http://schemas.openxmlformats.org/officeDocument/2006/relationships/tags" Target="../tags/tag193.xml"/><Relationship Id="rId2" Type="http://schemas.openxmlformats.org/officeDocument/2006/relationships/tags" Target="../tags/tag192.xml"/><Relationship Id="rId1" Type="http://schemas.openxmlformats.org/officeDocument/2006/relationships/vmlDrawing" Target="../drawings/vmlDrawing106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08.bin"/><Relationship Id="rId4" Type="http://schemas.openxmlformats.org/officeDocument/2006/relationships/slideMaster" Target="../slideMasters/slideMaster1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13" Type="http://schemas.openxmlformats.org/officeDocument/2006/relationships/image" Target="../media/image37.png"/><Relationship Id="rId3" Type="http://schemas.openxmlformats.org/officeDocument/2006/relationships/slideMaster" Target="../slideMasters/slideMaster12.xml"/><Relationship Id="rId7" Type="http://schemas.openxmlformats.org/officeDocument/2006/relationships/image" Target="../media/image74.png"/><Relationship Id="rId12" Type="http://schemas.openxmlformats.org/officeDocument/2006/relationships/image" Target="../media/image77.png"/><Relationship Id="rId2" Type="http://schemas.openxmlformats.org/officeDocument/2006/relationships/tags" Target="../tags/tag194.xml"/><Relationship Id="rId1" Type="http://schemas.openxmlformats.org/officeDocument/2006/relationships/vmlDrawing" Target="../drawings/vmlDrawing107.vml"/><Relationship Id="rId6" Type="http://schemas.openxmlformats.org/officeDocument/2006/relationships/image" Target="../media/image73.png"/><Relationship Id="rId11" Type="http://schemas.openxmlformats.org/officeDocument/2006/relationships/image" Target="../media/image5.png"/><Relationship Id="rId5" Type="http://schemas.openxmlformats.org/officeDocument/2006/relationships/image" Target="../media/image29.emf"/><Relationship Id="rId10" Type="http://schemas.openxmlformats.org/officeDocument/2006/relationships/image" Target="../media/image76.png"/><Relationship Id="rId4" Type="http://schemas.openxmlformats.org/officeDocument/2006/relationships/oleObject" Target="../embeddings/oleObject109.bin"/><Relationship Id="rId9" Type="http://schemas.openxmlformats.org/officeDocument/2006/relationships/image" Target="../media/image75.png"/></Relationships>
</file>

<file path=ppt/slideLayouts/_rels/slideLayout251.xml.rels><?xml version="1.0" encoding="UTF-8" standalone="yes"?>
<Relationships xmlns="http://schemas.openxmlformats.org/package/2006/relationships"><Relationship Id="rId3" Type="http://schemas.openxmlformats.org/officeDocument/2006/relationships/tags" Target="../tags/tag196.xml"/><Relationship Id="rId2" Type="http://schemas.openxmlformats.org/officeDocument/2006/relationships/tags" Target="../tags/tag195.xml"/><Relationship Id="rId1" Type="http://schemas.openxmlformats.org/officeDocument/2006/relationships/vmlDrawing" Target="../drawings/vmlDrawing108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10.bin"/><Relationship Id="rId4" Type="http://schemas.openxmlformats.org/officeDocument/2006/relationships/slideMaster" Target="../slideMasters/slideMaster12.xml"/></Relationships>
</file>

<file path=ppt/slideLayouts/_rels/slideLayout2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13" Type="http://schemas.openxmlformats.org/officeDocument/2006/relationships/image" Target="../media/image37.png"/><Relationship Id="rId3" Type="http://schemas.openxmlformats.org/officeDocument/2006/relationships/slideMaster" Target="../slideMasters/slideMaster12.xml"/><Relationship Id="rId7" Type="http://schemas.openxmlformats.org/officeDocument/2006/relationships/image" Target="../media/image74.png"/><Relationship Id="rId12" Type="http://schemas.openxmlformats.org/officeDocument/2006/relationships/image" Target="../media/image77.png"/><Relationship Id="rId2" Type="http://schemas.openxmlformats.org/officeDocument/2006/relationships/tags" Target="../tags/tag197.xml"/><Relationship Id="rId1" Type="http://schemas.openxmlformats.org/officeDocument/2006/relationships/vmlDrawing" Target="../drawings/vmlDrawing109.vml"/><Relationship Id="rId6" Type="http://schemas.openxmlformats.org/officeDocument/2006/relationships/image" Target="../media/image73.png"/><Relationship Id="rId11" Type="http://schemas.openxmlformats.org/officeDocument/2006/relationships/image" Target="../media/image5.png"/><Relationship Id="rId5" Type="http://schemas.openxmlformats.org/officeDocument/2006/relationships/image" Target="../media/image29.emf"/><Relationship Id="rId10" Type="http://schemas.openxmlformats.org/officeDocument/2006/relationships/image" Target="../media/image76.png"/><Relationship Id="rId4" Type="http://schemas.openxmlformats.org/officeDocument/2006/relationships/oleObject" Target="../embeddings/oleObject111.bin"/><Relationship Id="rId9" Type="http://schemas.openxmlformats.org/officeDocument/2006/relationships/image" Target="../media/image75.png"/></Relationships>
</file>

<file path=ppt/slideLayouts/_rels/slideLayout253.xml.rels><?xml version="1.0" encoding="UTF-8" standalone="yes"?>
<Relationships xmlns="http://schemas.openxmlformats.org/package/2006/relationships"><Relationship Id="rId3" Type="http://schemas.openxmlformats.org/officeDocument/2006/relationships/tags" Target="../tags/tag199.xml"/><Relationship Id="rId2" Type="http://schemas.openxmlformats.org/officeDocument/2006/relationships/tags" Target="../tags/tag198.xml"/><Relationship Id="rId1" Type="http://schemas.openxmlformats.org/officeDocument/2006/relationships/vmlDrawing" Target="../drawings/vmlDrawing110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12.bin"/><Relationship Id="rId4" Type="http://schemas.openxmlformats.org/officeDocument/2006/relationships/slideMaster" Target="../slideMasters/slideMaster12.xml"/></Relationships>
</file>

<file path=ppt/slideLayouts/_rels/slideLayout254.xml.rels><?xml version="1.0" encoding="UTF-8" standalone="yes"?>
<Relationships xmlns="http://schemas.openxmlformats.org/package/2006/relationships"><Relationship Id="rId3" Type="http://schemas.openxmlformats.org/officeDocument/2006/relationships/tags" Target="../tags/tag201.xml"/><Relationship Id="rId2" Type="http://schemas.openxmlformats.org/officeDocument/2006/relationships/tags" Target="../tags/tag200.xml"/><Relationship Id="rId1" Type="http://schemas.openxmlformats.org/officeDocument/2006/relationships/vmlDrawing" Target="../drawings/vmlDrawing111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13.bin"/><Relationship Id="rId4" Type="http://schemas.openxmlformats.org/officeDocument/2006/relationships/slideMaster" Target="../slideMasters/slideMaster12.xml"/></Relationships>
</file>

<file path=ppt/slideLayouts/_rels/slideLayout255.xml.rels><?xml version="1.0" encoding="UTF-8" standalone="yes"?>
<Relationships xmlns="http://schemas.openxmlformats.org/package/2006/relationships"><Relationship Id="rId3" Type="http://schemas.openxmlformats.org/officeDocument/2006/relationships/tags" Target="../tags/tag203.xml"/><Relationship Id="rId2" Type="http://schemas.openxmlformats.org/officeDocument/2006/relationships/tags" Target="../tags/tag202.xml"/><Relationship Id="rId1" Type="http://schemas.openxmlformats.org/officeDocument/2006/relationships/vmlDrawing" Target="../drawings/vmlDrawing112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14.bin"/><Relationship Id="rId4" Type="http://schemas.openxmlformats.org/officeDocument/2006/relationships/slideMaster" Target="../slideMasters/slideMaster12.xml"/></Relationships>
</file>

<file path=ppt/slideLayouts/_rels/slideLayout256.xml.rels><?xml version="1.0" encoding="UTF-8" standalone="yes"?>
<Relationships xmlns="http://schemas.openxmlformats.org/package/2006/relationships"><Relationship Id="rId3" Type="http://schemas.openxmlformats.org/officeDocument/2006/relationships/tags" Target="../tags/tag205.xml"/><Relationship Id="rId2" Type="http://schemas.openxmlformats.org/officeDocument/2006/relationships/tags" Target="../tags/tag204.xml"/><Relationship Id="rId1" Type="http://schemas.openxmlformats.org/officeDocument/2006/relationships/vmlDrawing" Target="../drawings/vmlDrawing113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15.bin"/><Relationship Id="rId4" Type="http://schemas.openxmlformats.org/officeDocument/2006/relationships/slideMaster" Target="../slideMasters/slideMaster12.xml"/></Relationships>
</file>

<file path=ppt/slideLayouts/_rels/slideLayout257.xml.rels><?xml version="1.0" encoding="UTF-8" standalone="yes"?>
<Relationships xmlns="http://schemas.openxmlformats.org/package/2006/relationships"><Relationship Id="rId3" Type="http://schemas.openxmlformats.org/officeDocument/2006/relationships/tags" Target="../tags/tag207.xml"/><Relationship Id="rId7" Type="http://schemas.openxmlformats.org/officeDocument/2006/relationships/image" Target="../media/image78.png"/><Relationship Id="rId2" Type="http://schemas.openxmlformats.org/officeDocument/2006/relationships/tags" Target="../tags/tag206.xml"/><Relationship Id="rId1" Type="http://schemas.openxmlformats.org/officeDocument/2006/relationships/vmlDrawing" Target="../drawings/vmlDrawing114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16.bin"/><Relationship Id="rId4" Type="http://schemas.openxmlformats.org/officeDocument/2006/relationships/slideMaster" Target="../slideMasters/slideMaster12.xml"/></Relationships>
</file>

<file path=ppt/slideLayouts/_rels/slideLayout258.xml.rels><?xml version="1.0" encoding="UTF-8" standalone="yes"?>
<Relationships xmlns="http://schemas.openxmlformats.org/package/2006/relationships"><Relationship Id="rId3" Type="http://schemas.openxmlformats.org/officeDocument/2006/relationships/tags" Target="../tags/tag209.xml"/><Relationship Id="rId7" Type="http://schemas.openxmlformats.org/officeDocument/2006/relationships/image" Target="../media/image78.png"/><Relationship Id="rId2" Type="http://schemas.openxmlformats.org/officeDocument/2006/relationships/tags" Target="../tags/tag208.xml"/><Relationship Id="rId1" Type="http://schemas.openxmlformats.org/officeDocument/2006/relationships/vmlDrawing" Target="../drawings/vmlDrawing115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17.bin"/><Relationship Id="rId4" Type="http://schemas.openxmlformats.org/officeDocument/2006/relationships/slideMaster" Target="../slideMasters/slideMaster12.xml"/></Relationships>
</file>

<file path=ppt/slideLayouts/_rels/slideLayout2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210.xml"/><Relationship Id="rId1" Type="http://schemas.openxmlformats.org/officeDocument/2006/relationships/vmlDrawing" Target="../drawings/vmlDrawing116.vml"/><Relationship Id="rId6" Type="http://schemas.openxmlformats.org/officeDocument/2006/relationships/image" Target="../media/image78.png"/><Relationship Id="rId5" Type="http://schemas.openxmlformats.org/officeDocument/2006/relationships/image" Target="../media/image29.emf"/><Relationship Id="rId4" Type="http://schemas.openxmlformats.org/officeDocument/2006/relationships/oleObject" Target="../embeddings/oleObject118.bin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0.xml.rels><?xml version="1.0" encoding="UTF-8" standalone="yes"?>
<Relationships xmlns="http://schemas.openxmlformats.org/package/2006/relationships"><Relationship Id="rId3" Type="http://schemas.openxmlformats.org/officeDocument/2006/relationships/tags" Target="../tags/tag212.xml"/><Relationship Id="rId7" Type="http://schemas.openxmlformats.org/officeDocument/2006/relationships/image" Target="../media/image78.png"/><Relationship Id="rId2" Type="http://schemas.openxmlformats.org/officeDocument/2006/relationships/tags" Target="../tags/tag211.xml"/><Relationship Id="rId1" Type="http://schemas.openxmlformats.org/officeDocument/2006/relationships/vmlDrawing" Target="../drawings/vmlDrawing117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19.bin"/><Relationship Id="rId4" Type="http://schemas.openxmlformats.org/officeDocument/2006/relationships/slideMaster" Target="../slideMasters/slideMaster12.xml"/></Relationships>
</file>

<file path=ppt/slideLayouts/_rels/slideLayout261.xml.rels><?xml version="1.0" encoding="UTF-8" standalone="yes"?>
<Relationships xmlns="http://schemas.openxmlformats.org/package/2006/relationships"><Relationship Id="rId3" Type="http://schemas.openxmlformats.org/officeDocument/2006/relationships/tags" Target="../tags/tag214.xml"/><Relationship Id="rId7" Type="http://schemas.openxmlformats.org/officeDocument/2006/relationships/image" Target="../media/image78.png"/><Relationship Id="rId2" Type="http://schemas.openxmlformats.org/officeDocument/2006/relationships/tags" Target="../tags/tag213.xml"/><Relationship Id="rId1" Type="http://schemas.openxmlformats.org/officeDocument/2006/relationships/vmlDrawing" Target="../drawings/vmlDrawing118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20.bin"/><Relationship Id="rId4" Type="http://schemas.openxmlformats.org/officeDocument/2006/relationships/slideMaster" Target="../slideMasters/slideMaster12.xml"/></Relationships>
</file>

<file path=ppt/slideLayouts/_rels/slideLayout2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215.xml"/><Relationship Id="rId1" Type="http://schemas.openxmlformats.org/officeDocument/2006/relationships/vmlDrawing" Target="../drawings/vmlDrawing119.vml"/><Relationship Id="rId6" Type="http://schemas.openxmlformats.org/officeDocument/2006/relationships/image" Target="../media/image78.png"/><Relationship Id="rId5" Type="http://schemas.openxmlformats.org/officeDocument/2006/relationships/image" Target="../media/image29.emf"/><Relationship Id="rId4" Type="http://schemas.openxmlformats.org/officeDocument/2006/relationships/oleObject" Target="../embeddings/oleObject121.bin"/></Relationships>
</file>

<file path=ppt/slideLayouts/_rels/slideLayout263.xml.rels><?xml version="1.0" encoding="UTF-8" standalone="yes"?>
<Relationships xmlns="http://schemas.openxmlformats.org/package/2006/relationships"><Relationship Id="rId3" Type="http://schemas.openxmlformats.org/officeDocument/2006/relationships/tags" Target="../tags/tag217.xml"/><Relationship Id="rId7" Type="http://schemas.openxmlformats.org/officeDocument/2006/relationships/image" Target="../media/image79.png"/><Relationship Id="rId2" Type="http://schemas.openxmlformats.org/officeDocument/2006/relationships/tags" Target="../tags/tag216.xml"/><Relationship Id="rId1" Type="http://schemas.openxmlformats.org/officeDocument/2006/relationships/vmlDrawing" Target="../drawings/vmlDrawing120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22.bin"/><Relationship Id="rId4" Type="http://schemas.openxmlformats.org/officeDocument/2006/relationships/slideMaster" Target="../slideMasters/slideMaster12.xml"/></Relationships>
</file>

<file path=ppt/slideLayouts/_rels/slideLayout264.xml.rels><?xml version="1.0" encoding="UTF-8" standalone="yes"?>
<Relationships xmlns="http://schemas.openxmlformats.org/package/2006/relationships"><Relationship Id="rId3" Type="http://schemas.openxmlformats.org/officeDocument/2006/relationships/tags" Target="../tags/tag219.xml"/><Relationship Id="rId7" Type="http://schemas.openxmlformats.org/officeDocument/2006/relationships/image" Target="../media/image80.png"/><Relationship Id="rId2" Type="http://schemas.openxmlformats.org/officeDocument/2006/relationships/tags" Target="../tags/tag218.xml"/><Relationship Id="rId1" Type="http://schemas.openxmlformats.org/officeDocument/2006/relationships/vmlDrawing" Target="../drawings/vmlDrawing121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23.bin"/><Relationship Id="rId4" Type="http://schemas.openxmlformats.org/officeDocument/2006/relationships/slideMaster" Target="../slideMasters/slideMaster12.xml"/></Relationships>
</file>

<file path=ppt/slideLayouts/_rels/slideLayout265.xml.rels><?xml version="1.0" encoding="UTF-8" standalone="yes"?>
<Relationships xmlns="http://schemas.openxmlformats.org/package/2006/relationships"><Relationship Id="rId3" Type="http://schemas.openxmlformats.org/officeDocument/2006/relationships/tags" Target="../tags/tag221.xml"/><Relationship Id="rId7" Type="http://schemas.openxmlformats.org/officeDocument/2006/relationships/image" Target="../media/image81.png"/><Relationship Id="rId2" Type="http://schemas.openxmlformats.org/officeDocument/2006/relationships/tags" Target="../tags/tag220.xml"/><Relationship Id="rId1" Type="http://schemas.openxmlformats.org/officeDocument/2006/relationships/vmlDrawing" Target="../drawings/vmlDrawing122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24.bin"/><Relationship Id="rId4" Type="http://schemas.openxmlformats.org/officeDocument/2006/relationships/slideMaster" Target="../slideMasters/slideMaster12.xml"/></Relationships>
</file>

<file path=ppt/slideLayouts/_rels/slideLayout266.xml.rels><?xml version="1.0" encoding="UTF-8" standalone="yes"?>
<Relationships xmlns="http://schemas.openxmlformats.org/package/2006/relationships"><Relationship Id="rId3" Type="http://schemas.openxmlformats.org/officeDocument/2006/relationships/tags" Target="../tags/tag223.xml"/><Relationship Id="rId7" Type="http://schemas.openxmlformats.org/officeDocument/2006/relationships/image" Target="../media/image80.png"/><Relationship Id="rId2" Type="http://schemas.openxmlformats.org/officeDocument/2006/relationships/tags" Target="../tags/tag222.xml"/><Relationship Id="rId1" Type="http://schemas.openxmlformats.org/officeDocument/2006/relationships/vmlDrawing" Target="../drawings/vmlDrawing123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25.bin"/><Relationship Id="rId4" Type="http://schemas.openxmlformats.org/officeDocument/2006/relationships/slideMaster" Target="../slideMasters/slideMaster12.xml"/></Relationships>
</file>

<file path=ppt/slideLayouts/_rels/slideLayout267.xml.rels><?xml version="1.0" encoding="UTF-8" standalone="yes"?>
<Relationships xmlns="http://schemas.openxmlformats.org/package/2006/relationships"><Relationship Id="rId3" Type="http://schemas.openxmlformats.org/officeDocument/2006/relationships/tags" Target="../tags/tag225.xml"/><Relationship Id="rId7" Type="http://schemas.openxmlformats.org/officeDocument/2006/relationships/image" Target="../media/image79.png"/><Relationship Id="rId2" Type="http://schemas.openxmlformats.org/officeDocument/2006/relationships/tags" Target="../tags/tag224.xml"/><Relationship Id="rId1" Type="http://schemas.openxmlformats.org/officeDocument/2006/relationships/vmlDrawing" Target="../drawings/vmlDrawing124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26.bin"/><Relationship Id="rId4" Type="http://schemas.openxmlformats.org/officeDocument/2006/relationships/slideMaster" Target="../slideMasters/slideMaster12.xml"/></Relationships>
</file>

<file path=ppt/slideLayouts/_rels/slideLayout268.xml.rels><?xml version="1.0" encoding="UTF-8" standalone="yes"?>
<Relationships xmlns="http://schemas.openxmlformats.org/package/2006/relationships"><Relationship Id="rId3" Type="http://schemas.openxmlformats.org/officeDocument/2006/relationships/tags" Target="../tags/tag227.xml"/><Relationship Id="rId7" Type="http://schemas.openxmlformats.org/officeDocument/2006/relationships/image" Target="../media/image80.png"/><Relationship Id="rId2" Type="http://schemas.openxmlformats.org/officeDocument/2006/relationships/tags" Target="../tags/tag226.xml"/><Relationship Id="rId1" Type="http://schemas.openxmlformats.org/officeDocument/2006/relationships/vmlDrawing" Target="../drawings/vmlDrawing125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27.bin"/><Relationship Id="rId4" Type="http://schemas.openxmlformats.org/officeDocument/2006/relationships/slideMaster" Target="../slideMasters/slideMaster12.xml"/></Relationships>
</file>

<file path=ppt/slideLayouts/_rels/slideLayout269.xml.rels><?xml version="1.0" encoding="UTF-8" standalone="yes"?>
<Relationships xmlns="http://schemas.openxmlformats.org/package/2006/relationships"><Relationship Id="rId3" Type="http://schemas.openxmlformats.org/officeDocument/2006/relationships/tags" Target="../tags/tag229.xml"/><Relationship Id="rId7" Type="http://schemas.openxmlformats.org/officeDocument/2006/relationships/image" Target="../media/image79.png"/><Relationship Id="rId2" Type="http://schemas.openxmlformats.org/officeDocument/2006/relationships/tags" Target="../tags/tag228.xml"/><Relationship Id="rId1" Type="http://schemas.openxmlformats.org/officeDocument/2006/relationships/vmlDrawing" Target="../drawings/vmlDrawing126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28.bin"/><Relationship Id="rId4" Type="http://schemas.openxmlformats.org/officeDocument/2006/relationships/slideMaster" Target="../slideMasters/slideMaster1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0.xml.rels><?xml version="1.0" encoding="UTF-8" standalone="yes"?>
<Relationships xmlns="http://schemas.openxmlformats.org/package/2006/relationships"><Relationship Id="rId3" Type="http://schemas.openxmlformats.org/officeDocument/2006/relationships/tags" Target="../tags/tag231.xml"/><Relationship Id="rId7" Type="http://schemas.openxmlformats.org/officeDocument/2006/relationships/image" Target="../media/image80.png"/><Relationship Id="rId2" Type="http://schemas.openxmlformats.org/officeDocument/2006/relationships/tags" Target="../tags/tag230.xml"/><Relationship Id="rId1" Type="http://schemas.openxmlformats.org/officeDocument/2006/relationships/vmlDrawing" Target="../drawings/vmlDrawing127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29.bin"/><Relationship Id="rId4" Type="http://schemas.openxmlformats.org/officeDocument/2006/relationships/slideMaster" Target="../slideMasters/slideMaster12.xml"/></Relationships>
</file>

<file path=ppt/slideLayouts/_rels/slideLayout271.xml.rels><?xml version="1.0" encoding="UTF-8" standalone="yes"?>
<Relationships xmlns="http://schemas.openxmlformats.org/package/2006/relationships"><Relationship Id="rId3" Type="http://schemas.openxmlformats.org/officeDocument/2006/relationships/tags" Target="../tags/tag233.xml"/><Relationship Id="rId2" Type="http://schemas.openxmlformats.org/officeDocument/2006/relationships/tags" Target="../tags/tag232.xml"/><Relationship Id="rId1" Type="http://schemas.openxmlformats.org/officeDocument/2006/relationships/vmlDrawing" Target="../drawings/vmlDrawing128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30.bin"/><Relationship Id="rId4" Type="http://schemas.openxmlformats.org/officeDocument/2006/relationships/slideMaster" Target="../slideMasters/slideMaster12.xml"/></Relationships>
</file>

<file path=ppt/slideLayouts/_rels/slideLayout272.xml.rels><?xml version="1.0" encoding="UTF-8" standalone="yes"?>
<Relationships xmlns="http://schemas.openxmlformats.org/package/2006/relationships"><Relationship Id="rId3" Type="http://schemas.openxmlformats.org/officeDocument/2006/relationships/tags" Target="../tags/tag235.xml"/><Relationship Id="rId2" Type="http://schemas.openxmlformats.org/officeDocument/2006/relationships/tags" Target="../tags/tag234.xml"/><Relationship Id="rId1" Type="http://schemas.openxmlformats.org/officeDocument/2006/relationships/vmlDrawing" Target="../drawings/vmlDrawing129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31.bin"/><Relationship Id="rId4" Type="http://schemas.openxmlformats.org/officeDocument/2006/relationships/slideMaster" Target="../slideMasters/slideMaster12.xml"/></Relationships>
</file>

<file path=ppt/slideLayouts/_rels/slideLayout273.xml.rels><?xml version="1.0" encoding="UTF-8" standalone="yes"?>
<Relationships xmlns="http://schemas.openxmlformats.org/package/2006/relationships"><Relationship Id="rId3" Type="http://schemas.openxmlformats.org/officeDocument/2006/relationships/tags" Target="../tags/tag237.xml"/><Relationship Id="rId7" Type="http://schemas.openxmlformats.org/officeDocument/2006/relationships/image" Target="../media/image78.png"/><Relationship Id="rId2" Type="http://schemas.openxmlformats.org/officeDocument/2006/relationships/tags" Target="../tags/tag236.xml"/><Relationship Id="rId1" Type="http://schemas.openxmlformats.org/officeDocument/2006/relationships/vmlDrawing" Target="../drawings/vmlDrawing130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32.bin"/><Relationship Id="rId4" Type="http://schemas.openxmlformats.org/officeDocument/2006/relationships/slideMaster" Target="../slideMasters/slideMaster12.xml"/></Relationships>
</file>

<file path=ppt/slideLayouts/_rels/slideLayout274.xml.rels><?xml version="1.0" encoding="UTF-8" standalone="yes"?>
<Relationships xmlns="http://schemas.openxmlformats.org/package/2006/relationships"><Relationship Id="rId3" Type="http://schemas.openxmlformats.org/officeDocument/2006/relationships/tags" Target="../tags/tag239.xml"/><Relationship Id="rId2" Type="http://schemas.openxmlformats.org/officeDocument/2006/relationships/tags" Target="../tags/tag238.xml"/><Relationship Id="rId1" Type="http://schemas.openxmlformats.org/officeDocument/2006/relationships/vmlDrawing" Target="../drawings/vmlDrawing131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33.bin"/><Relationship Id="rId4" Type="http://schemas.openxmlformats.org/officeDocument/2006/relationships/slideMaster" Target="../slideMasters/slideMaster12.xml"/></Relationships>
</file>

<file path=ppt/slideLayouts/_rels/slideLayout275.xml.rels><?xml version="1.0" encoding="UTF-8" standalone="yes"?>
<Relationships xmlns="http://schemas.openxmlformats.org/package/2006/relationships"><Relationship Id="rId3" Type="http://schemas.openxmlformats.org/officeDocument/2006/relationships/tags" Target="../tags/tag241.xml"/><Relationship Id="rId7" Type="http://schemas.openxmlformats.org/officeDocument/2006/relationships/image" Target="../media/image79.png"/><Relationship Id="rId2" Type="http://schemas.openxmlformats.org/officeDocument/2006/relationships/tags" Target="../tags/tag240.xml"/><Relationship Id="rId1" Type="http://schemas.openxmlformats.org/officeDocument/2006/relationships/vmlDrawing" Target="../drawings/vmlDrawing132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34.bin"/><Relationship Id="rId4" Type="http://schemas.openxmlformats.org/officeDocument/2006/relationships/slideMaster" Target="../slideMasters/slideMaster12.xml"/></Relationships>
</file>

<file path=ppt/slideLayouts/_rels/slideLayout276.xml.rels><?xml version="1.0" encoding="UTF-8" standalone="yes"?>
<Relationships xmlns="http://schemas.openxmlformats.org/package/2006/relationships"><Relationship Id="rId3" Type="http://schemas.openxmlformats.org/officeDocument/2006/relationships/tags" Target="../tags/tag243.xml"/><Relationship Id="rId2" Type="http://schemas.openxmlformats.org/officeDocument/2006/relationships/tags" Target="../tags/tag242.xml"/><Relationship Id="rId1" Type="http://schemas.openxmlformats.org/officeDocument/2006/relationships/vmlDrawing" Target="../drawings/vmlDrawing133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35.bin"/><Relationship Id="rId4" Type="http://schemas.openxmlformats.org/officeDocument/2006/relationships/slideMaster" Target="../slideMasters/slideMaster12.xml"/></Relationships>
</file>

<file path=ppt/slideLayouts/_rels/slideLayout277.xml.rels><?xml version="1.0" encoding="UTF-8" standalone="yes"?>
<Relationships xmlns="http://schemas.openxmlformats.org/package/2006/relationships"><Relationship Id="rId3" Type="http://schemas.openxmlformats.org/officeDocument/2006/relationships/tags" Target="../tags/tag245.xml"/><Relationship Id="rId2" Type="http://schemas.openxmlformats.org/officeDocument/2006/relationships/tags" Target="../tags/tag244.xml"/><Relationship Id="rId1" Type="http://schemas.openxmlformats.org/officeDocument/2006/relationships/vmlDrawing" Target="../drawings/vmlDrawing134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36.bin"/><Relationship Id="rId4" Type="http://schemas.openxmlformats.org/officeDocument/2006/relationships/slideMaster" Target="../slideMasters/slideMaster12.xml"/></Relationships>
</file>

<file path=ppt/slideLayouts/_rels/slideLayout278.xml.rels><?xml version="1.0" encoding="UTF-8" standalone="yes"?>
<Relationships xmlns="http://schemas.openxmlformats.org/package/2006/relationships"><Relationship Id="rId3" Type="http://schemas.openxmlformats.org/officeDocument/2006/relationships/tags" Target="../tags/tag247.xml"/><Relationship Id="rId2" Type="http://schemas.openxmlformats.org/officeDocument/2006/relationships/tags" Target="../tags/tag246.xml"/><Relationship Id="rId1" Type="http://schemas.openxmlformats.org/officeDocument/2006/relationships/vmlDrawing" Target="../drawings/vmlDrawing135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37.bin"/><Relationship Id="rId4" Type="http://schemas.openxmlformats.org/officeDocument/2006/relationships/slideMaster" Target="../slideMasters/slideMaster12.xml"/></Relationships>
</file>

<file path=ppt/slideLayouts/_rels/slideLayout27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13" Type="http://schemas.openxmlformats.org/officeDocument/2006/relationships/image" Target="../media/image37.png"/><Relationship Id="rId3" Type="http://schemas.openxmlformats.org/officeDocument/2006/relationships/slideMaster" Target="../slideMasters/slideMaster12.xml"/><Relationship Id="rId7" Type="http://schemas.openxmlformats.org/officeDocument/2006/relationships/image" Target="../media/image74.png"/><Relationship Id="rId12" Type="http://schemas.openxmlformats.org/officeDocument/2006/relationships/image" Target="../media/image77.png"/><Relationship Id="rId2" Type="http://schemas.openxmlformats.org/officeDocument/2006/relationships/tags" Target="../tags/tag248.xml"/><Relationship Id="rId1" Type="http://schemas.openxmlformats.org/officeDocument/2006/relationships/vmlDrawing" Target="../drawings/vmlDrawing136.vml"/><Relationship Id="rId6" Type="http://schemas.openxmlformats.org/officeDocument/2006/relationships/image" Target="../media/image73.png"/><Relationship Id="rId11" Type="http://schemas.openxmlformats.org/officeDocument/2006/relationships/image" Target="../media/image5.png"/><Relationship Id="rId5" Type="http://schemas.openxmlformats.org/officeDocument/2006/relationships/image" Target="../media/image29.emf"/><Relationship Id="rId10" Type="http://schemas.openxmlformats.org/officeDocument/2006/relationships/image" Target="../media/image76.png"/><Relationship Id="rId4" Type="http://schemas.openxmlformats.org/officeDocument/2006/relationships/oleObject" Target="../embeddings/oleObject138.bin"/><Relationship Id="rId9" Type="http://schemas.openxmlformats.org/officeDocument/2006/relationships/image" Target="../media/image75.png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0.xml.rels><?xml version="1.0" encoding="UTF-8" standalone="yes"?>
<Relationships xmlns="http://schemas.openxmlformats.org/package/2006/relationships"><Relationship Id="rId3" Type="http://schemas.openxmlformats.org/officeDocument/2006/relationships/tags" Target="../tags/tag250.xml"/><Relationship Id="rId2" Type="http://schemas.openxmlformats.org/officeDocument/2006/relationships/tags" Target="../tags/tag249.xml"/><Relationship Id="rId1" Type="http://schemas.openxmlformats.org/officeDocument/2006/relationships/vmlDrawing" Target="../drawings/vmlDrawing137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39.bin"/><Relationship Id="rId4" Type="http://schemas.openxmlformats.org/officeDocument/2006/relationships/slideMaster" Target="../slideMasters/slideMaster12.xml"/></Relationships>
</file>

<file path=ppt/slideLayouts/_rels/slideLayout28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13" Type="http://schemas.openxmlformats.org/officeDocument/2006/relationships/image" Target="../media/image37.png"/><Relationship Id="rId3" Type="http://schemas.openxmlformats.org/officeDocument/2006/relationships/slideMaster" Target="../slideMasters/slideMaster13.xml"/><Relationship Id="rId7" Type="http://schemas.openxmlformats.org/officeDocument/2006/relationships/image" Target="../media/image74.png"/><Relationship Id="rId12" Type="http://schemas.openxmlformats.org/officeDocument/2006/relationships/image" Target="../media/image77.png"/><Relationship Id="rId2" Type="http://schemas.openxmlformats.org/officeDocument/2006/relationships/tags" Target="../tags/tag252.xml"/><Relationship Id="rId1" Type="http://schemas.openxmlformats.org/officeDocument/2006/relationships/vmlDrawing" Target="../drawings/vmlDrawing139.vml"/><Relationship Id="rId6" Type="http://schemas.openxmlformats.org/officeDocument/2006/relationships/image" Target="../media/image73.png"/><Relationship Id="rId11" Type="http://schemas.openxmlformats.org/officeDocument/2006/relationships/image" Target="../media/image5.png"/><Relationship Id="rId5" Type="http://schemas.openxmlformats.org/officeDocument/2006/relationships/image" Target="../media/image29.emf"/><Relationship Id="rId10" Type="http://schemas.openxmlformats.org/officeDocument/2006/relationships/image" Target="../media/image76.png"/><Relationship Id="rId4" Type="http://schemas.openxmlformats.org/officeDocument/2006/relationships/oleObject" Target="../embeddings/oleObject141.bin"/><Relationship Id="rId9" Type="http://schemas.openxmlformats.org/officeDocument/2006/relationships/image" Target="../media/image75.png"/></Relationships>
</file>

<file path=ppt/slideLayouts/_rels/slideLayout282.xml.rels><?xml version="1.0" encoding="UTF-8" standalone="yes"?>
<Relationships xmlns="http://schemas.openxmlformats.org/package/2006/relationships"><Relationship Id="rId3" Type="http://schemas.openxmlformats.org/officeDocument/2006/relationships/tags" Target="../tags/tag254.xml"/><Relationship Id="rId2" Type="http://schemas.openxmlformats.org/officeDocument/2006/relationships/tags" Target="../tags/tag253.xml"/><Relationship Id="rId1" Type="http://schemas.openxmlformats.org/officeDocument/2006/relationships/vmlDrawing" Target="../drawings/vmlDrawing140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42.bin"/><Relationship Id="rId4" Type="http://schemas.openxmlformats.org/officeDocument/2006/relationships/slideMaster" Target="../slideMasters/slideMaster13.xml"/></Relationships>
</file>

<file path=ppt/slideLayouts/_rels/slideLayout283.xml.rels><?xml version="1.0" encoding="UTF-8" standalone="yes"?>
<Relationships xmlns="http://schemas.openxmlformats.org/package/2006/relationships"><Relationship Id="rId3" Type="http://schemas.openxmlformats.org/officeDocument/2006/relationships/tags" Target="../tags/tag256.xml"/><Relationship Id="rId2" Type="http://schemas.openxmlformats.org/officeDocument/2006/relationships/tags" Target="../tags/tag255.xml"/><Relationship Id="rId1" Type="http://schemas.openxmlformats.org/officeDocument/2006/relationships/vmlDrawing" Target="../drawings/vmlDrawing141.vml"/><Relationship Id="rId6" Type="http://schemas.openxmlformats.org/officeDocument/2006/relationships/image" Target="../media/image67.emf"/><Relationship Id="rId5" Type="http://schemas.openxmlformats.org/officeDocument/2006/relationships/oleObject" Target="../embeddings/oleObject143.bin"/><Relationship Id="rId4" Type="http://schemas.openxmlformats.org/officeDocument/2006/relationships/slideMaster" Target="../slideMasters/slideMaster13.xml"/></Relationships>
</file>

<file path=ppt/slideLayouts/_rels/slideLayout284.xml.rels><?xml version="1.0" encoding="UTF-8" standalone="yes"?>
<Relationships xmlns="http://schemas.openxmlformats.org/package/2006/relationships"><Relationship Id="rId3" Type="http://schemas.openxmlformats.org/officeDocument/2006/relationships/tags" Target="../tags/tag258.xml"/><Relationship Id="rId2" Type="http://schemas.openxmlformats.org/officeDocument/2006/relationships/tags" Target="../tags/tag257.xml"/><Relationship Id="rId1" Type="http://schemas.openxmlformats.org/officeDocument/2006/relationships/vmlDrawing" Target="../drawings/vmlDrawing142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44.bin"/><Relationship Id="rId4" Type="http://schemas.openxmlformats.org/officeDocument/2006/relationships/slideMaster" Target="../slideMasters/slideMaster13.xml"/></Relationships>
</file>

<file path=ppt/slideLayouts/_rels/slideLayout285.xml.rels><?xml version="1.0" encoding="UTF-8" standalone="yes"?>
<Relationships xmlns="http://schemas.openxmlformats.org/package/2006/relationships"><Relationship Id="rId3" Type="http://schemas.openxmlformats.org/officeDocument/2006/relationships/tags" Target="../tags/tag260.xml"/><Relationship Id="rId2" Type="http://schemas.openxmlformats.org/officeDocument/2006/relationships/tags" Target="../tags/tag259.xml"/><Relationship Id="rId1" Type="http://schemas.openxmlformats.org/officeDocument/2006/relationships/vmlDrawing" Target="../drawings/vmlDrawing143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45.bin"/><Relationship Id="rId4" Type="http://schemas.openxmlformats.org/officeDocument/2006/relationships/slideMaster" Target="../slideMasters/slideMaster13.xml"/></Relationships>
</file>

<file path=ppt/slideLayouts/_rels/slideLayout286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262.xml"/><Relationship Id="rId7" Type="http://schemas.openxmlformats.org/officeDocument/2006/relationships/image" Target="../media/image78.png"/><Relationship Id="rId2" Type="http://schemas.openxmlformats.org/officeDocument/2006/relationships/tags" Target="../tags/tag261.xml"/><Relationship Id="rId1" Type="http://schemas.openxmlformats.org/officeDocument/2006/relationships/vmlDrawing" Target="../drawings/vmlDrawing144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46.bin"/><Relationship Id="rId4" Type="http://schemas.openxmlformats.org/officeDocument/2006/relationships/slideMaster" Target="../slideMasters/slideMaster13.xml"/></Relationships>
</file>

<file path=ppt/slideLayouts/_rels/slideLayout287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264.xml"/><Relationship Id="rId7" Type="http://schemas.openxmlformats.org/officeDocument/2006/relationships/image" Target="../media/image78.png"/><Relationship Id="rId2" Type="http://schemas.openxmlformats.org/officeDocument/2006/relationships/tags" Target="../tags/tag263.xml"/><Relationship Id="rId1" Type="http://schemas.openxmlformats.org/officeDocument/2006/relationships/vmlDrawing" Target="../drawings/vmlDrawing145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47.bin"/><Relationship Id="rId4" Type="http://schemas.openxmlformats.org/officeDocument/2006/relationships/slideMaster" Target="../slideMasters/slideMaster13.xml"/></Relationships>
</file>

<file path=ppt/slideLayouts/_rels/slideLayout288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266.xml"/><Relationship Id="rId7" Type="http://schemas.openxmlformats.org/officeDocument/2006/relationships/image" Target="../media/image78.png"/><Relationship Id="rId2" Type="http://schemas.openxmlformats.org/officeDocument/2006/relationships/tags" Target="../tags/tag265.xml"/><Relationship Id="rId1" Type="http://schemas.openxmlformats.org/officeDocument/2006/relationships/vmlDrawing" Target="../drawings/vmlDrawing146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48.bin"/><Relationship Id="rId4" Type="http://schemas.openxmlformats.org/officeDocument/2006/relationships/slideMaster" Target="../slideMasters/slideMaster13.xml"/></Relationships>
</file>

<file path=ppt/slideLayouts/_rels/slideLayout289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268.xml"/><Relationship Id="rId7" Type="http://schemas.openxmlformats.org/officeDocument/2006/relationships/image" Target="../media/image78.png"/><Relationship Id="rId2" Type="http://schemas.openxmlformats.org/officeDocument/2006/relationships/tags" Target="../tags/tag267.xml"/><Relationship Id="rId1" Type="http://schemas.openxmlformats.org/officeDocument/2006/relationships/vmlDrawing" Target="../drawings/vmlDrawing147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49.bin"/><Relationship Id="rId4" Type="http://schemas.openxmlformats.org/officeDocument/2006/relationships/slideMaster" Target="../slideMasters/slideMaster1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7" Type="http://schemas.microsoft.com/office/2007/relationships/hdphoto" Target="../media/hdphoto1.wdp"/><Relationship Id="rId2" Type="http://schemas.openxmlformats.org/officeDocument/2006/relationships/tags" Target="../tags/tag269.xml"/><Relationship Id="rId1" Type="http://schemas.openxmlformats.org/officeDocument/2006/relationships/vmlDrawing" Target="../drawings/vmlDrawing148.vml"/><Relationship Id="rId6" Type="http://schemas.openxmlformats.org/officeDocument/2006/relationships/image" Target="../media/image78.png"/><Relationship Id="rId5" Type="http://schemas.openxmlformats.org/officeDocument/2006/relationships/image" Target="../media/image29.emf"/><Relationship Id="rId4" Type="http://schemas.openxmlformats.org/officeDocument/2006/relationships/oleObject" Target="../embeddings/oleObject150.bin"/></Relationships>
</file>

<file path=ppt/slideLayouts/_rels/slideLayout291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tags" Target="../tags/tag271.xml"/><Relationship Id="rId7" Type="http://schemas.openxmlformats.org/officeDocument/2006/relationships/image" Target="../media/image79.png"/><Relationship Id="rId2" Type="http://schemas.openxmlformats.org/officeDocument/2006/relationships/tags" Target="../tags/tag270.xml"/><Relationship Id="rId1" Type="http://schemas.openxmlformats.org/officeDocument/2006/relationships/vmlDrawing" Target="../drawings/vmlDrawing149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51.bin"/><Relationship Id="rId4" Type="http://schemas.openxmlformats.org/officeDocument/2006/relationships/slideMaster" Target="../slideMasters/slideMaster13.xml"/></Relationships>
</file>

<file path=ppt/slideLayouts/_rels/slideLayout292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tags" Target="../tags/tag273.xml"/><Relationship Id="rId7" Type="http://schemas.openxmlformats.org/officeDocument/2006/relationships/image" Target="../media/image80.png"/><Relationship Id="rId2" Type="http://schemas.openxmlformats.org/officeDocument/2006/relationships/tags" Target="../tags/tag272.xml"/><Relationship Id="rId1" Type="http://schemas.openxmlformats.org/officeDocument/2006/relationships/vmlDrawing" Target="../drawings/vmlDrawing150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52.bin"/><Relationship Id="rId4" Type="http://schemas.openxmlformats.org/officeDocument/2006/relationships/slideMaster" Target="../slideMasters/slideMaster13.xml"/></Relationships>
</file>

<file path=ppt/slideLayouts/_rels/slideLayout293.xml.rels><?xml version="1.0" encoding="UTF-8" standalone="yes"?>
<Relationships xmlns="http://schemas.openxmlformats.org/package/2006/relationships"><Relationship Id="rId8" Type="http://schemas.microsoft.com/office/2007/relationships/hdphoto" Target="../media/hdphoto4.wdp"/><Relationship Id="rId3" Type="http://schemas.openxmlformats.org/officeDocument/2006/relationships/tags" Target="../tags/tag275.xml"/><Relationship Id="rId7" Type="http://schemas.openxmlformats.org/officeDocument/2006/relationships/image" Target="../media/image81.png"/><Relationship Id="rId2" Type="http://schemas.openxmlformats.org/officeDocument/2006/relationships/tags" Target="../tags/tag274.xml"/><Relationship Id="rId1" Type="http://schemas.openxmlformats.org/officeDocument/2006/relationships/vmlDrawing" Target="../drawings/vmlDrawing151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53.bin"/><Relationship Id="rId4" Type="http://schemas.openxmlformats.org/officeDocument/2006/relationships/slideMaster" Target="../slideMasters/slideMaster13.xml"/></Relationships>
</file>

<file path=ppt/slideLayouts/_rels/slideLayout294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tags" Target="../tags/tag277.xml"/><Relationship Id="rId7" Type="http://schemas.openxmlformats.org/officeDocument/2006/relationships/image" Target="../media/image80.png"/><Relationship Id="rId2" Type="http://schemas.openxmlformats.org/officeDocument/2006/relationships/tags" Target="../tags/tag276.xml"/><Relationship Id="rId1" Type="http://schemas.openxmlformats.org/officeDocument/2006/relationships/vmlDrawing" Target="../drawings/vmlDrawing152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54.bin"/><Relationship Id="rId4" Type="http://schemas.openxmlformats.org/officeDocument/2006/relationships/slideMaster" Target="../slideMasters/slideMaster13.xml"/></Relationships>
</file>

<file path=ppt/slideLayouts/_rels/slideLayout295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tags" Target="../tags/tag279.xml"/><Relationship Id="rId7" Type="http://schemas.openxmlformats.org/officeDocument/2006/relationships/image" Target="../media/image79.png"/><Relationship Id="rId2" Type="http://schemas.openxmlformats.org/officeDocument/2006/relationships/tags" Target="../tags/tag278.xml"/><Relationship Id="rId1" Type="http://schemas.openxmlformats.org/officeDocument/2006/relationships/vmlDrawing" Target="../drawings/vmlDrawing153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55.bin"/><Relationship Id="rId4" Type="http://schemas.openxmlformats.org/officeDocument/2006/relationships/slideMaster" Target="../slideMasters/slideMaster13.xml"/></Relationships>
</file>

<file path=ppt/slideLayouts/_rels/slideLayout296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tags" Target="../tags/tag281.xml"/><Relationship Id="rId7" Type="http://schemas.openxmlformats.org/officeDocument/2006/relationships/image" Target="../media/image80.png"/><Relationship Id="rId2" Type="http://schemas.openxmlformats.org/officeDocument/2006/relationships/tags" Target="../tags/tag280.xml"/><Relationship Id="rId1" Type="http://schemas.openxmlformats.org/officeDocument/2006/relationships/vmlDrawing" Target="../drawings/vmlDrawing154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56.bin"/><Relationship Id="rId4" Type="http://schemas.openxmlformats.org/officeDocument/2006/relationships/slideMaster" Target="../slideMasters/slideMaster13.xml"/></Relationships>
</file>

<file path=ppt/slideLayouts/_rels/slideLayout2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7" Type="http://schemas.microsoft.com/office/2007/relationships/hdphoto" Target="../media/hdphoto2.wdp"/><Relationship Id="rId2" Type="http://schemas.openxmlformats.org/officeDocument/2006/relationships/tags" Target="../tags/tag282.xml"/><Relationship Id="rId1" Type="http://schemas.openxmlformats.org/officeDocument/2006/relationships/vmlDrawing" Target="../drawings/vmlDrawing155.vml"/><Relationship Id="rId6" Type="http://schemas.openxmlformats.org/officeDocument/2006/relationships/image" Target="../media/image79.png"/><Relationship Id="rId5" Type="http://schemas.openxmlformats.org/officeDocument/2006/relationships/image" Target="../media/image29.emf"/><Relationship Id="rId4" Type="http://schemas.openxmlformats.org/officeDocument/2006/relationships/oleObject" Target="../embeddings/oleObject157.bin"/></Relationships>
</file>

<file path=ppt/slideLayouts/_rels/slideLayout2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7" Type="http://schemas.microsoft.com/office/2007/relationships/hdphoto" Target="../media/hdphoto3.wdp"/><Relationship Id="rId2" Type="http://schemas.openxmlformats.org/officeDocument/2006/relationships/tags" Target="../tags/tag283.xml"/><Relationship Id="rId1" Type="http://schemas.openxmlformats.org/officeDocument/2006/relationships/vmlDrawing" Target="../drawings/vmlDrawing156.vml"/><Relationship Id="rId6" Type="http://schemas.openxmlformats.org/officeDocument/2006/relationships/image" Target="../media/image80.png"/><Relationship Id="rId5" Type="http://schemas.openxmlformats.org/officeDocument/2006/relationships/image" Target="../media/image29.emf"/><Relationship Id="rId4" Type="http://schemas.openxmlformats.org/officeDocument/2006/relationships/oleObject" Target="../embeddings/oleObject158.bin"/></Relationships>
</file>

<file path=ppt/slideLayouts/_rels/slideLayout299.xml.rels><?xml version="1.0" encoding="UTF-8" standalone="yes"?>
<Relationships xmlns="http://schemas.openxmlformats.org/package/2006/relationships"><Relationship Id="rId3" Type="http://schemas.openxmlformats.org/officeDocument/2006/relationships/tags" Target="../tags/tag285.xml"/><Relationship Id="rId2" Type="http://schemas.openxmlformats.org/officeDocument/2006/relationships/tags" Target="../tags/tag284.xml"/><Relationship Id="rId1" Type="http://schemas.openxmlformats.org/officeDocument/2006/relationships/vmlDrawing" Target="../drawings/vmlDrawing157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59.bin"/><Relationship Id="rId4" Type="http://schemas.openxmlformats.org/officeDocument/2006/relationships/slideMaster" Target="../slideMasters/slideMaster1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3.pn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0.xml.rels><?xml version="1.0" encoding="UTF-8" standalone="yes"?>
<Relationships xmlns="http://schemas.openxmlformats.org/package/2006/relationships"><Relationship Id="rId3" Type="http://schemas.openxmlformats.org/officeDocument/2006/relationships/tags" Target="../tags/tag287.xml"/><Relationship Id="rId2" Type="http://schemas.openxmlformats.org/officeDocument/2006/relationships/tags" Target="../tags/tag286.xml"/><Relationship Id="rId1" Type="http://schemas.openxmlformats.org/officeDocument/2006/relationships/vmlDrawing" Target="../drawings/vmlDrawing158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60.bin"/><Relationship Id="rId4" Type="http://schemas.openxmlformats.org/officeDocument/2006/relationships/slideMaster" Target="../slideMasters/slideMaster13.xml"/></Relationships>
</file>

<file path=ppt/slideLayouts/_rels/slideLayout301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289.xml"/><Relationship Id="rId7" Type="http://schemas.openxmlformats.org/officeDocument/2006/relationships/image" Target="../media/image78.png"/><Relationship Id="rId2" Type="http://schemas.openxmlformats.org/officeDocument/2006/relationships/tags" Target="../tags/tag288.xml"/><Relationship Id="rId1" Type="http://schemas.openxmlformats.org/officeDocument/2006/relationships/vmlDrawing" Target="../drawings/vmlDrawing159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61.bin"/><Relationship Id="rId4" Type="http://schemas.openxmlformats.org/officeDocument/2006/relationships/slideMaster" Target="../slideMasters/slideMaster13.xml"/></Relationships>
</file>

<file path=ppt/slideLayouts/_rels/slideLayout302.xml.rels><?xml version="1.0" encoding="UTF-8" standalone="yes"?>
<Relationships xmlns="http://schemas.openxmlformats.org/package/2006/relationships"><Relationship Id="rId3" Type="http://schemas.openxmlformats.org/officeDocument/2006/relationships/tags" Target="../tags/tag291.xml"/><Relationship Id="rId2" Type="http://schemas.openxmlformats.org/officeDocument/2006/relationships/tags" Target="../tags/tag290.xml"/><Relationship Id="rId1" Type="http://schemas.openxmlformats.org/officeDocument/2006/relationships/vmlDrawing" Target="../drawings/vmlDrawing160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62.bin"/><Relationship Id="rId4" Type="http://schemas.openxmlformats.org/officeDocument/2006/relationships/slideMaster" Target="../slideMasters/slideMaster13.xml"/></Relationships>
</file>

<file path=ppt/slideLayouts/_rels/slideLayout303.xml.rels><?xml version="1.0" encoding="UTF-8" standalone="yes"?>
<Relationships xmlns="http://schemas.openxmlformats.org/package/2006/relationships"><Relationship Id="rId3" Type="http://schemas.openxmlformats.org/officeDocument/2006/relationships/tags" Target="../tags/tag293.xml"/><Relationship Id="rId2" Type="http://schemas.openxmlformats.org/officeDocument/2006/relationships/tags" Target="../tags/tag292.xml"/><Relationship Id="rId1" Type="http://schemas.openxmlformats.org/officeDocument/2006/relationships/vmlDrawing" Target="../drawings/vmlDrawing161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63.bin"/><Relationship Id="rId4" Type="http://schemas.openxmlformats.org/officeDocument/2006/relationships/slideMaster" Target="../slideMasters/slideMaster13.xml"/></Relationships>
</file>

<file path=ppt/slideLayouts/_rels/slideLayout304.xml.rels><?xml version="1.0" encoding="UTF-8" standalone="yes"?>
<Relationships xmlns="http://schemas.openxmlformats.org/package/2006/relationships"><Relationship Id="rId3" Type="http://schemas.openxmlformats.org/officeDocument/2006/relationships/tags" Target="../tags/tag295.xml"/><Relationship Id="rId2" Type="http://schemas.openxmlformats.org/officeDocument/2006/relationships/tags" Target="../tags/tag294.xml"/><Relationship Id="rId1" Type="http://schemas.openxmlformats.org/officeDocument/2006/relationships/vmlDrawing" Target="../drawings/vmlDrawing162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64.bin"/><Relationship Id="rId4" Type="http://schemas.openxmlformats.org/officeDocument/2006/relationships/slideMaster" Target="../slideMasters/slideMaster13.xml"/></Relationships>
</file>

<file path=ppt/slideLayouts/_rels/slideLayout305.xml.rels><?xml version="1.0" encoding="UTF-8" standalone="yes"?>
<Relationships xmlns="http://schemas.openxmlformats.org/package/2006/relationships"><Relationship Id="rId3" Type="http://schemas.openxmlformats.org/officeDocument/2006/relationships/tags" Target="../tags/tag297.xml"/><Relationship Id="rId2" Type="http://schemas.openxmlformats.org/officeDocument/2006/relationships/tags" Target="../tags/tag296.xml"/><Relationship Id="rId1" Type="http://schemas.openxmlformats.org/officeDocument/2006/relationships/vmlDrawing" Target="../drawings/vmlDrawing163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65.bin"/><Relationship Id="rId4" Type="http://schemas.openxmlformats.org/officeDocument/2006/relationships/slideMaster" Target="../slideMasters/slideMaster13.xml"/></Relationships>
</file>

<file path=ppt/slideLayouts/_rels/slideLayout30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13" Type="http://schemas.openxmlformats.org/officeDocument/2006/relationships/image" Target="../media/image37.png"/><Relationship Id="rId3" Type="http://schemas.openxmlformats.org/officeDocument/2006/relationships/slideMaster" Target="../slideMasters/slideMaster13.xml"/><Relationship Id="rId7" Type="http://schemas.openxmlformats.org/officeDocument/2006/relationships/image" Target="../media/image74.png"/><Relationship Id="rId12" Type="http://schemas.openxmlformats.org/officeDocument/2006/relationships/image" Target="../media/image77.png"/><Relationship Id="rId2" Type="http://schemas.openxmlformats.org/officeDocument/2006/relationships/tags" Target="../tags/tag298.xml"/><Relationship Id="rId1" Type="http://schemas.openxmlformats.org/officeDocument/2006/relationships/vmlDrawing" Target="../drawings/vmlDrawing164.vml"/><Relationship Id="rId6" Type="http://schemas.openxmlformats.org/officeDocument/2006/relationships/image" Target="../media/image73.png"/><Relationship Id="rId11" Type="http://schemas.openxmlformats.org/officeDocument/2006/relationships/image" Target="../media/image5.png"/><Relationship Id="rId5" Type="http://schemas.openxmlformats.org/officeDocument/2006/relationships/image" Target="../media/image29.emf"/><Relationship Id="rId10" Type="http://schemas.openxmlformats.org/officeDocument/2006/relationships/image" Target="../media/image76.png"/><Relationship Id="rId4" Type="http://schemas.openxmlformats.org/officeDocument/2006/relationships/oleObject" Target="../embeddings/oleObject166.bin"/><Relationship Id="rId9" Type="http://schemas.openxmlformats.org/officeDocument/2006/relationships/image" Target="../media/image75.png"/></Relationships>
</file>

<file path=ppt/slideLayouts/_rels/slideLayout307.xml.rels><?xml version="1.0" encoding="UTF-8" standalone="yes"?>
<Relationships xmlns="http://schemas.openxmlformats.org/package/2006/relationships"><Relationship Id="rId3" Type="http://schemas.openxmlformats.org/officeDocument/2006/relationships/tags" Target="../tags/tag300.xml"/><Relationship Id="rId2" Type="http://schemas.openxmlformats.org/officeDocument/2006/relationships/tags" Target="../tags/tag299.xml"/><Relationship Id="rId1" Type="http://schemas.openxmlformats.org/officeDocument/2006/relationships/vmlDrawing" Target="../drawings/vmlDrawing165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67.bin"/><Relationship Id="rId4" Type="http://schemas.openxmlformats.org/officeDocument/2006/relationships/slideMaster" Target="../slideMasters/slideMaster13.xml"/></Relationships>
</file>

<file path=ppt/slideLayouts/_rels/slideLayout30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13" Type="http://schemas.openxmlformats.org/officeDocument/2006/relationships/image" Target="../media/image37.png"/><Relationship Id="rId3" Type="http://schemas.openxmlformats.org/officeDocument/2006/relationships/slideMaster" Target="../slideMasters/slideMaster13.xml"/><Relationship Id="rId7" Type="http://schemas.openxmlformats.org/officeDocument/2006/relationships/image" Target="../media/image74.png"/><Relationship Id="rId12" Type="http://schemas.openxmlformats.org/officeDocument/2006/relationships/image" Target="../media/image77.png"/><Relationship Id="rId2" Type="http://schemas.openxmlformats.org/officeDocument/2006/relationships/tags" Target="../tags/tag301.xml"/><Relationship Id="rId1" Type="http://schemas.openxmlformats.org/officeDocument/2006/relationships/vmlDrawing" Target="../drawings/vmlDrawing166.vml"/><Relationship Id="rId6" Type="http://schemas.openxmlformats.org/officeDocument/2006/relationships/image" Target="../media/image73.png"/><Relationship Id="rId11" Type="http://schemas.openxmlformats.org/officeDocument/2006/relationships/image" Target="../media/image5.png"/><Relationship Id="rId5" Type="http://schemas.openxmlformats.org/officeDocument/2006/relationships/image" Target="../media/image29.emf"/><Relationship Id="rId10" Type="http://schemas.openxmlformats.org/officeDocument/2006/relationships/image" Target="../media/image76.png"/><Relationship Id="rId4" Type="http://schemas.openxmlformats.org/officeDocument/2006/relationships/oleObject" Target="../embeddings/oleObject168.bin"/><Relationship Id="rId9" Type="http://schemas.openxmlformats.org/officeDocument/2006/relationships/image" Target="../media/image75.png"/></Relationships>
</file>

<file path=ppt/slideLayouts/_rels/slideLayout309.xml.rels><?xml version="1.0" encoding="UTF-8" standalone="yes"?>
<Relationships xmlns="http://schemas.openxmlformats.org/package/2006/relationships"><Relationship Id="rId3" Type="http://schemas.openxmlformats.org/officeDocument/2006/relationships/tags" Target="../tags/tag303.xml"/><Relationship Id="rId2" Type="http://schemas.openxmlformats.org/officeDocument/2006/relationships/tags" Target="../tags/tag302.xml"/><Relationship Id="rId1" Type="http://schemas.openxmlformats.org/officeDocument/2006/relationships/vmlDrawing" Target="../drawings/vmlDrawing167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69.bin"/><Relationship Id="rId4" Type="http://schemas.openxmlformats.org/officeDocument/2006/relationships/slideMaster" Target="../slideMasters/slideMaster1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0.xml.rels><?xml version="1.0" encoding="UTF-8" standalone="yes"?>
<Relationships xmlns="http://schemas.openxmlformats.org/package/2006/relationships"><Relationship Id="rId3" Type="http://schemas.openxmlformats.org/officeDocument/2006/relationships/tags" Target="../tags/tag305.xml"/><Relationship Id="rId2" Type="http://schemas.openxmlformats.org/officeDocument/2006/relationships/tags" Target="../tags/tag304.xml"/><Relationship Id="rId1" Type="http://schemas.openxmlformats.org/officeDocument/2006/relationships/vmlDrawing" Target="../drawings/vmlDrawing168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70.bin"/><Relationship Id="rId4" Type="http://schemas.openxmlformats.org/officeDocument/2006/relationships/slideMaster" Target="../slideMasters/slideMaster13.xml"/></Relationships>
</file>

<file path=ppt/slideLayouts/_rels/slideLayout311.xml.rels><?xml version="1.0" encoding="UTF-8" standalone="yes"?>
<Relationships xmlns="http://schemas.openxmlformats.org/package/2006/relationships"><Relationship Id="rId3" Type="http://schemas.openxmlformats.org/officeDocument/2006/relationships/tags" Target="../tags/tag307.xml"/><Relationship Id="rId2" Type="http://schemas.openxmlformats.org/officeDocument/2006/relationships/tags" Target="../tags/tag306.xml"/><Relationship Id="rId1" Type="http://schemas.openxmlformats.org/officeDocument/2006/relationships/vmlDrawing" Target="../drawings/vmlDrawing169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71.bin"/><Relationship Id="rId4" Type="http://schemas.openxmlformats.org/officeDocument/2006/relationships/slideMaster" Target="../slideMasters/slideMaster13.xml"/></Relationships>
</file>

<file path=ppt/slideLayouts/_rels/slideLayout312.xml.rels><?xml version="1.0" encoding="UTF-8" standalone="yes"?>
<Relationships xmlns="http://schemas.openxmlformats.org/package/2006/relationships"><Relationship Id="rId3" Type="http://schemas.openxmlformats.org/officeDocument/2006/relationships/tags" Target="../tags/tag309.xml"/><Relationship Id="rId2" Type="http://schemas.openxmlformats.org/officeDocument/2006/relationships/tags" Target="../tags/tag308.xml"/><Relationship Id="rId1" Type="http://schemas.openxmlformats.org/officeDocument/2006/relationships/vmlDrawing" Target="../drawings/vmlDrawing170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72.bin"/><Relationship Id="rId4" Type="http://schemas.openxmlformats.org/officeDocument/2006/relationships/slideMaster" Target="../slideMasters/slideMaster13.xml"/></Relationships>
</file>

<file path=ppt/slideLayouts/_rels/slideLayout313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311.xml"/><Relationship Id="rId7" Type="http://schemas.openxmlformats.org/officeDocument/2006/relationships/image" Target="../media/image78.png"/><Relationship Id="rId2" Type="http://schemas.openxmlformats.org/officeDocument/2006/relationships/tags" Target="../tags/tag310.xml"/><Relationship Id="rId1" Type="http://schemas.openxmlformats.org/officeDocument/2006/relationships/vmlDrawing" Target="../drawings/vmlDrawing171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73.bin"/><Relationship Id="rId4" Type="http://schemas.openxmlformats.org/officeDocument/2006/relationships/slideMaster" Target="../slideMasters/slideMaster13.xml"/></Relationships>
</file>

<file path=ppt/slideLayouts/_rels/slideLayout314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313.xml"/><Relationship Id="rId7" Type="http://schemas.openxmlformats.org/officeDocument/2006/relationships/image" Target="../media/image78.png"/><Relationship Id="rId2" Type="http://schemas.openxmlformats.org/officeDocument/2006/relationships/tags" Target="../tags/tag312.xml"/><Relationship Id="rId1" Type="http://schemas.openxmlformats.org/officeDocument/2006/relationships/vmlDrawing" Target="../drawings/vmlDrawing172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74.bin"/><Relationship Id="rId4" Type="http://schemas.openxmlformats.org/officeDocument/2006/relationships/slideMaster" Target="../slideMasters/slideMaster13.xml"/></Relationships>
</file>

<file path=ppt/slideLayouts/_rels/slideLayout3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7" Type="http://schemas.microsoft.com/office/2007/relationships/hdphoto" Target="../media/hdphoto1.wdp"/><Relationship Id="rId2" Type="http://schemas.openxmlformats.org/officeDocument/2006/relationships/tags" Target="../tags/tag314.xml"/><Relationship Id="rId1" Type="http://schemas.openxmlformats.org/officeDocument/2006/relationships/vmlDrawing" Target="../drawings/vmlDrawing173.vml"/><Relationship Id="rId6" Type="http://schemas.openxmlformats.org/officeDocument/2006/relationships/image" Target="../media/image78.png"/><Relationship Id="rId5" Type="http://schemas.openxmlformats.org/officeDocument/2006/relationships/image" Target="../media/image29.emf"/><Relationship Id="rId4" Type="http://schemas.openxmlformats.org/officeDocument/2006/relationships/oleObject" Target="../embeddings/oleObject175.bin"/></Relationships>
</file>

<file path=ppt/slideLayouts/_rels/slideLayout316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316.xml"/><Relationship Id="rId7" Type="http://schemas.openxmlformats.org/officeDocument/2006/relationships/image" Target="../media/image78.png"/><Relationship Id="rId2" Type="http://schemas.openxmlformats.org/officeDocument/2006/relationships/tags" Target="../tags/tag315.xml"/><Relationship Id="rId1" Type="http://schemas.openxmlformats.org/officeDocument/2006/relationships/vmlDrawing" Target="../drawings/vmlDrawing174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76.bin"/><Relationship Id="rId4" Type="http://schemas.openxmlformats.org/officeDocument/2006/relationships/slideMaster" Target="../slideMasters/slideMaster13.xml"/></Relationships>
</file>

<file path=ppt/slideLayouts/_rels/slideLayout317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318.xml"/><Relationship Id="rId7" Type="http://schemas.openxmlformats.org/officeDocument/2006/relationships/image" Target="../media/image78.png"/><Relationship Id="rId2" Type="http://schemas.openxmlformats.org/officeDocument/2006/relationships/tags" Target="../tags/tag317.xml"/><Relationship Id="rId1" Type="http://schemas.openxmlformats.org/officeDocument/2006/relationships/vmlDrawing" Target="../drawings/vmlDrawing175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77.bin"/><Relationship Id="rId4" Type="http://schemas.openxmlformats.org/officeDocument/2006/relationships/slideMaster" Target="../slideMasters/slideMaster13.xml"/></Relationships>
</file>

<file path=ppt/slideLayouts/_rels/slideLayout3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7" Type="http://schemas.microsoft.com/office/2007/relationships/hdphoto" Target="../media/hdphoto1.wdp"/><Relationship Id="rId2" Type="http://schemas.openxmlformats.org/officeDocument/2006/relationships/tags" Target="../tags/tag319.xml"/><Relationship Id="rId1" Type="http://schemas.openxmlformats.org/officeDocument/2006/relationships/vmlDrawing" Target="../drawings/vmlDrawing176.vml"/><Relationship Id="rId6" Type="http://schemas.openxmlformats.org/officeDocument/2006/relationships/image" Target="../media/image78.png"/><Relationship Id="rId5" Type="http://schemas.openxmlformats.org/officeDocument/2006/relationships/image" Target="../media/image29.emf"/><Relationship Id="rId4" Type="http://schemas.openxmlformats.org/officeDocument/2006/relationships/oleObject" Target="../embeddings/oleObject178.bin"/></Relationships>
</file>

<file path=ppt/slideLayouts/_rels/slideLayout319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tags" Target="../tags/tag321.xml"/><Relationship Id="rId7" Type="http://schemas.openxmlformats.org/officeDocument/2006/relationships/image" Target="../media/image79.png"/><Relationship Id="rId2" Type="http://schemas.openxmlformats.org/officeDocument/2006/relationships/tags" Target="../tags/tag320.xml"/><Relationship Id="rId1" Type="http://schemas.openxmlformats.org/officeDocument/2006/relationships/vmlDrawing" Target="../drawings/vmlDrawing177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79.bin"/><Relationship Id="rId4" Type="http://schemas.openxmlformats.org/officeDocument/2006/relationships/slideMaster" Target="../slideMasters/slideMaster1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1.xml"/></Relationships>
</file>

<file path=ppt/slideLayouts/_rels/slideLayout320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tags" Target="../tags/tag323.xml"/><Relationship Id="rId7" Type="http://schemas.openxmlformats.org/officeDocument/2006/relationships/image" Target="../media/image80.png"/><Relationship Id="rId2" Type="http://schemas.openxmlformats.org/officeDocument/2006/relationships/tags" Target="../tags/tag322.xml"/><Relationship Id="rId1" Type="http://schemas.openxmlformats.org/officeDocument/2006/relationships/vmlDrawing" Target="../drawings/vmlDrawing178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80.bin"/><Relationship Id="rId4" Type="http://schemas.openxmlformats.org/officeDocument/2006/relationships/slideMaster" Target="../slideMasters/slideMaster13.xml"/></Relationships>
</file>

<file path=ppt/slideLayouts/_rels/slideLayout321.xml.rels><?xml version="1.0" encoding="UTF-8" standalone="yes"?>
<Relationships xmlns="http://schemas.openxmlformats.org/package/2006/relationships"><Relationship Id="rId8" Type="http://schemas.microsoft.com/office/2007/relationships/hdphoto" Target="../media/hdphoto4.wdp"/><Relationship Id="rId3" Type="http://schemas.openxmlformats.org/officeDocument/2006/relationships/tags" Target="../tags/tag325.xml"/><Relationship Id="rId7" Type="http://schemas.openxmlformats.org/officeDocument/2006/relationships/image" Target="../media/image81.png"/><Relationship Id="rId2" Type="http://schemas.openxmlformats.org/officeDocument/2006/relationships/tags" Target="../tags/tag324.xml"/><Relationship Id="rId1" Type="http://schemas.openxmlformats.org/officeDocument/2006/relationships/vmlDrawing" Target="../drawings/vmlDrawing179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81.bin"/><Relationship Id="rId4" Type="http://schemas.openxmlformats.org/officeDocument/2006/relationships/slideMaster" Target="../slideMasters/slideMaster13.xml"/></Relationships>
</file>

<file path=ppt/slideLayouts/_rels/slideLayout322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tags" Target="../tags/tag327.xml"/><Relationship Id="rId7" Type="http://schemas.openxmlformats.org/officeDocument/2006/relationships/image" Target="../media/image80.png"/><Relationship Id="rId2" Type="http://schemas.openxmlformats.org/officeDocument/2006/relationships/tags" Target="../tags/tag326.xml"/><Relationship Id="rId1" Type="http://schemas.openxmlformats.org/officeDocument/2006/relationships/vmlDrawing" Target="../drawings/vmlDrawing180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82.bin"/><Relationship Id="rId4" Type="http://schemas.openxmlformats.org/officeDocument/2006/relationships/slideMaster" Target="../slideMasters/slideMaster13.xml"/></Relationships>
</file>

<file path=ppt/slideLayouts/_rels/slideLayout323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tags" Target="../tags/tag329.xml"/><Relationship Id="rId7" Type="http://schemas.openxmlformats.org/officeDocument/2006/relationships/image" Target="../media/image79.png"/><Relationship Id="rId2" Type="http://schemas.openxmlformats.org/officeDocument/2006/relationships/tags" Target="../tags/tag328.xml"/><Relationship Id="rId1" Type="http://schemas.openxmlformats.org/officeDocument/2006/relationships/vmlDrawing" Target="../drawings/vmlDrawing181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83.bin"/><Relationship Id="rId4" Type="http://schemas.openxmlformats.org/officeDocument/2006/relationships/slideMaster" Target="../slideMasters/slideMaster13.xml"/></Relationships>
</file>

<file path=ppt/slideLayouts/_rels/slideLayout324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tags" Target="../tags/tag331.xml"/><Relationship Id="rId7" Type="http://schemas.openxmlformats.org/officeDocument/2006/relationships/image" Target="../media/image80.png"/><Relationship Id="rId2" Type="http://schemas.openxmlformats.org/officeDocument/2006/relationships/tags" Target="../tags/tag330.xml"/><Relationship Id="rId1" Type="http://schemas.openxmlformats.org/officeDocument/2006/relationships/vmlDrawing" Target="../drawings/vmlDrawing182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84.bin"/><Relationship Id="rId4" Type="http://schemas.openxmlformats.org/officeDocument/2006/relationships/slideMaster" Target="../slideMasters/slideMaster13.xml"/></Relationships>
</file>

<file path=ppt/slideLayouts/_rels/slideLayout325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tags" Target="../tags/tag333.xml"/><Relationship Id="rId7" Type="http://schemas.openxmlformats.org/officeDocument/2006/relationships/image" Target="../media/image79.png"/><Relationship Id="rId2" Type="http://schemas.openxmlformats.org/officeDocument/2006/relationships/tags" Target="../tags/tag332.xml"/><Relationship Id="rId1" Type="http://schemas.openxmlformats.org/officeDocument/2006/relationships/vmlDrawing" Target="../drawings/vmlDrawing183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85.bin"/><Relationship Id="rId4" Type="http://schemas.openxmlformats.org/officeDocument/2006/relationships/slideMaster" Target="../slideMasters/slideMaster13.xml"/></Relationships>
</file>

<file path=ppt/slideLayouts/_rels/slideLayout326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tags" Target="../tags/tag335.xml"/><Relationship Id="rId7" Type="http://schemas.openxmlformats.org/officeDocument/2006/relationships/image" Target="../media/image80.png"/><Relationship Id="rId2" Type="http://schemas.openxmlformats.org/officeDocument/2006/relationships/tags" Target="../tags/tag334.xml"/><Relationship Id="rId1" Type="http://schemas.openxmlformats.org/officeDocument/2006/relationships/vmlDrawing" Target="../drawings/vmlDrawing184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86.bin"/><Relationship Id="rId4" Type="http://schemas.openxmlformats.org/officeDocument/2006/relationships/slideMaster" Target="../slideMasters/slideMaster13.xml"/></Relationships>
</file>

<file path=ppt/slideLayouts/_rels/slideLayout327.xml.rels><?xml version="1.0" encoding="UTF-8" standalone="yes"?>
<Relationships xmlns="http://schemas.openxmlformats.org/package/2006/relationships"><Relationship Id="rId3" Type="http://schemas.openxmlformats.org/officeDocument/2006/relationships/tags" Target="../tags/tag337.xml"/><Relationship Id="rId2" Type="http://schemas.openxmlformats.org/officeDocument/2006/relationships/tags" Target="../tags/tag336.xml"/><Relationship Id="rId1" Type="http://schemas.openxmlformats.org/officeDocument/2006/relationships/vmlDrawing" Target="../drawings/vmlDrawing185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87.bin"/><Relationship Id="rId4" Type="http://schemas.openxmlformats.org/officeDocument/2006/relationships/slideMaster" Target="../slideMasters/slideMaster13.xml"/></Relationships>
</file>

<file path=ppt/slideLayouts/_rels/slideLayout328.xml.rels><?xml version="1.0" encoding="UTF-8" standalone="yes"?>
<Relationships xmlns="http://schemas.openxmlformats.org/package/2006/relationships"><Relationship Id="rId3" Type="http://schemas.openxmlformats.org/officeDocument/2006/relationships/tags" Target="../tags/tag339.xml"/><Relationship Id="rId2" Type="http://schemas.openxmlformats.org/officeDocument/2006/relationships/tags" Target="../tags/tag338.xml"/><Relationship Id="rId1" Type="http://schemas.openxmlformats.org/officeDocument/2006/relationships/vmlDrawing" Target="../drawings/vmlDrawing186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88.bin"/><Relationship Id="rId4" Type="http://schemas.openxmlformats.org/officeDocument/2006/relationships/slideMaster" Target="../slideMasters/slideMaster13.xml"/></Relationships>
</file>

<file path=ppt/slideLayouts/_rels/slideLayout329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341.xml"/><Relationship Id="rId7" Type="http://schemas.openxmlformats.org/officeDocument/2006/relationships/image" Target="../media/image78.png"/><Relationship Id="rId2" Type="http://schemas.openxmlformats.org/officeDocument/2006/relationships/tags" Target="../tags/tag340.xml"/><Relationship Id="rId1" Type="http://schemas.openxmlformats.org/officeDocument/2006/relationships/vmlDrawing" Target="../drawings/vmlDrawing187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89.bin"/><Relationship Id="rId4" Type="http://schemas.openxmlformats.org/officeDocument/2006/relationships/slideMaster" Target="../slideMasters/slideMaster1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7.png"/><Relationship Id="rId4" Type="http://schemas.openxmlformats.org/officeDocument/2006/relationships/image" Target="../media/image3.png"/></Relationships>
</file>

<file path=ppt/slideLayouts/_rels/slideLayout330.xml.rels><?xml version="1.0" encoding="UTF-8" standalone="yes"?>
<Relationships xmlns="http://schemas.openxmlformats.org/package/2006/relationships"><Relationship Id="rId3" Type="http://schemas.openxmlformats.org/officeDocument/2006/relationships/tags" Target="../tags/tag343.xml"/><Relationship Id="rId2" Type="http://schemas.openxmlformats.org/officeDocument/2006/relationships/tags" Target="../tags/tag342.xml"/><Relationship Id="rId1" Type="http://schemas.openxmlformats.org/officeDocument/2006/relationships/vmlDrawing" Target="../drawings/vmlDrawing188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90.bin"/><Relationship Id="rId4" Type="http://schemas.openxmlformats.org/officeDocument/2006/relationships/slideMaster" Target="../slideMasters/slideMaster13.xml"/></Relationships>
</file>

<file path=ppt/slideLayouts/_rels/slideLayout331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tags" Target="../tags/tag345.xml"/><Relationship Id="rId7" Type="http://schemas.openxmlformats.org/officeDocument/2006/relationships/image" Target="../media/image79.png"/><Relationship Id="rId2" Type="http://schemas.openxmlformats.org/officeDocument/2006/relationships/tags" Target="../tags/tag344.xml"/><Relationship Id="rId1" Type="http://schemas.openxmlformats.org/officeDocument/2006/relationships/vmlDrawing" Target="../drawings/vmlDrawing189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91.bin"/><Relationship Id="rId4" Type="http://schemas.openxmlformats.org/officeDocument/2006/relationships/slideMaster" Target="../slideMasters/slideMaster13.xml"/></Relationships>
</file>

<file path=ppt/slideLayouts/_rels/slideLayout332.xml.rels><?xml version="1.0" encoding="UTF-8" standalone="yes"?>
<Relationships xmlns="http://schemas.openxmlformats.org/package/2006/relationships"><Relationship Id="rId3" Type="http://schemas.openxmlformats.org/officeDocument/2006/relationships/tags" Target="../tags/tag347.xml"/><Relationship Id="rId2" Type="http://schemas.openxmlformats.org/officeDocument/2006/relationships/tags" Target="../tags/tag346.xml"/><Relationship Id="rId1" Type="http://schemas.openxmlformats.org/officeDocument/2006/relationships/vmlDrawing" Target="../drawings/vmlDrawing190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92.bin"/><Relationship Id="rId4" Type="http://schemas.openxmlformats.org/officeDocument/2006/relationships/slideMaster" Target="../slideMasters/slideMaster13.xml"/></Relationships>
</file>

<file path=ppt/slideLayouts/_rels/slideLayout333.xml.rels><?xml version="1.0" encoding="UTF-8" standalone="yes"?>
<Relationships xmlns="http://schemas.openxmlformats.org/package/2006/relationships"><Relationship Id="rId3" Type="http://schemas.openxmlformats.org/officeDocument/2006/relationships/tags" Target="../tags/tag349.xml"/><Relationship Id="rId2" Type="http://schemas.openxmlformats.org/officeDocument/2006/relationships/tags" Target="../tags/tag348.xml"/><Relationship Id="rId1" Type="http://schemas.openxmlformats.org/officeDocument/2006/relationships/vmlDrawing" Target="../drawings/vmlDrawing191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93.bin"/><Relationship Id="rId4" Type="http://schemas.openxmlformats.org/officeDocument/2006/relationships/slideMaster" Target="../slideMasters/slideMaster13.xml"/></Relationships>
</file>

<file path=ppt/slideLayouts/_rels/slideLayout334.xml.rels><?xml version="1.0" encoding="UTF-8" standalone="yes"?>
<Relationships xmlns="http://schemas.openxmlformats.org/package/2006/relationships"><Relationship Id="rId3" Type="http://schemas.openxmlformats.org/officeDocument/2006/relationships/tags" Target="../tags/tag351.xml"/><Relationship Id="rId2" Type="http://schemas.openxmlformats.org/officeDocument/2006/relationships/tags" Target="../tags/tag350.xml"/><Relationship Id="rId1" Type="http://schemas.openxmlformats.org/officeDocument/2006/relationships/vmlDrawing" Target="../drawings/vmlDrawing192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94.bin"/><Relationship Id="rId4" Type="http://schemas.openxmlformats.org/officeDocument/2006/relationships/slideMaster" Target="../slideMasters/slideMaster13.xml"/></Relationships>
</file>

<file path=ppt/slideLayouts/_rels/slideLayout3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13" Type="http://schemas.openxmlformats.org/officeDocument/2006/relationships/image" Target="../media/image37.png"/><Relationship Id="rId3" Type="http://schemas.openxmlformats.org/officeDocument/2006/relationships/slideMaster" Target="../slideMasters/slideMaster13.xml"/><Relationship Id="rId7" Type="http://schemas.openxmlformats.org/officeDocument/2006/relationships/image" Target="../media/image74.png"/><Relationship Id="rId12" Type="http://schemas.openxmlformats.org/officeDocument/2006/relationships/image" Target="../media/image77.png"/><Relationship Id="rId2" Type="http://schemas.openxmlformats.org/officeDocument/2006/relationships/tags" Target="../tags/tag352.xml"/><Relationship Id="rId1" Type="http://schemas.openxmlformats.org/officeDocument/2006/relationships/vmlDrawing" Target="../drawings/vmlDrawing193.vml"/><Relationship Id="rId6" Type="http://schemas.openxmlformats.org/officeDocument/2006/relationships/image" Target="../media/image73.png"/><Relationship Id="rId11" Type="http://schemas.openxmlformats.org/officeDocument/2006/relationships/image" Target="../media/image5.png"/><Relationship Id="rId5" Type="http://schemas.openxmlformats.org/officeDocument/2006/relationships/image" Target="../media/image29.emf"/><Relationship Id="rId10" Type="http://schemas.openxmlformats.org/officeDocument/2006/relationships/image" Target="../media/image76.png"/><Relationship Id="rId4" Type="http://schemas.openxmlformats.org/officeDocument/2006/relationships/oleObject" Target="../embeddings/oleObject195.bin"/><Relationship Id="rId9" Type="http://schemas.openxmlformats.org/officeDocument/2006/relationships/image" Target="../media/image75.png"/></Relationships>
</file>

<file path=ppt/slideLayouts/_rels/slideLayout336.xml.rels><?xml version="1.0" encoding="UTF-8" standalone="yes"?>
<Relationships xmlns="http://schemas.openxmlformats.org/package/2006/relationships"><Relationship Id="rId3" Type="http://schemas.openxmlformats.org/officeDocument/2006/relationships/tags" Target="../tags/tag354.xml"/><Relationship Id="rId2" Type="http://schemas.openxmlformats.org/officeDocument/2006/relationships/tags" Target="../tags/tag353.xml"/><Relationship Id="rId1" Type="http://schemas.openxmlformats.org/officeDocument/2006/relationships/vmlDrawing" Target="../drawings/vmlDrawing194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96.bin"/><Relationship Id="rId4" Type="http://schemas.openxmlformats.org/officeDocument/2006/relationships/slideMaster" Target="../slideMasters/slideMaster13.xml"/></Relationships>
</file>

<file path=ppt/slideLayouts/_rels/slideLayout3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13" Type="http://schemas.openxmlformats.org/officeDocument/2006/relationships/image" Target="../media/image37.png"/><Relationship Id="rId3" Type="http://schemas.openxmlformats.org/officeDocument/2006/relationships/slideMaster" Target="../slideMasters/slideMaster14.xml"/><Relationship Id="rId7" Type="http://schemas.openxmlformats.org/officeDocument/2006/relationships/image" Target="../media/image31.png"/><Relationship Id="rId12" Type="http://schemas.openxmlformats.org/officeDocument/2006/relationships/image" Target="../media/image36.png"/><Relationship Id="rId2" Type="http://schemas.openxmlformats.org/officeDocument/2006/relationships/tags" Target="../tags/tag357.xml"/><Relationship Id="rId1" Type="http://schemas.openxmlformats.org/officeDocument/2006/relationships/vmlDrawing" Target="../drawings/vmlDrawing196.vml"/><Relationship Id="rId6" Type="http://schemas.openxmlformats.org/officeDocument/2006/relationships/image" Target="../media/image30.png"/><Relationship Id="rId11" Type="http://schemas.openxmlformats.org/officeDocument/2006/relationships/image" Target="../media/image35.png"/><Relationship Id="rId5" Type="http://schemas.openxmlformats.org/officeDocument/2006/relationships/image" Target="../media/image29.emf"/><Relationship Id="rId10" Type="http://schemas.openxmlformats.org/officeDocument/2006/relationships/image" Target="../media/image34.png"/><Relationship Id="rId4" Type="http://schemas.openxmlformats.org/officeDocument/2006/relationships/oleObject" Target="../embeddings/oleObject198.bin"/><Relationship Id="rId9" Type="http://schemas.openxmlformats.org/officeDocument/2006/relationships/image" Target="../media/image33.png"/></Relationships>
</file>

<file path=ppt/slideLayouts/_rels/slideLayout338.xml.rels><?xml version="1.0" encoding="UTF-8" standalone="yes"?>
<Relationships xmlns="http://schemas.openxmlformats.org/package/2006/relationships"><Relationship Id="rId3" Type="http://schemas.openxmlformats.org/officeDocument/2006/relationships/tags" Target="../tags/tag359.xml"/><Relationship Id="rId2" Type="http://schemas.openxmlformats.org/officeDocument/2006/relationships/tags" Target="../tags/tag358.xml"/><Relationship Id="rId1" Type="http://schemas.openxmlformats.org/officeDocument/2006/relationships/vmlDrawing" Target="../drawings/vmlDrawing197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99.bin"/><Relationship Id="rId4" Type="http://schemas.openxmlformats.org/officeDocument/2006/relationships/slideMaster" Target="../slideMasters/slideMaster14.xml"/></Relationships>
</file>

<file path=ppt/slideLayouts/_rels/slideLayout339.xml.rels><?xml version="1.0" encoding="UTF-8" standalone="yes"?>
<Relationships xmlns="http://schemas.openxmlformats.org/package/2006/relationships"><Relationship Id="rId3" Type="http://schemas.openxmlformats.org/officeDocument/2006/relationships/tags" Target="../tags/tag361.xml"/><Relationship Id="rId2" Type="http://schemas.openxmlformats.org/officeDocument/2006/relationships/tags" Target="../tags/tag360.xml"/><Relationship Id="rId1" Type="http://schemas.openxmlformats.org/officeDocument/2006/relationships/vmlDrawing" Target="../drawings/vmlDrawing198.vml"/><Relationship Id="rId6" Type="http://schemas.openxmlformats.org/officeDocument/2006/relationships/image" Target="../media/image67.emf"/><Relationship Id="rId5" Type="http://schemas.openxmlformats.org/officeDocument/2006/relationships/oleObject" Target="../embeddings/oleObject200.bin"/><Relationship Id="rId4" Type="http://schemas.openxmlformats.org/officeDocument/2006/relationships/slideMaster" Target="../slideMasters/slideMaster14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7.png"/><Relationship Id="rId4" Type="http://schemas.openxmlformats.org/officeDocument/2006/relationships/image" Target="../media/image3.png"/></Relationships>
</file>

<file path=ppt/slideLayouts/_rels/slideLayout340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363.xml"/><Relationship Id="rId7" Type="http://schemas.openxmlformats.org/officeDocument/2006/relationships/image" Target="../media/image68.png"/><Relationship Id="rId2" Type="http://schemas.openxmlformats.org/officeDocument/2006/relationships/tags" Target="../tags/tag362.xml"/><Relationship Id="rId1" Type="http://schemas.openxmlformats.org/officeDocument/2006/relationships/vmlDrawing" Target="../drawings/vmlDrawing199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201.bin"/><Relationship Id="rId4" Type="http://schemas.openxmlformats.org/officeDocument/2006/relationships/slideMaster" Target="../slideMasters/slideMaster14.xml"/></Relationships>
</file>

<file path=ppt/slideLayouts/_rels/slideLayout341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365.xml"/><Relationship Id="rId7" Type="http://schemas.openxmlformats.org/officeDocument/2006/relationships/image" Target="../media/image68.png"/><Relationship Id="rId2" Type="http://schemas.openxmlformats.org/officeDocument/2006/relationships/tags" Target="../tags/tag364.xml"/><Relationship Id="rId1" Type="http://schemas.openxmlformats.org/officeDocument/2006/relationships/vmlDrawing" Target="../drawings/vmlDrawing200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202.bin"/><Relationship Id="rId4" Type="http://schemas.openxmlformats.org/officeDocument/2006/relationships/slideMaster" Target="../slideMasters/slideMaster14.xml"/></Relationships>
</file>

<file path=ppt/slideLayouts/_rels/slideLayout342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367.xml"/><Relationship Id="rId7" Type="http://schemas.openxmlformats.org/officeDocument/2006/relationships/image" Target="../media/image68.png"/><Relationship Id="rId2" Type="http://schemas.openxmlformats.org/officeDocument/2006/relationships/tags" Target="../tags/tag366.xml"/><Relationship Id="rId1" Type="http://schemas.openxmlformats.org/officeDocument/2006/relationships/vmlDrawing" Target="../drawings/vmlDrawing201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203.bin"/><Relationship Id="rId4" Type="http://schemas.openxmlformats.org/officeDocument/2006/relationships/slideMaster" Target="../slideMasters/slideMaster14.xml"/></Relationships>
</file>

<file path=ppt/slideLayouts/_rels/slideLayout343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tags" Target="../tags/tag369.xml"/><Relationship Id="rId7" Type="http://schemas.openxmlformats.org/officeDocument/2006/relationships/image" Target="../media/image69.png"/><Relationship Id="rId2" Type="http://schemas.openxmlformats.org/officeDocument/2006/relationships/tags" Target="../tags/tag368.xml"/><Relationship Id="rId1" Type="http://schemas.openxmlformats.org/officeDocument/2006/relationships/vmlDrawing" Target="../drawings/vmlDrawing202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204.bin"/><Relationship Id="rId4" Type="http://schemas.openxmlformats.org/officeDocument/2006/relationships/slideMaster" Target="../slideMasters/slideMaster14.xml"/></Relationships>
</file>

<file path=ppt/slideLayouts/_rels/slideLayout344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tags" Target="../tags/tag371.xml"/><Relationship Id="rId7" Type="http://schemas.openxmlformats.org/officeDocument/2006/relationships/image" Target="../media/image70.png"/><Relationship Id="rId2" Type="http://schemas.openxmlformats.org/officeDocument/2006/relationships/tags" Target="../tags/tag370.xml"/><Relationship Id="rId1" Type="http://schemas.openxmlformats.org/officeDocument/2006/relationships/vmlDrawing" Target="../drawings/vmlDrawing203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205.bin"/><Relationship Id="rId4" Type="http://schemas.openxmlformats.org/officeDocument/2006/relationships/slideMaster" Target="../slideMasters/slideMaster14.xml"/></Relationships>
</file>

<file path=ppt/slideLayouts/_rels/slideLayout345.xml.rels><?xml version="1.0" encoding="UTF-8" standalone="yes"?>
<Relationships xmlns="http://schemas.openxmlformats.org/package/2006/relationships"><Relationship Id="rId8" Type="http://schemas.microsoft.com/office/2007/relationships/hdphoto" Target="../media/hdphoto4.wdp"/><Relationship Id="rId3" Type="http://schemas.openxmlformats.org/officeDocument/2006/relationships/tags" Target="../tags/tag373.xml"/><Relationship Id="rId7" Type="http://schemas.openxmlformats.org/officeDocument/2006/relationships/image" Target="../media/image71.png"/><Relationship Id="rId2" Type="http://schemas.openxmlformats.org/officeDocument/2006/relationships/tags" Target="../tags/tag372.xml"/><Relationship Id="rId1" Type="http://schemas.openxmlformats.org/officeDocument/2006/relationships/vmlDrawing" Target="../drawings/vmlDrawing204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206.bin"/><Relationship Id="rId4" Type="http://schemas.openxmlformats.org/officeDocument/2006/relationships/slideMaster" Target="../slideMasters/slideMaster14.xml"/></Relationships>
</file>

<file path=ppt/slideLayouts/_rels/slideLayout346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tags" Target="../tags/tag375.xml"/><Relationship Id="rId7" Type="http://schemas.openxmlformats.org/officeDocument/2006/relationships/image" Target="../media/image70.png"/><Relationship Id="rId2" Type="http://schemas.openxmlformats.org/officeDocument/2006/relationships/tags" Target="../tags/tag374.xml"/><Relationship Id="rId1" Type="http://schemas.openxmlformats.org/officeDocument/2006/relationships/vmlDrawing" Target="../drawings/vmlDrawing205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207.bin"/><Relationship Id="rId4" Type="http://schemas.openxmlformats.org/officeDocument/2006/relationships/slideMaster" Target="../slideMasters/slideMaster14.xml"/></Relationships>
</file>

<file path=ppt/slideLayouts/_rels/slideLayout347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tags" Target="../tags/tag377.xml"/><Relationship Id="rId7" Type="http://schemas.openxmlformats.org/officeDocument/2006/relationships/image" Target="../media/image69.png"/><Relationship Id="rId2" Type="http://schemas.openxmlformats.org/officeDocument/2006/relationships/tags" Target="../tags/tag376.xml"/><Relationship Id="rId1" Type="http://schemas.openxmlformats.org/officeDocument/2006/relationships/vmlDrawing" Target="../drawings/vmlDrawing206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208.bin"/><Relationship Id="rId4" Type="http://schemas.openxmlformats.org/officeDocument/2006/relationships/slideMaster" Target="../slideMasters/slideMaster14.xml"/></Relationships>
</file>

<file path=ppt/slideLayouts/_rels/slideLayout348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tags" Target="../tags/tag379.xml"/><Relationship Id="rId7" Type="http://schemas.openxmlformats.org/officeDocument/2006/relationships/image" Target="../media/image70.png"/><Relationship Id="rId2" Type="http://schemas.openxmlformats.org/officeDocument/2006/relationships/tags" Target="../tags/tag378.xml"/><Relationship Id="rId1" Type="http://schemas.openxmlformats.org/officeDocument/2006/relationships/vmlDrawing" Target="../drawings/vmlDrawing207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209.bin"/><Relationship Id="rId4" Type="http://schemas.openxmlformats.org/officeDocument/2006/relationships/slideMaster" Target="../slideMasters/slideMaster14.xml"/></Relationships>
</file>

<file path=ppt/slideLayouts/_rels/slideLayout3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7" Type="http://schemas.microsoft.com/office/2007/relationships/hdphoto" Target="../media/hdphoto2.wdp"/><Relationship Id="rId2" Type="http://schemas.openxmlformats.org/officeDocument/2006/relationships/tags" Target="../tags/tag380.xml"/><Relationship Id="rId1" Type="http://schemas.openxmlformats.org/officeDocument/2006/relationships/vmlDrawing" Target="../drawings/vmlDrawing208.vml"/><Relationship Id="rId6" Type="http://schemas.openxmlformats.org/officeDocument/2006/relationships/image" Target="../media/image69.png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10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7.png"/><Relationship Id="rId4" Type="http://schemas.openxmlformats.org/officeDocument/2006/relationships/image" Target="../media/image3.png"/></Relationships>
</file>

<file path=ppt/slideLayouts/_rels/slideLayout3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7" Type="http://schemas.microsoft.com/office/2007/relationships/hdphoto" Target="../media/hdphoto3.wdp"/><Relationship Id="rId2" Type="http://schemas.openxmlformats.org/officeDocument/2006/relationships/tags" Target="../tags/tag381.xml"/><Relationship Id="rId1" Type="http://schemas.openxmlformats.org/officeDocument/2006/relationships/vmlDrawing" Target="../drawings/vmlDrawing209.vml"/><Relationship Id="rId6" Type="http://schemas.openxmlformats.org/officeDocument/2006/relationships/image" Target="../media/image70.png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11.bin"/></Relationships>
</file>

<file path=ppt/slideLayouts/_rels/slideLayout351.xml.rels><?xml version="1.0" encoding="UTF-8" standalone="yes"?>
<Relationships xmlns="http://schemas.openxmlformats.org/package/2006/relationships"><Relationship Id="rId3" Type="http://schemas.openxmlformats.org/officeDocument/2006/relationships/tags" Target="../tags/tag383.xml"/><Relationship Id="rId2" Type="http://schemas.openxmlformats.org/officeDocument/2006/relationships/tags" Target="../tags/tag382.xml"/><Relationship Id="rId1" Type="http://schemas.openxmlformats.org/officeDocument/2006/relationships/vmlDrawing" Target="../drawings/vmlDrawing210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212.bin"/><Relationship Id="rId4" Type="http://schemas.openxmlformats.org/officeDocument/2006/relationships/slideMaster" Target="../slideMasters/slideMaster14.xml"/></Relationships>
</file>

<file path=ppt/slideLayouts/_rels/slideLayout352.xml.rels><?xml version="1.0" encoding="UTF-8" standalone="yes"?>
<Relationships xmlns="http://schemas.openxmlformats.org/package/2006/relationships"><Relationship Id="rId3" Type="http://schemas.openxmlformats.org/officeDocument/2006/relationships/tags" Target="../tags/tag385.xml"/><Relationship Id="rId2" Type="http://schemas.openxmlformats.org/officeDocument/2006/relationships/tags" Target="../tags/tag384.xml"/><Relationship Id="rId1" Type="http://schemas.openxmlformats.org/officeDocument/2006/relationships/vmlDrawing" Target="../drawings/vmlDrawing211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213.bin"/><Relationship Id="rId4" Type="http://schemas.openxmlformats.org/officeDocument/2006/relationships/slideMaster" Target="../slideMasters/slideMaster14.xml"/></Relationships>
</file>

<file path=ppt/slideLayouts/_rels/slideLayout353.xml.rels><?xml version="1.0" encoding="UTF-8" standalone="yes"?>
<Relationships xmlns="http://schemas.openxmlformats.org/package/2006/relationships"><Relationship Id="rId3" Type="http://schemas.openxmlformats.org/officeDocument/2006/relationships/tags" Target="../tags/tag387.xml"/><Relationship Id="rId2" Type="http://schemas.openxmlformats.org/officeDocument/2006/relationships/tags" Target="../tags/tag386.xml"/><Relationship Id="rId1" Type="http://schemas.openxmlformats.org/officeDocument/2006/relationships/vmlDrawing" Target="../drawings/vmlDrawing212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214.bin"/><Relationship Id="rId4" Type="http://schemas.openxmlformats.org/officeDocument/2006/relationships/slideMaster" Target="../slideMasters/slideMaster14.xml"/></Relationships>
</file>

<file path=ppt/slideLayouts/_rels/slideLayout354.xml.rels><?xml version="1.0" encoding="UTF-8" standalone="yes"?>
<Relationships xmlns="http://schemas.openxmlformats.org/package/2006/relationships"><Relationship Id="rId3" Type="http://schemas.openxmlformats.org/officeDocument/2006/relationships/tags" Target="../tags/tag389.xml"/><Relationship Id="rId2" Type="http://schemas.openxmlformats.org/officeDocument/2006/relationships/tags" Target="../tags/tag388.xml"/><Relationship Id="rId1" Type="http://schemas.openxmlformats.org/officeDocument/2006/relationships/vmlDrawing" Target="../drawings/vmlDrawing213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215.bin"/><Relationship Id="rId4" Type="http://schemas.openxmlformats.org/officeDocument/2006/relationships/slideMaster" Target="../slideMasters/slideMaster14.xml"/></Relationships>
</file>

<file path=ppt/slideLayouts/_rels/slideLayout355.xml.rels><?xml version="1.0" encoding="UTF-8" standalone="yes"?>
<Relationships xmlns="http://schemas.openxmlformats.org/package/2006/relationships"><Relationship Id="rId3" Type="http://schemas.openxmlformats.org/officeDocument/2006/relationships/tags" Target="../tags/tag391.xml"/><Relationship Id="rId2" Type="http://schemas.openxmlformats.org/officeDocument/2006/relationships/tags" Target="../tags/tag390.xml"/><Relationship Id="rId1" Type="http://schemas.openxmlformats.org/officeDocument/2006/relationships/vmlDrawing" Target="../drawings/vmlDrawing214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216.bin"/><Relationship Id="rId4" Type="http://schemas.openxmlformats.org/officeDocument/2006/relationships/slideMaster" Target="../slideMasters/slideMaster14.xml"/></Relationships>
</file>

<file path=ppt/slideLayouts/_rels/slideLayout3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13" Type="http://schemas.openxmlformats.org/officeDocument/2006/relationships/image" Target="../media/image37.png"/><Relationship Id="rId3" Type="http://schemas.openxmlformats.org/officeDocument/2006/relationships/slideMaster" Target="../slideMasters/slideMaster14.xml"/><Relationship Id="rId7" Type="http://schemas.openxmlformats.org/officeDocument/2006/relationships/image" Target="../media/image31.png"/><Relationship Id="rId12" Type="http://schemas.openxmlformats.org/officeDocument/2006/relationships/image" Target="../media/image36.png"/><Relationship Id="rId2" Type="http://schemas.openxmlformats.org/officeDocument/2006/relationships/tags" Target="../tags/tag392.xml"/><Relationship Id="rId1" Type="http://schemas.openxmlformats.org/officeDocument/2006/relationships/vmlDrawing" Target="../drawings/vmlDrawing215.vml"/><Relationship Id="rId6" Type="http://schemas.openxmlformats.org/officeDocument/2006/relationships/image" Target="../media/image30.png"/><Relationship Id="rId11" Type="http://schemas.openxmlformats.org/officeDocument/2006/relationships/image" Target="../media/image35.png"/><Relationship Id="rId5" Type="http://schemas.openxmlformats.org/officeDocument/2006/relationships/image" Target="../media/image29.emf"/><Relationship Id="rId10" Type="http://schemas.openxmlformats.org/officeDocument/2006/relationships/image" Target="../media/image34.png"/><Relationship Id="rId4" Type="http://schemas.openxmlformats.org/officeDocument/2006/relationships/oleObject" Target="../embeddings/oleObject217.bin"/><Relationship Id="rId9" Type="http://schemas.openxmlformats.org/officeDocument/2006/relationships/image" Target="../media/image33.png"/></Relationships>
</file>

<file path=ppt/slideLayouts/_rels/slideLayout357.xml.rels><?xml version="1.0" encoding="UTF-8" standalone="yes"?>
<Relationships xmlns="http://schemas.openxmlformats.org/package/2006/relationships"><Relationship Id="rId3" Type="http://schemas.openxmlformats.org/officeDocument/2006/relationships/tags" Target="../tags/tag394.xml"/><Relationship Id="rId2" Type="http://schemas.openxmlformats.org/officeDocument/2006/relationships/tags" Target="../tags/tag393.xml"/><Relationship Id="rId1" Type="http://schemas.openxmlformats.org/officeDocument/2006/relationships/vmlDrawing" Target="../drawings/vmlDrawing216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218.bin"/><Relationship Id="rId4" Type="http://schemas.openxmlformats.org/officeDocument/2006/relationships/slideMaster" Target="../slideMasters/slideMaster14.xml"/></Relationships>
</file>

<file path=ppt/slideLayouts/_rels/slideLayout3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13" Type="http://schemas.openxmlformats.org/officeDocument/2006/relationships/image" Target="../media/image37.png"/><Relationship Id="rId3" Type="http://schemas.openxmlformats.org/officeDocument/2006/relationships/slideMaster" Target="../slideMasters/slideMaster14.xml"/><Relationship Id="rId7" Type="http://schemas.openxmlformats.org/officeDocument/2006/relationships/image" Target="../media/image31.png"/><Relationship Id="rId12" Type="http://schemas.openxmlformats.org/officeDocument/2006/relationships/image" Target="../media/image36.png"/><Relationship Id="rId2" Type="http://schemas.openxmlformats.org/officeDocument/2006/relationships/tags" Target="../tags/tag395.xml"/><Relationship Id="rId1" Type="http://schemas.openxmlformats.org/officeDocument/2006/relationships/vmlDrawing" Target="../drawings/vmlDrawing217.vml"/><Relationship Id="rId6" Type="http://schemas.openxmlformats.org/officeDocument/2006/relationships/image" Target="../media/image30.png"/><Relationship Id="rId11" Type="http://schemas.openxmlformats.org/officeDocument/2006/relationships/image" Target="../media/image35.png"/><Relationship Id="rId5" Type="http://schemas.openxmlformats.org/officeDocument/2006/relationships/image" Target="../media/image29.emf"/><Relationship Id="rId10" Type="http://schemas.openxmlformats.org/officeDocument/2006/relationships/image" Target="../media/image34.png"/><Relationship Id="rId4" Type="http://schemas.openxmlformats.org/officeDocument/2006/relationships/oleObject" Target="../embeddings/oleObject219.bin"/><Relationship Id="rId9" Type="http://schemas.openxmlformats.org/officeDocument/2006/relationships/image" Target="../media/image33.png"/></Relationships>
</file>

<file path=ppt/slideLayouts/_rels/slideLayout359.xml.rels><?xml version="1.0" encoding="UTF-8" standalone="yes"?>
<Relationships xmlns="http://schemas.openxmlformats.org/package/2006/relationships"><Relationship Id="rId3" Type="http://schemas.openxmlformats.org/officeDocument/2006/relationships/tags" Target="../tags/tag397.xml"/><Relationship Id="rId2" Type="http://schemas.openxmlformats.org/officeDocument/2006/relationships/tags" Target="../tags/tag396.xml"/><Relationship Id="rId1" Type="http://schemas.openxmlformats.org/officeDocument/2006/relationships/vmlDrawing" Target="../drawings/vmlDrawing218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220.bin"/><Relationship Id="rId4" Type="http://schemas.openxmlformats.org/officeDocument/2006/relationships/slideMaster" Target="../slideMasters/slideMaster14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7.png"/><Relationship Id="rId4" Type="http://schemas.openxmlformats.org/officeDocument/2006/relationships/image" Target="../media/image3.png"/></Relationships>
</file>

<file path=ppt/slideLayouts/_rels/slideLayout360.xml.rels><?xml version="1.0" encoding="UTF-8" standalone="yes"?>
<Relationships xmlns="http://schemas.openxmlformats.org/package/2006/relationships"><Relationship Id="rId3" Type="http://schemas.openxmlformats.org/officeDocument/2006/relationships/tags" Target="../tags/tag399.xml"/><Relationship Id="rId2" Type="http://schemas.openxmlformats.org/officeDocument/2006/relationships/tags" Target="../tags/tag398.xml"/><Relationship Id="rId1" Type="http://schemas.openxmlformats.org/officeDocument/2006/relationships/vmlDrawing" Target="../drawings/vmlDrawing219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221.bin"/><Relationship Id="rId4" Type="http://schemas.openxmlformats.org/officeDocument/2006/relationships/slideMaster" Target="../slideMasters/slideMaster14.xml"/></Relationships>
</file>

<file path=ppt/slideLayouts/_rels/slideLayout361.xml.rels><?xml version="1.0" encoding="UTF-8" standalone="yes"?>
<Relationships xmlns="http://schemas.openxmlformats.org/package/2006/relationships"><Relationship Id="rId3" Type="http://schemas.openxmlformats.org/officeDocument/2006/relationships/tags" Target="../tags/tag401.xml"/><Relationship Id="rId2" Type="http://schemas.openxmlformats.org/officeDocument/2006/relationships/tags" Target="../tags/tag400.xml"/><Relationship Id="rId1" Type="http://schemas.openxmlformats.org/officeDocument/2006/relationships/vmlDrawing" Target="../drawings/vmlDrawing220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222.bin"/><Relationship Id="rId4" Type="http://schemas.openxmlformats.org/officeDocument/2006/relationships/slideMaster" Target="../slideMasters/slideMaster14.xml"/></Relationships>
</file>

<file path=ppt/slideLayouts/_rels/slideLayout362.xml.rels><?xml version="1.0" encoding="UTF-8" standalone="yes"?>
<Relationships xmlns="http://schemas.openxmlformats.org/package/2006/relationships"><Relationship Id="rId3" Type="http://schemas.openxmlformats.org/officeDocument/2006/relationships/tags" Target="../tags/tag403.xml"/><Relationship Id="rId2" Type="http://schemas.openxmlformats.org/officeDocument/2006/relationships/tags" Target="../tags/tag402.xml"/><Relationship Id="rId1" Type="http://schemas.openxmlformats.org/officeDocument/2006/relationships/vmlDrawing" Target="../drawings/vmlDrawing221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223.bin"/><Relationship Id="rId4" Type="http://schemas.openxmlformats.org/officeDocument/2006/relationships/slideMaster" Target="../slideMasters/slideMaster14.xml"/></Relationships>
</file>

<file path=ppt/slideLayouts/_rels/slideLayout363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405.xml"/><Relationship Id="rId7" Type="http://schemas.openxmlformats.org/officeDocument/2006/relationships/image" Target="../media/image68.png"/><Relationship Id="rId2" Type="http://schemas.openxmlformats.org/officeDocument/2006/relationships/tags" Target="../tags/tag404.xml"/><Relationship Id="rId1" Type="http://schemas.openxmlformats.org/officeDocument/2006/relationships/vmlDrawing" Target="../drawings/vmlDrawing222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224.bin"/><Relationship Id="rId4" Type="http://schemas.openxmlformats.org/officeDocument/2006/relationships/slideMaster" Target="../slideMasters/slideMaster14.xml"/></Relationships>
</file>

<file path=ppt/slideLayouts/_rels/slideLayout364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407.xml"/><Relationship Id="rId7" Type="http://schemas.openxmlformats.org/officeDocument/2006/relationships/image" Target="../media/image68.png"/><Relationship Id="rId2" Type="http://schemas.openxmlformats.org/officeDocument/2006/relationships/tags" Target="../tags/tag406.xml"/><Relationship Id="rId1" Type="http://schemas.openxmlformats.org/officeDocument/2006/relationships/vmlDrawing" Target="../drawings/vmlDrawing223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225.bin"/><Relationship Id="rId4" Type="http://schemas.openxmlformats.org/officeDocument/2006/relationships/slideMaster" Target="../slideMasters/slideMaster14.xml"/></Relationships>
</file>

<file path=ppt/slideLayouts/_rels/slideLayout3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7" Type="http://schemas.microsoft.com/office/2007/relationships/hdphoto" Target="../media/hdphoto1.wdp"/><Relationship Id="rId2" Type="http://schemas.openxmlformats.org/officeDocument/2006/relationships/tags" Target="../tags/tag408.xml"/><Relationship Id="rId1" Type="http://schemas.openxmlformats.org/officeDocument/2006/relationships/vmlDrawing" Target="../drawings/vmlDrawing224.vml"/><Relationship Id="rId6" Type="http://schemas.openxmlformats.org/officeDocument/2006/relationships/image" Target="../media/image68.png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26.bin"/></Relationships>
</file>

<file path=ppt/slideLayouts/_rels/slideLayout366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410.xml"/><Relationship Id="rId7" Type="http://schemas.openxmlformats.org/officeDocument/2006/relationships/image" Target="../media/image68.png"/><Relationship Id="rId2" Type="http://schemas.openxmlformats.org/officeDocument/2006/relationships/tags" Target="../tags/tag409.xml"/><Relationship Id="rId1" Type="http://schemas.openxmlformats.org/officeDocument/2006/relationships/vmlDrawing" Target="../drawings/vmlDrawing225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227.bin"/><Relationship Id="rId4" Type="http://schemas.openxmlformats.org/officeDocument/2006/relationships/slideMaster" Target="../slideMasters/slideMaster14.xml"/></Relationships>
</file>

<file path=ppt/slideLayouts/_rels/slideLayout367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412.xml"/><Relationship Id="rId7" Type="http://schemas.openxmlformats.org/officeDocument/2006/relationships/image" Target="../media/image68.png"/><Relationship Id="rId2" Type="http://schemas.openxmlformats.org/officeDocument/2006/relationships/tags" Target="../tags/tag411.xml"/><Relationship Id="rId1" Type="http://schemas.openxmlformats.org/officeDocument/2006/relationships/vmlDrawing" Target="../drawings/vmlDrawing226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228.bin"/><Relationship Id="rId4" Type="http://schemas.openxmlformats.org/officeDocument/2006/relationships/slideMaster" Target="../slideMasters/slideMaster14.xml"/></Relationships>
</file>

<file path=ppt/slideLayouts/_rels/slideLayout3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7" Type="http://schemas.microsoft.com/office/2007/relationships/hdphoto" Target="../media/hdphoto1.wdp"/><Relationship Id="rId2" Type="http://schemas.openxmlformats.org/officeDocument/2006/relationships/tags" Target="../tags/tag413.xml"/><Relationship Id="rId1" Type="http://schemas.openxmlformats.org/officeDocument/2006/relationships/vmlDrawing" Target="../drawings/vmlDrawing227.vml"/><Relationship Id="rId6" Type="http://schemas.openxmlformats.org/officeDocument/2006/relationships/image" Target="../media/image68.png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29.bin"/></Relationships>
</file>

<file path=ppt/slideLayouts/_rels/slideLayout369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tags" Target="../tags/tag415.xml"/><Relationship Id="rId7" Type="http://schemas.openxmlformats.org/officeDocument/2006/relationships/image" Target="../media/image69.png"/><Relationship Id="rId2" Type="http://schemas.openxmlformats.org/officeDocument/2006/relationships/tags" Target="../tags/tag414.xml"/><Relationship Id="rId1" Type="http://schemas.openxmlformats.org/officeDocument/2006/relationships/vmlDrawing" Target="../drawings/vmlDrawing228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230.bin"/><Relationship Id="rId4" Type="http://schemas.openxmlformats.org/officeDocument/2006/relationships/slideMaster" Target="../slideMasters/slideMaster14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7.png"/><Relationship Id="rId4" Type="http://schemas.openxmlformats.org/officeDocument/2006/relationships/image" Target="../media/image3.png"/></Relationships>
</file>

<file path=ppt/slideLayouts/_rels/slideLayout370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tags" Target="../tags/tag417.xml"/><Relationship Id="rId7" Type="http://schemas.openxmlformats.org/officeDocument/2006/relationships/image" Target="../media/image70.png"/><Relationship Id="rId2" Type="http://schemas.openxmlformats.org/officeDocument/2006/relationships/tags" Target="../tags/tag416.xml"/><Relationship Id="rId1" Type="http://schemas.openxmlformats.org/officeDocument/2006/relationships/vmlDrawing" Target="../drawings/vmlDrawing229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231.bin"/><Relationship Id="rId4" Type="http://schemas.openxmlformats.org/officeDocument/2006/relationships/slideMaster" Target="../slideMasters/slideMaster14.xml"/></Relationships>
</file>

<file path=ppt/slideLayouts/_rels/slideLayout371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tags" Target="../tags/tag419.xml"/><Relationship Id="rId7" Type="http://schemas.openxmlformats.org/officeDocument/2006/relationships/image" Target="../media/image69.png"/><Relationship Id="rId2" Type="http://schemas.openxmlformats.org/officeDocument/2006/relationships/tags" Target="../tags/tag418.xml"/><Relationship Id="rId1" Type="http://schemas.openxmlformats.org/officeDocument/2006/relationships/vmlDrawing" Target="../drawings/vmlDrawing230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232.bin"/><Relationship Id="rId4" Type="http://schemas.openxmlformats.org/officeDocument/2006/relationships/slideMaster" Target="../slideMasters/slideMaster14.xml"/></Relationships>
</file>

<file path=ppt/slideLayouts/_rels/slideLayout372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tags" Target="../tags/tag421.xml"/><Relationship Id="rId7" Type="http://schemas.openxmlformats.org/officeDocument/2006/relationships/image" Target="../media/image70.png"/><Relationship Id="rId2" Type="http://schemas.openxmlformats.org/officeDocument/2006/relationships/tags" Target="../tags/tag420.xml"/><Relationship Id="rId1" Type="http://schemas.openxmlformats.org/officeDocument/2006/relationships/vmlDrawing" Target="../drawings/vmlDrawing231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233.bin"/><Relationship Id="rId4" Type="http://schemas.openxmlformats.org/officeDocument/2006/relationships/slideMaster" Target="../slideMasters/slideMaster14.xml"/></Relationships>
</file>

<file path=ppt/slideLayouts/_rels/slideLayout373.xml.rels><?xml version="1.0" encoding="UTF-8" standalone="yes"?>
<Relationships xmlns="http://schemas.openxmlformats.org/package/2006/relationships"><Relationship Id="rId3" Type="http://schemas.openxmlformats.org/officeDocument/2006/relationships/tags" Target="../tags/tag423.xml"/><Relationship Id="rId2" Type="http://schemas.openxmlformats.org/officeDocument/2006/relationships/tags" Target="../tags/tag422.xml"/><Relationship Id="rId1" Type="http://schemas.openxmlformats.org/officeDocument/2006/relationships/vmlDrawing" Target="../drawings/vmlDrawing232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234.bin"/><Relationship Id="rId4" Type="http://schemas.openxmlformats.org/officeDocument/2006/relationships/slideMaster" Target="../slideMasters/slideMaster14.xml"/></Relationships>
</file>

<file path=ppt/slideLayouts/_rels/slideLayout374.xml.rels><?xml version="1.0" encoding="UTF-8" standalone="yes"?>
<Relationships xmlns="http://schemas.openxmlformats.org/package/2006/relationships"><Relationship Id="rId3" Type="http://schemas.openxmlformats.org/officeDocument/2006/relationships/tags" Target="../tags/tag425.xml"/><Relationship Id="rId2" Type="http://schemas.openxmlformats.org/officeDocument/2006/relationships/tags" Target="../tags/tag424.xml"/><Relationship Id="rId1" Type="http://schemas.openxmlformats.org/officeDocument/2006/relationships/vmlDrawing" Target="../drawings/vmlDrawing233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235.bin"/><Relationship Id="rId4" Type="http://schemas.openxmlformats.org/officeDocument/2006/relationships/slideMaster" Target="../slideMasters/slideMaster14.xml"/></Relationships>
</file>

<file path=ppt/slideLayouts/_rels/slideLayout375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427.xml"/><Relationship Id="rId7" Type="http://schemas.openxmlformats.org/officeDocument/2006/relationships/image" Target="../media/image68.png"/><Relationship Id="rId2" Type="http://schemas.openxmlformats.org/officeDocument/2006/relationships/tags" Target="../tags/tag426.xml"/><Relationship Id="rId1" Type="http://schemas.openxmlformats.org/officeDocument/2006/relationships/vmlDrawing" Target="../drawings/vmlDrawing234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236.bin"/><Relationship Id="rId4" Type="http://schemas.openxmlformats.org/officeDocument/2006/relationships/slideMaster" Target="../slideMasters/slideMaster14.xml"/></Relationships>
</file>

<file path=ppt/slideLayouts/_rels/slideLayout376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tags" Target="../tags/tag429.xml"/><Relationship Id="rId7" Type="http://schemas.openxmlformats.org/officeDocument/2006/relationships/image" Target="../media/image69.png"/><Relationship Id="rId2" Type="http://schemas.openxmlformats.org/officeDocument/2006/relationships/tags" Target="../tags/tag428.xml"/><Relationship Id="rId1" Type="http://schemas.openxmlformats.org/officeDocument/2006/relationships/vmlDrawing" Target="../drawings/vmlDrawing235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237.bin"/><Relationship Id="rId4" Type="http://schemas.openxmlformats.org/officeDocument/2006/relationships/slideMaster" Target="../slideMasters/slideMaster14.xml"/></Relationships>
</file>

<file path=ppt/slideLayouts/_rels/slideLayout377.xml.rels><?xml version="1.0" encoding="UTF-8" standalone="yes"?>
<Relationships xmlns="http://schemas.openxmlformats.org/package/2006/relationships"><Relationship Id="rId3" Type="http://schemas.openxmlformats.org/officeDocument/2006/relationships/tags" Target="../tags/tag431.xml"/><Relationship Id="rId2" Type="http://schemas.openxmlformats.org/officeDocument/2006/relationships/tags" Target="../tags/tag430.xml"/><Relationship Id="rId1" Type="http://schemas.openxmlformats.org/officeDocument/2006/relationships/vmlDrawing" Target="../drawings/vmlDrawing236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238.bin"/><Relationship Id="rId4" Type="http://schemas.openxmlformats.org/officeDocument/2006/relationships/slideMaster" Target="../slideMasters/slideMaster14.xml"/></Relationships>
</file>

<file path=ppt/slideLayouts/_rels/slideLayout378.xml.rels><?xml version="1.0" encoding="UTF-8" standalone="yes"?>
<Relationships xmlns="http://schemas.openxmlformats.org/package/2006/relationships"><Relationship Id="rId3" Type="http://schemas.openxmlformats.org/officeDocument/2006/relationships/tags" Target="../tags/tag433.xml"/><Relationship Id="rId2" Type="http://schemas.openxmlformats.org/officeDocument/2006/relationships/tags" Target="../tags/tag432.xml"/><Relationship Id="rId1" Type="http://schemas.openxmlformats.org/officeDocument/2006/relationships/vmlDrawing" Target="../drawings/vmlDrawing237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239.bin"/><Relationship Id="rId4" Type="http://schemas.openxmlformats.org/officeDocument/2006/relationships/slideMaster" Target="../slideMasters/slideMaster14.xml"/></Relationships>
</file>

<file path=ppt/slideLayouts/_rels/slideLayout379.xml.rels><?xml version="1.0" encoding="UTF-8" standalone="yes"?>
<Relationships xmlns="http://schemas.openxmlformats.org/package/2006/relationships"><Relationship Id="rId3" Type="http://schemas.openxmlformats.org/officeDocument/2006/relationships/tags" Target="../tags/tag435.xml"/><Relationship Id="rId2" Type="http://schemas.openxmlformats.org/officeDocument/2006/relationships/tags" Target="../tags/tag434.xml"/><Relationship Id="rId1" Type="http://schemas.openxmlformats.org/officeDocument/2006/relationships/vmlDrawing" Target="../drawings/vmlDrawing238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240.bin"/><Relationship Id="rId4" Type="http://schemas.openxmlformats.org/officeDocument/2006/relationships/slideMaster" Target="../slideMasters/slideMaster14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9.jpeg"/></Relationships>
</file>

<file path=ppt/slideLayouts/_rels/slideLayout38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13" Type="http://schemas.openxmlformats.org/officeDocument/2006/relationships/image" Target="../media/image37.png"/><Relationship Id="rId3" Type="http://schemas.openxmlformats.org/officeDocument/2006/relationships/slideMaster" Target="../slideMasters/slideMaster14.xml"/><Relationship Id="rId7" Type="http://schemas.openxmlformats.org/officeDocument/2006/relationships/image" Target="../media/image31.png"/><Relationship Id="rId12" Type="http://schemas.openxmlformats.org/officeDocument/2006/relationships/image" Target="../media/image36.png"/><Relationship Id="rId2" Type="http://schemas.openxmlformats.org/officeDocument/2006/relationships/tags" Target="../tags/tag436.xml"/><Relationship Id="rId1" Type="http://schemas.openxmlformats.org/officeDocument/2006/relationships/vmlDrawing" Target="../drawings/vmlDrawing239.vml"/><Relationship Id="rId6" Type="http://schemas.openxmlformats.org/officeDocument/2006/relationships/image" Target="../media/image30.png"/><Relationship Id="rId11" Type="http://schemas.openxmlformats.org/officeDocument/2006/relationships/image" Target="../media/image35.png"/><Relationship Id="rId5" Type="http://schemas.openxmlformats.org/officeDocument/2006/relationships/image" Target="../media/image29.emf"/><Relationship Id="rId10" Type="http://schemas.openxmlformats.org/officeDocument/2006/relationships/image" Target="../media/image34.png"/><Relationship Id="rId4" Type="http://schemas.openxmlformats.org/officeDocument/2006/relationships/oleObject" Target="../embeddings/oleObject241.bin"/><Relationship Id="rId9" Type="http://schemas.openxmlformats.org/officeDocument/2006/relationships/image" Target="../media/image33.png"/></Relationships>
</file>

<file path=ppt/slideLayouts/_rels/slideLayout381.xml.rels><?xml version="1.0" encoding="UTF-8" standalone="yes"?>
<Relationships xmlns="http://schemas.openxmlformats.org/package/2006/relationships"><Relationship Id="rId3" Type="http://schemas.openxmlformats.org/officeDocument/2006/relationships/tags" Target="../tags/tag438.xml"/><Relationship Id="rId2" Type="http://schemas.openxmlformats.org/officeDocument/2006/relationships/tags" Target="../tags/tag437.xml"/><Relationship Id="rId1" Type="http://schemas.openxmlformats.org/officeDocument/2006/relationships/vmlDrawing" Target="../drawings/vmlDrawing240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242.bin"/><Relationship Id="rId4" Type="http://schemas.openxmlformats.org/officeDocument/2006/relationships/slideMaster" Target="../slideMasters/slideMaster14.xml"/></Relationships>
</file>

<file path=ppt/slideLayouts/_rels/slideLayout3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439.xml"/><Relationship Id="rId1" Type="http://schemas.openxmlformats.org/officeDocument/2006/relationships/vmlDrawing" Target="../drawings/vmlDrawing241.vml"/><Relationship Id="rId5" Type="http://schemas.openxmlformats.org/officeDocument/2006/relationships/image" Target="../media/image72.emf"/><Relationship Id="rId4" Type="http://schemas.openxmlformats.org/officeDocument/2006/relationships/oleObject" Target="../embeddings/oleObject243.bin"/></Relationships>
</file>

<file path=ppt/slideLayouts/_rels/slideLayout3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440.xml"/><Relationship Id="rId1" Type="http://schemas.openxmlformats.org/officeDocument/2006/relationships/vmlDrawing" Target="../drawings/vmlDrawing242.vml"/><Relationship Id="rId5" Type="http://schemas.openxmlformats.org/officeDocument/2006/relationships/image" Target="../media/image72.emf"/><Relationship Id="rId4" Type="http://schemas.openxmlformats.org/officeDocument/2006/relationships/oleObject" Target="../embeddings/oleObject244.bin"/></Relationships>
</file>

<file path=ppt/slideLayouts/_rels/slideLayout3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0.jpeg"/></Relationships>
</file>

<file path=ppt/slideLayouts/_rels/slideLayout3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4.xml"/></Relationships>
</file>

<file path=ppt/slideLayouts/_rels/slideLayout3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441.xml"/><Relationship Id="rId1" Type="http://schemas.openxmlformats.org/officeDocument/2006/relationships/vmlDrawing" Target="../drawings/vmlDrawing243.vml"/><Relationship Id="rId5" Type="http://schemas.openxmlformats.org/officeDocument/2006/relationships/image" Target="NULL"/><Relationship Id="rId4" Type="http://schemas.openxmlformats.org/officeDocument/2006/relationships/oleObject" Target="../embeddings/oleObject245.bin"/></Relationships>
</file>

<file path=ppt/slideLayouts/_rels/slideLayout3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442.xml"/><Relationship Id="rId1" Type="http://schemas.openxmlformats.org/officeDocument/2006/relationships/vmlDrawing" Target="../drawings/vmlDrawing244.vml"/><Relationship Id="rId5" Type="http://schemas.openxmlformats.org/officeDocument/2006/relationships/image" Target="NULL"/><Relationship Id="rId4" Type="http://schemas.openxmlformats.org/officeDocument/2006/relationships/oleObject" Target="../embeddings/oleObject246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3.pn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jpg"/></Relationships>
</file>

<file path=ppt/slideLayouts/_rels/slideLayout4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443.xml"/><Relationship Id="rId1" Type="http://schemas.openxmlformats.org/officeDocument/2006/relationships/vmlDrawing" Target="../drawings/vmlDrawing245.vml"/><Relationship Id="rId5" Type="http://schemas.openxmlformats.org/officeDocument/2006/relationships/image" Target="NULL"/><Relationship Id="rId4" Type="http://schemas.openxmlformats.org/officeDocument/2006/relationships/oleObject" Target="../embeddings/oleObject247.bin"/></Relationships>
</file>

<file path=ppt/slideLayouts/_rels/slideLayout4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444.xml"/><Relationship Id="rId1" Type="http://schemas.openxmlformats.org/officeDocument/2006/relationships/vmlDrawing" Target="../drawings/vmlDrawing246.vml"/><Relationship Id="rId5" Type="http://schemas.openxmlformats.org/officeDocument/2006/relationships/image" Target="NULL"/><Relationship Id="rId4" Type="http://schemas.openxmlformats.org/officeDocument/2006/relationships/oleObject" Target="../embeddings/oleObject248.bin"/></Relationships>
</file>

<file path=ppt/slideLayouts/_rels/slideLayout4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445.xml"/><Relationship Id="rId1" Type="http://schemas.openxmlformats.org/officeDocument/2006/relationships/vmlDrawing" Target="../drawings/vmlDrawing247.vml"/><Relationship Id="rId5" Type="http://schemas.openxmlformats.org/officeDocument/2006/relationships/image" Target="NULL"/><Relationship Id="rId4" Type="http://schemas.openxmlformats.org/officeDocument/2006/relationships/oleObject" Target="../embeddings/oleObject249.bin"/></Relationships>
</file>

<file path=ppt/slideLayouts/_rels/slideLayout4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446.xml"/><Relationship Id="rId1" Type="http://schemas.openxmlformats.org/officeDocument/2006/relationships/vmlDrawing" Target="../drawings/vmlDrawing248.vml"/><Relationship Id="rId5" Type="http://schemas.openxmlformats.org/officeDocument/2006/relationships/image" Target="NULL"/><Relationship Id="rId4" Type="http://schemas.openxmlformats.org/officeDocument/2006/relationships/oleObject" Target="../embeddings/oleObject250.bin"/></Relationships>
</file>

<file path=ppt/slideLayouts/_rels/slideLayout4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447.xml"/><Relationship Id="rId1" Type="http://schemas.openxmlformats.org/officeDocument/2006/relationships/vmlDrawing" Target="../drawings/vmlDrawing249.vml"/><Relationship Id="rId5" Type="http://schemas.openxmlformats.org/officeDocument/2006/relationships/image" Target="../media/image72.emf"/><Relationship Id="rId4" Type="http://schemas.openxmlformats.org/officeDocument/2006/relationships/oleObject" Target="../embeddings/oleObject251.bin"/></Relationships>
</file>

<file path=ppt/slideLayouts/_rels/slideLayout4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448.xml"/><Relationship Id="rId1" Type="http://schemas.openxmlformats.org/officeDocument/2006/relationships/vmlDrawing" Target="../drawings/vmlDrawing250.vml"/><Relationship Id="rId5" Type="http://schemas.openxmlformats.org/officeDocument/2006/relationships/image" Target="../media/image72.emf"/><Relationship Id="rId4" Type="http://schemas.openxmlformats.org/officeDocument/2006/relationships/oleObject" Target="../embeddings/oleObject252.bin"/></Relationships>
</file>

<file path=ppt/slideLayouts/_rels/slideLayout4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449.xml"/><Relationship Id="rId1" Type="http://schemas.openxmlformats.org/officeDocument/2006/relationships/vmlDrawing" Target="../drawings/vmlDrawing251.vml"/><Relationship Id="rId5" Type="http://schemas.openxmlformats.org/officeDocument/2006/relationships/image" Target="../media/image72.emf"/><Relationship Id="rId4" Type="http://schemas.openxmlformats.org/officeDocument/2006/relationships/oleObject" Target="../embeddings/oleObject253.bin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0.xml.rels><?xml version="1.0" encoding="UTF-8" standalone="yes"?>
<Relationships xmlns="http://schemas.openxmlformats.org/package/2006/relationships"><Relationship Id="rId3" Type="http://schemas.openxmlformats.org/officeDocument/2006/relationships/tags" Target="../tags/tag451.xml"/><Relationship Id="rId2" Type="http://schemas.openxmlformats.org/officeDocument/2006/relationships/tags" Target="../tags/tag450.xml"/><Relationship Id="rId1" Type="http://schemas.openxmlformats.org/officeDocument/2006/relationships/vmlDrawing" Target="../drawings/vmlDrawing252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254.bin"/><Relationship Id="rId4" Type="http://schemas.openxmlformats.org/officeDocument/2006/relationships/slideMaster" Target="../slideMasters/slideMaster14.xml"/></Relationships>
</file>

<file path=ppt/slideLayouts/_rels/slideLayout4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15.xml"/><Relationship Id="rId4" Type="http://schemas.openxmlformats.org/officeDocument/2006/relationships/image" Target="../media/image17.png"/></Relationships>
</file>

<file path=ppt/slideLayouts/_rels/slideLayout4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455.xml"/><Relationship Id="rId1" Type="http://schemas.openxmlformats.org/officeDocument/2006/relationships/vmlDrawing" Target="../drawings/vmlDrawing254.vml"/><Relationship Id="rId5" Type="http://schemas.openxmlformats.org/officeDocument/2006/relationships/image" Target="../media/image27.emf"/><Relationship Id="rId4" Type="http://schemas.openxmlformats.org/officeDocument/2006/relationships/oleObject" Target="../embeddings/oleObject256.bin"/></Relationships>
</file>

<file path=ppt/slideLayouts/_rels/slideLayout413.xml.rels><?xml version="1.0" encoding="UTF-8" standalone="yes"?>
<Relationships xmlns="http://schemas.openxmlformats.org/package/2006/relationships"><Relationship Id="rId3" Type="http://schemas.openxmlformats.org/officeDocument/2006/relationships/tags" Target="../tags/tag457.xml"/><Relationship Id="rId7" Type="http://schemas.openxmlformats.org/officeDocument/2006/relationships/oleObject" Target="../embeddings/oleObject258.bin"/><Relationship Id="rId2" Type="http://schemas.openxmlformats.org/officeDocument/2006/relationships/tags" Target="../tags/tag456.xml"/><Relationship Id="rId1" Type="http://schemas.openxmlformats.org/officeDocument/2006/relationships/vmlDrawing" Target="../drawings/vmlDrawing255.vml"/><Relationship Id="rId6" Type="http://schemas.openxmlformats.org/officeDocument/2006/relationships/image" Target="../media/image27.emf"/><Relationship Id="rId5" Type="http://schemas.openxmlformats.org/officeDocument/2006/relationships/oleObject" Target="../embeddings/oleObject257.bin"/><Relationship Id="rId4" Type="http://schemas.openxmlformats.org/officeDocument/2006/relationships/slideMaster" Target="../slideMasters/slideMaster15.xml"/></Relationships>
</file>

<file path=ppt/slideLayouts/_rels/slideLayout4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4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4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458.xml"/><Relationship Id="rId1" Type="http://schemas.openxmlformats.org/officeDocument/2006/relationships/vmlDrawing" Target="../drawings/vmlDrawing256.vml"/><Relationship Id="rId5" Type="http://schemas.openxmlformats.org/officeDocument/2006/relationships/image" Target="../media/image27.emf"/><Relationship Id="rId4" Type="http://schemas.openxmlformats.org/officeDocument/2006/relationships/oleObject" Target="../embeddings/oleObject259.bin"/></Relationships>
</file>

<file path=ppt/slideLayouts/_rels/slideLayout417.xml.rels><?xml version="1.0" encoding="UTF-8" standalone="yes"?>
<Relationships xmlns="http://schemas.openxmlformats.org/package/2006/relationships"><Relationship Id="rId3" Type="http://schemas.openxmlformats.org/officeDocument/2006/relationships/tags" Target="../tags/tag460.xml"/><Relationship Id="rId2" Type="http://schemas.openxmlformats.org/officeDocument/2006/relationships/tags" Target="../tags/tag459.xml"/><Relationship Id="rId1" Type="http://schemas.openxmlformats.org/officeDocument/2006/relationships/vmlDrawing" Target="../drawings/vmlDrawing257.vml"/><Relationship Id="rId6" Type="http://schemas.openxmlformats.org/officeDocument/2006/relationships/image" Target="../media/image28.emf"/><Relationship Id="rId5" Type="http://schemas.openxmlformats.org/officeDocument/2006/relationships/oleObject" Target="../embeddings/oleObject260.bin"/><Relationship Id="rId4" Type="http://schemas.openxmlformats.org/officeDocument/2006/relationships/slideMaster" Target="../slideMasters/slideMaster15.xml"/></Relationships>
</file>

<file path=ppt/slideLayouts/_rels/slideLayout4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13" Type="http://schemas.openxmlformats.org/officeDocument/2006/relationships/image" Target="../media/image37.png"/><Relationship Id="rId3" Type="http://schemas.openxmlformats.org/officeDocument/2006/relationships/slideMaster" Target="../slideMasters/slideMaster15.xml"/><Relationship Id="rId7" Type="http://schemas.openxmlformats.org/officeDocument/2006/relationships/image" Target="../media/image31.png"/><Relationship Id="rId12" Type="http://schemas.openxmlformats.org/officeDocument/2006/relationships/image" Target="../media/image36.png"/><Relationship Id="rId2" Type="http://schemas.openxmlformats.org/officeDocument/2006/relationships/tags" Target="../tags/tag461.xml"/><Relationship Id="rId1" Type="http://schemas.openxmlformats.org/officeDocument/2006/relationships/vmlDrawing" Target="../drawings/vmlDrawing258.vml"/><Relationship Id="rId6" Type="http://schemas.openxmlformats.org/officeDocument/2006/relationships/image" Target="../media/image30.png"/><Relationship Id="rId11" Type="http://schemas.openxmlformats.org/officeDocument/2006/relationships/image" Target="../media/image35.png"/><Relationship Id="rId5" Type="http://schemas.openxmlformats.org/officeDocument/2006/relationships/image" Target="../media/image29.emf"/><Relationship Id="rId10" Type="http://schemas.openxmlformats.org/officeDocument/2006/relationships/image" Target="../media/image34.png"/><Relationship Id="rId4" Type="http://schemas.openxmlformats.org/officeDocument/2006/relationships/oleObject" Target="../embeddings/oleObject261.bin"/><Relationship Id="rId9" Type="http://schemas.openxmlformats.org/officeDocument/2006/relationships/image" Target="../media/image33.png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1.jpg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2.jp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1.jpeg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2.jpe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3.png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3.jpeg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jpeg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jpeg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7.png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7.emf"/><Relationship Id="rId4" Type="http://schemas.openxmlformats.org/officeDocument/2006/relationships/oleObject" Target="../embeddings/oleObject4.bin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oleObject" Target="../embeddings/oleObject6.bin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7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7.emf"/><Relationship Id="rId4" Type="http://schemas.openxmlformats.org/officeDocument/2006/relationships/oleObject" Target="../embeddings/oleObject7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8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13" Type="http://schemas.openxmlformats.org/officeDocument/2006/relationships/image" Target="../media/image37.pn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31.png"/><Relationship Id="rId12" Type="http://schemas.openxmlformats.org/officeDocument/2006/relationships/image" Target="../media/image36.png"/><Relationship Id="rId2" Type="http://schemas.openxmlformats.org/officeDocument/2006/relationships/tags" Target="../tags/tag14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0.png"/><Relationship Id="rId11" Type="http://schemas.openxmlformats.org/officeDocument/2006/relationships/image" Target="../media/image35.png"/><Relationship Id="rId5" Type="http://schemas.openxmlformats.org/officeDocument/2006/relationships/image" Target="../media/image29.emf"/><Relationship Id="rId10" Type="http://schemas.openxmlformats.org/officeDocument/2006/relationships/image" Target="../media/image34.png"/><Relationship Id="rId4" Type="http://schemas.openxmlformats.org/officeDocument/2006/relationships/oleObject" Target="../embeddings/oleObject9.bin"/><Relationship Id="rId9" Type="http://schemas.openxmlformats.org/officeDocument/2006/relationships/image" Target="../media/image33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jpg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38.jpg"/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26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4.emf"/><Relationship Id="rId5" Type="http://schemas.openxmlformats.org/officeDocument/2006/relationships/oleObject" Target="../embeddings/oleObject11.bin"/><Relationship Id="rId4" Type="http://schemas.openxmlformats.org/officeDocument/2006/relationships/image" Target="../media/image38.jpg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40.emf"/><Relationship Id="rId4" Type="http://schemas.openxmlformats.org/officeDocument/2006/relationships/oleObject" Target="../embeddings/oleObject12.bin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40.emf"/><Relationship Id="rId4" Type="http://schemas.openxmlformats.org/officeDocument/2006/relationships/oleObject" Target="../embeddings/oleObject13.bin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jpg"/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3" Type="http://schemas.openxmlformats.org/officeDocument/2006/relationships/image" Target="../media/image42.png"/><Relationship Id="rId7" Type="http://schemas.openxmlformats.org/officeDocument/2006/relationships/image" Target="../media/image45.png"/><Relationship Id="rId2" Type="http://schemas.openxmlformats.org/officeDocument/2006/relationships/image" Target="../media/image38.jp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44.png"/><Relationship Id="rId5" Type="http://schemas.openxmlformats.org/officeDocument/2006/relationships/image" Target="../media/image25.png"/><Relationship Id="rId10" Type="http://schemas.openxmlformats.org/officeDocument/2006/relationships/image" Target="../media/image48.png"/><Relationship Id="rId4" Type="http://schemas.openxmlformats.org/officeDocument/2006/relationships/image" Target="../media/image43.png"/><Relationship Id="rId9" Type="http://schemas.openxmlformats.org/officeDocument/2006/relationships/image" Target="../media/image47.png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42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8.emf"/><Relationship Id="rId5" Type="http://schemas.openxmlformats.org/officeDocument/2006/relationships/oleObject" Target="../embeddings/oleObject15.bin"/><Relationship Id="rId4" Type="http://schemas.openxmlformats.org/officeDocument/2006/relationships/image" Target="../media/image49.jpeg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16.bin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50.emf"/><Relationship Id="rId4" Type="http://schemas.openxmlformats.org/officeDocument/2006/relationships/oleObject" Target="../embeddings/oleObject17.bin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. Title tex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Regieanweisungen"/>
          <p:cNvGrpSpPr/>
          <p:nvPr/>
        </p:nvGrpSpPr>
        <p:grpSpPr>
          <a:xfrm>
            <a:off x="-2086913" y="-467892"/>
            <a:ext cx="13647691" cy="7792196"/>
            <a:chOff x="-2088000" y="-468000"/>
            <a:chExt cx="13654799" cy="7794000"/>
          </a:xfrm>
        </p:grpSpPr>
        <p:sp>
          <p:nvSpPr>
            <p:cNvPr id="15" name="Hilfslinien"/>
            <p:cNvSpPr txBox="1"/>
            <p:nvPr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99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how guides via menu bar: View // Show // tick Guides</a:t>
              </a:r>
            </a:p>
          </p:txBody>
        </p:sp>
        <p:sp>
          <p:nvSpPr>
            <p:cNvPr id="16" name="Fußzeile"/>
            <p:cNvSpPr txBox="1"/>
            <p:nvPr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1042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099" b="0" baseline="0" dirty="0" smtClean="0">
                  <a:solidFill>
                    <a:schemeClr val="accent5"/>
                  </a:solidFill>
                  <a:latin typeface="+mn-lt"/>
                </a:rPr>
                <a:t>Adjust footer (per slide or for several/all slides) via menu bar: Insert // Text // Header &amp; Footer</a:t>
              </a:r>
            </a:p>
          </p:txBody>
        </p:sp>
        <p:grpSp>
          <p:nvGrpSpPr>
            <p:cNvPr id="27" name="Hinweise links"/>
            <p:cNvGrpSpPr/>
            <p:nvPr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28" name="Folie Wechsel/Zurücksetzen/Textebenen"/>
              <p:cNvSpPr txBox="1"/>
              <p:nvPr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Reset the slide back to its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original form 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Slides // Rese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099" b="0" baseline="0" noProof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Change the slide layout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Slides // Layou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099" b="0" baseline="0" noProof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Change the text level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via menu bar: </a:t>
                </a:r>
                <a:b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</a:b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Paragraph // Increase/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Decrease List Level</a:t>
                </a:r>
              </a:p>
            </p:txBody>
          </p:sp>
          <p:grpSp>
            <p:nvGrpSpPr>
              <p:cNvPr id="30" name="Listenebenen"/>
              <p:cNvGrpSpPr/>
              <p:nvPr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31" name="Text // Listenebene erhöhen"/>
                <p:cNvSpPr txBox="1"/>
                <p:nvPr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38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999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Increase</a:t>
                  </a:r>
                </a:p>
                <a:p>
                  <a:pPr marL="0" marR="0" lvl="0" indent="0" algn="r" defTabSz="9138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999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sp>
              <p:nvSpPr>
                <p:cNvPr id="32" name="Text // Listenebene verringern"/>
                <p:cNvSpPr txBox="1"/>
                <p:nvPr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38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999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Decrease </a:t>
                  </a:r>
                </a:p>
                <a:p>
                  <a:pPr marL="0" marR="0" lvl="0" indent="0" algn="r" defTabSz="9138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999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pic>
              <p:nvPicPr>
                <p:cNvPr id="33" name="Listenebene erhöhen"/>
                <p:cNvPicPr>
                  <a:picLocks noChangeAspect="1"/>
                </p:cNvPicPr>
                <p:nvPr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34" name="Listenebene verringern"/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29672" y="5121280"/>
            <a:ext cx="10930832" cy="1025684"/>
          </a:xfrm>
        </p:spPr>
        <p:txBody>
          <a:bodyPr wrap="square" anchor="b" anchorCtr="0">
            <a:spAutoFit/>
          </a:bodyPr>
          <a:lstStyle>
            <a:lvl1pPr>
              <a:defRPr baseline="0"/>
            </a:lvl1pPr>
          </a:lstStyle>
          <a:p>
            <a:r>
              <a:rPr lang="en-GB" dirty="0" smtClean="0"/>
              <a:t>Referent’s name: </a:t>
            </a:r>
            <a:r>
              <a:rPr lang="en-GB" noProof="0" dirty="0" smtClean="0"/>
              <a:t>CorpoS </a:t>
            </a:r>
            <a:r>
              <a:rPr lang="en-GB" dirty="0" smtClean="0"/>
              <a:t>(Body) 35 pt. Presentation title</a:t>
            </a:r>
            <a:br>
              <a:rPr lang="en-GB" dirty="0" smtClean="0"/>
            </a:br>
            <a:r>
              <a:rPr lang="en-GB" dirty="0" smtClean="0"/>
              <a:t>in two lines of text, dd. </a:t>
            </a:r>
            <a:r>
              <a:rPr lang="en-GB" dirty="0" err="1" smtClean="0"/>
              <a:t>mmmm</a:t>
            </a:r>
            <a:r>
              <a:rPr lang="en-GB" dirty="0" smtClean="0"/>
              <a:t> </a:t>
            </a:r>
            <a:r>
              <a:rPr lang="en-GB" dirty="0" err="1" smtClean="0"/>
              <a:t>yyyy</a:t>
            </a:r>
            <a:endParaRPr lang="en-GB" dirty="0"/>
          </a:p>
        </p:txBody>
      </p:sp>
      <p:pic>
        <p:nvPicPr>
          <p:cNvPr id="29" name="Wortmarke DAIMLER" descr="Daimler_RGB_100mm.png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9672" y="790853"/>
            <a:ext cx="3418220" cy="462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879983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3873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/ content/ Headline 2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Headline in CorpoS (Body) 35 pt.</a:t>
            </a:r>
            <a:br>
              <a:rPr lang="en-GB" noProof="0" dirty="0" smtClean="0"/>
            </a:br>
            <a:r>
              <a:rPr lang="en-GB" noProof="0" dirty="0" smtClean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7178478-C14F-4056-BC7B-D4A0322B8D6E}" type="slidenum">
              <a:rPr lang="en-US" smtClean="0"/>
              <a:t>‹#›</a:t>
            </a:fld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629909" y="1504602"/>
            <a:ext cx="10930594" cy="4983236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noProof="0" dirty="0" smtClean="0"/>
              <a:t>Insert content or text in CorpoS (Body) 24 pt. (Mark-ups in Bold) // for conclusion, summary or short highlight: Home // Paragraph// Increase List Level</a:t>
            </a:r>
          </a:p>
          <a:p>
            <a:pPr lvl="1"/>
            <a:r>
              <a:rPr lang="en-GB" noProof="0" dirty="0" smtClean="0"/>
              <a:t>Second level (Conclusion, summary or short highlight)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</a:p>
          <a:p>
            <a:pPr lvl="5"/>
            <a:r>
              <a:rPr lang="en-GB" noProof="0" dirty="0" smtClean="0"/>
              <a:t>Sixth level</a:t>
            </a:r>
          </a:p>
          <a:p>
            <a:pPr lvl="6"/>
            <a:r>
              <a:rPr lang="en-GB" noProof="0" dirty="0" smtClean="0"/>
              <a:t>Sevens level</a:t>
            </a:r>
          </a:p>
          <a:p>
            <a:pPr lvl="7"/>
            <a:r>
              <a:rPr lang="en-GB" noProof="0" dirty="0" smtClean="0"/>
              <a:t>Eight level</a:t>
            </a:r>
          </a:p>
          <a:p>
            <a:pPr lvl="8"/>
            <a:r>
              <a:rPr lang="en-GB" noProof="0" dirty="0" smtClean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75430154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  <p15:guide id="3" orient="horz" pos="950">
          <p15:clr>
            <a:srgbClr val="FBAE40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 descr="weiß"/>
          <p:cNvPicPr>
            <a:picLocks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" y="6599238"/>
            <a:ext cx="12187766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7" descr="Daimler_Logotype_100_CO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66068" y="838201"/>
            <a:ext cx="4857751" cy="493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Line 9"/>
          <p:cNvSpPr>
            <a:spLocks noChangeShapeType="1"/>
          </p:cNvSpPr>
          <p:nvPr/>
        </p:nvSpPr>
        <p:spPr bwMode="auto">
          <a:xfrm>
            <a:off x="334434" y="2420939"/>
            <a:ext cx="11523133" cy="1587"/>
          </a:xfrm>
          <a:prstGeom prst="line">
            <a:avLst/>
          </a:prstGeom>
          <a:noFill/>
          <a:ln w="635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2099"/>
          </a:p>
        </p:txBody>
      </p:sp>
      <p:sp>
        <p:nvSpPr>
          <p:cNvPr id="389126" name="Rectangle 6"/>
          <p:cNvSpPr>
            <a:spLocks noGrp="1" noChangeArrowheads="1"/>
          </p:cNvSpPr>
          <p:nvPr>
            <p:ph type="ctrTitle"/>
          </p:nvPr>
        </p:nvSpPr>
        <p:spPr>
          <a:xfrm>
            <a:off x="527052" y="2528889"/>
            <a:ext cx="11135783" cy="428244"/>
          </a:xfrm>
        </p:spPr>
        <p:txBody>
          <a:bodyPr bIns="4320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altLang="en-US" noProof="0" smtClean="0"/>
              <a:t>Click to edit Master title style</a:t>
            </a:r>
          </a:p>
        </p:txBody>
      </p:sp>
      <p:sp>
        <p:nvSpPr>
          <p:cNvPr id="389128" name="Rectangle 8"/>
          <p:cNvSpPr>
            <a:spLocks noGrp="1" noChangeArrowheads="1"/>
          </p:cNvSpPr>
          <p:nvPr>
            <p:ph type="subTitle" idx="1"/>
          </p:nvPr>
        </p:nvSpPr>
        <p:spPr>
          <a:xfrm>
            <a:off x="527052" y="2952750"/>
            <a:ext cx="11135783" cy="33559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ct val="0"/>
              </a:spcAft>
              <a:buFontTx/>
              <a:buNone/>
              <a:defRPr sz="2399">
                <a:solidFill>
                  <a:schemeClr val="bg2"/>
                </a:solidFill>
              </a:defRPr>
            </a:lvl1pPr>
          </a:lstStyle>
          <a:p>
            <a:pPr lvl="0"/>
            <a:r>
              <a:rPr lang="en-US" altLang="en-US" noProof="0" smtClean="0"/>
              <a:t>Click to edit Master subtitle style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dt" sz="quarter" idx="10"/>
          </p:nvPr>
        </p:nvSpPr>
        <p:spPr bwMode="auto">
          <a:xfrm>
            <a:off x="6098117" y="6704013"/>
            <a:ext cx="2844800" cy="15081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eaLnBrk="1" hangingPunct="1">
              <a:defRPr sz="900" smtClean="0"/>
            </a:lvl1pPr>
          </a:lstStyle>
          <a:p>
            <a:pPr>
              <a:defRPr/>
            </a:pPr>
            <a:fld id="{5A05CA49-9B1B-4B1A-AA38-FAD064CDB4B3}" type="datetime1">
              <a:rPr lang="en-US" altLang="en-US"/>
              <a:pPr>
                <a:defRPr/>
              </a:pPr>
              <a:t>10/2/2019</a:t>
            </a:fld>
            <a:endParaRPr lang="en-US" altLang="en-US"/>
          </a:p>
        </p:txBody>
      </p:sp>
      <p:sp>
        <p:nvSpPr>
          <p:cNvPr id="8" name="Rectangle 3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9268885" y="6704013"/>
            <a:ext cx="2393949" cy="150812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9BFB372B-1E84-4563-96EE-4CE5780A0482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232132954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150DBCA-D81B-43F5-B652-574CA0779DF0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5" name="Rectangle 12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cbFC -  Rollout_TestConcept.ppt  - DMS #</a:t>
            </a:r>
          </a:p>
        </p:txBody>
      </p:sp>
    </p:spTree>
    <p:extLst>
      <p:ext uri="{BB962C8B-B14F-4D97-AF65-F5344CB8AC3E}">
        <p14:creationId xmlns:p14="http://schemas.microsoft.com/office/powerpoint/2010/main" val="4037156265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3741929"/>
            <a:ext cx="10515600" cy="820548"/>
          </a:xfrm>
        </p:spPr>
        <p:txBody>
          <a:bodyPr anchor="b"/>
          <a:lstStyle>
            <a:lvl1pPr>
              <a:defRPr sz="5998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63"/>
            <a:ext cx="10515600" cy="1500187"/>
          </a:xfrm>
        </p:spPr>
        <p:txBody>
          <a:bodyPr/>
          <a:lstStyle>
            <a:lvl1pPr marL="0" indent="0">
              <a:buNone/>
              <a:defRPr sz="2399"/>
            </a:lvl1pPr>
            <a:lvl2pPr marL="457062" indent="0">
              <a:buNone/>
              <a:defRPr sz="1999"/>
            </a:lvl2pPr>
            <a:lvl3pPr marL="914126" indent="0">
              <a:buNone/>
              <a:defRPr sz="1799"/>
            </a:lvl3pPr>
            <a:lvl4pPr marL="1371188" indent="0">
              <a:buNone/>
              <a:defRPr sz="1599"/>
            </a:lvl4pPr>
            <a:lvl5pPr marL="1828251" indent="0">
              <a:buNone/>
              <a:defRPr sz="1599"/>
            </a:lvl5pPr>
            <a:lvl6pPr marL="2285314" indent="0">
              <a:buNone/>
              <a:defRPr sz="1599"/>
            </a:lvl6pPr>
            <a:lvl7pPr marL="2742377" indent="0">
              <a:buNone/>
              <a:defRPr sz="1599"/>
            </a:lvl7pPr>
            <a:lvl8pPr marL="3199439" indent="0">
              <a:buNone/>
              <a:defRPr sz="1599"/>
            </a:lvl8pPr>
            <a:lvl9pPr marL="3656503" indent="0">
              <a:buNone/>
              <a:defRPr sz="1599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61E761D-F561-4CCD-BD81-77B6F2D6A465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5" name="Rectangle 12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cbFC -  Rollout_TestConcept.ppt  - DMS #</a:t>
            </a:r>
          </a:p>
        </p:txBody>
      </p:sp>
    </p:spTree>
    <p:extLst>
      <p:ext uri="{BB962C8B-B14F-4D97-AF65-F5344CB8AC3E}">
        <p14:creationId xmlns:p14="http://schemas.microsoft.com/office/powerpoint/2010/main" val="4167369146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27051" y="1543050"/>
            <a:ext cx="5467349" cy="49101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1" y="1543050"/>
            <a:ext cx="5467350" cy="49101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956A467-7E30-4E6E-BFC4-1AD63F1368CB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6" name="Rectangle 12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cbFC -  Rollout_TestConcept.ppt  - DMS #</a:t>
            </a:r>
          </a:p>
        </p:txBody>
      </p:sp>
    </p:spTree>
    <p:extLst>
      <p:ext uri="{BB962C8B-B14F-4D97-AF65-F5344CB8AC3E}">
        <p14:creationId xmlns:p14="http://schemas.microsoft.com/office/powerpoint/2010/main" val="1680079980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0318" y="365125"/>
            <a:ext cx="10515600" cy="82054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0318" y="1681163"/>
            <a:ext cx="5158316" cy="823912"/>
          </a:xfrm>
        </p:spPr>
        <p:txBody>
          <a:bodyPr anchor="b"/>
          <a:lstStyle>
            <a:lvl1pPr marL="0" indent="0">
              <a:buNone/>
              <a:defRPr sz="2399" b="1"/>
            </a:lvl1pPr>
            <a:lvl2pPr marL="457062" indent="0">
              <a:buNone/>
              <a:defRPr sz="1999" b="1"/>
            </a:lvl2pPr>
            <a:lvl3pPr marL="914126" indent="0">
              <a:buNone/>
              <a:defRPr sz="1799" b="1"/>
            </a:lvl3pPr>
            <a:lvl4pPr marL="1371188" indent="0">
              <a:buNone/>
              <a:defRPr sz="1599" b="1"/>
            </a:lvl4pPr>
            <a:lvl5pPr marL="1828251" indent="0">
              <a:buNone/>
              <a:defRPr sz="1599" b="1"/>
            </a:lvl5pPr>
            <a:lvl6pPr marL="2285314" indent="0">
              <a:buNone/>
              <a:defRPr sz="1599" b="1"/>
            </a:lvl6pPr>
            <a:lvl7pPr marL="2742377" indent="0">
              <a:buNone/>
              <a:defRPr sz="1599" b="1"/>
            </a:lvl7pPr>
            <a:lvl8pPr marL="3199439" indent="0">
              <a:buNone/>
              <a:defRPr sz="1599" b="1"/>
            </a:lvl8pPr>
            <a:lvl9pPr marL="3656503" indent="0">
              <a:buNone/>
              <a:defRPr sz="1599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40318" y="2505075"/>
            <a:ext cx="5158316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717" cy="823912"/>
          </a:xfrm>
        </p:spPr>
        <p:txBody>
          <a:bodyPr anchor="b"/>
          <a:lstStyle>
            <a:lvl1pPr marL="0" indent="0">
              <a:buNone/>
              <a:defRPr sz="2399" b="1"/>
            </a:lvl1pPr>
            <a:lvl2pPr marL="457062" indent="0">
              <a:buNone/>
              <a:defRPr sz="1999" b="1"/>
            </a:lvl2pPr>
            <a:lvl3pPr marL="914126" indent="0">
              <a:buNone/>
              <a:defRPr sz="1799" b="1"/>
            </a:lvl3pPr>
            <a:lvl4pPr marL="1371188" indent="0">
              <a:buNone/>
              <a:defRPr sz="1599" b="1"/>
            </a:lvl4pPr>
            <a:lvl5pPr marL="1828251" indent="0">
              <a:buNone/>
              <a:defRPr sz="1599" b="1"/>
            </a:lvl5pPr>
            <a:lvl6pPr marL="2285314" indent="0">
              <a:buNone/>
              <a:defRPr sz="1599" b="1"/>
            </a:lvl6pPr>
            <a:lvl7pPr marL="2742377" indent="0">
              <a:buNone/>
              <a:defRPr sz="1599" b="1"/>
            </a:lvl7pPr>
            <a:lvl8pPr marL="3199439" indent="0">
              <a:buNone/>
              <a:defRPr sz="1599" b="1"/>
            </a:lvl8pPr>
            <a:lvl9pPr marL="3656503" indent="0">
              <a:buNone/>
              <a:defRPr sz="1599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717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30C5392-95CA-4790-BB7A-9743A9EA58E8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8" name="Rectangle 12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cbFC -  Rollout_TestConcept.ppt  - DMS #</a:t>
            </a:r>
          </a:p>
        </p:txBody>
      </p:sp>
    </p:spTree>
    <p:extLst>
      <p:ext uri="{BB962C8B-B14F-4D97-AF65-F5344CB8AC3E}">
        <p14:creationId xmlns:p14="http://schemas.microsoft.com/office/powerpoint/2010/main" val="2932386344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7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BE65C70-3C00-40A4-A508-315E04AED17F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4" name="Rectangle 12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cbFC -  Rollout_TestConcept.ppt  - DMS #</a:t>
            </a:r>
          </a:p>
        </p:txBody>
      </p:sp>
    </p:spTree>
    <p:extLst>
      <p:ext uri="{BB962C8B-B14F-4D97-AF65-F5344CB8AC3E}">
        <p14:creationId xmlns:p14="http://schemas.microsoft.com/office/powerpoint/2010/main" val="3511294587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3A77C9D-87E9-4F23-AD69-06DBC552D082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3" name="Rectangle 12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cbFC -  Rollout_TestConcept.ppt  - DMS #</a:t>
            </a:r>
          </a:p>
        </p:txBody>
      </p:sp>
    </p:spTree>
    <p:extLst>
      <p:ext uri="{BB962C8B-B14F-4D97-AF65-F5344CB8AC3E}">
        <p14:creationId xmlns:p14="http://schemas.microsoft.com/office/powerpoint/2010/main" val="1950449500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0319" y="852222"/>
            <a:ext cx="3932767" cy="1205179"/>
          </a:xfrm>
        </p:spPr>
        <p:txBody>
          <a:bodyPr anchor="b"/>
          <a:lstStyle>
            <a:lvl1pPr>
              <a:defRPr sz="3199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718" y="987426"/>
            <a:ext cx="6172200" cy="4873625"/>
          </a:xfrm>
        </p:spPr>
        <p:txBody>
          <a:bodyPr/>
          <a:lstStyle>
            <a:lvl1pPr>
              <a:defRPr sz="3199"/>
            </a:lvl1pPr>
            <a:lvl2pPr>
              <a:defRPr sz="2800"/>
            </a:lvl2pPr>
            <a:lvl3pPr>
              <a:defRPr sz="2399"/>
            </a:lvl3pPr>
            <a:lvl4pPr>
              <a:defRPr sz="1999"/>
            </a:lvl4pPr>
            <a:lvl5pPr>
              <a:defRPr sz="1999"/>
            </a:lvl5pPr>
            <a:lvl6pPr>
              <a:defRPr sz="1999"/>
            </a:lvl6pPr>
            <a:lvl7pPr>
              <a:defRPr sz="1999"/>
            </a:lvl7pPr>
            <a:lvl8pPr>
              <a:defRPr sz="1999"/>
            </a:lvl8pPr>
            <a:lvl9pPr>
              <a:defRPr sz="1999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0319" y="2057400"/>
            <a:ext cx="3932767" cy="3811588"/>
          </a:xfrm>
        </p:spPr>
        <p:txBody>
          <a:bodyPr/>
          <a:lstStyle>
            <a:lvl1pPr marL="0" indent="0">
              <a:buNone/>
              <a:defRPr sz="1599"/>
            </a:lvl1pPr>
            <a:lvl2pPr marL="457062" indent="0">
              <a:buNone/>
              <a:defRPr sz="1399"/>
            </a:lvl2pPr>
            <a:lvl3pPr marL="914126" indent="0">
              <a:buNone/>
              <a:defRPr sz="1199"/>
            </a:lvl3pPr>
            <a:lvl4pPr marL="1371188" indent="0">
              <a:buNone/>
              <a:defRPr sz="999"/>
            </a:lvl4pPr>
            <a:lvl5pPr marL="1828251" indent="0">
              <a:buNone/>
              <a:defRPr sz="999"/>
            </a:lvl5pPr>
            <a:lvl6pPr marL="2285314" indent="0">
              <a:buNone/>
              <a:defRPr sz="999"/>
            </a:lvl6pPr>
            <a:lvl7pPr marL="2742377" indent="0">
              <a:buNone/>
              <a:defRPr sz="999"/>
            </a:lvl7pPr>
            <a:lvl8pPr marL="3199439" indent="0">
              <a:buNone/>
              <a:defRPr sz="999"/>
            </a:lvl8pPr>
            <a:lvl9pPr marL="3656503" indent="0">
              <a:buNone/>
              <a:defRPr sz="999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3BD5378-3B2B-4405-ADC4-52990E985C9F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6" name="Rectangle 12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cbFC -  Rollout_TestConcept.ppt  - DMS #</a:t>
            </a:r>
          </a:p>
        </p:txBody>
      </p:sp>
    </p:spTree>
    <p:extLst>
      <p:ext uri="{BB962C8B-B14F-4D97-AF65-F5344CB8AC3E}">
        <p14:creationId xmlns:p14="http://schemas.microsoft.com/office/powerpoint/2010/main" val="4144414926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0319" y="852222"/>
            <a:ext cx="3932767" cy="1205179"/>
          </a:xfrm>
        </p:spPr>
        <p:txBody>
          <a:bodyPr anchor="b"/>
          <a:lstStyle>
            <a:lvl1pPr>
              <a:defRPr sz="3199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718" y="987426"/>
            <a:ext cx="6172200" cy="4873625"/>
          </a:xfrm>
        </p:spPr>
        <p:txBody>
          <a:bodyPr/>
          <a:lstStyle>
            <a:lvl1pPr marL="0" indent="0">
              <a:buNone/>
              <a:defRPr sz="3199"/>
            </a:lvl1pPr>
            <a:lvl2pPr marL="457062" indent="0">
              <a:buNone/>
              <a:defRPr sz="2800"/>
            </a:lvl2pPr>
            <a:lvl3pPr marL="914126" indent="0">
              <a:buNone/>
              <a:defRPr sz="2399"/>
            </a:lvl3pPr>
            <a:lvl4pPr marL="1371188" indent="0">
              <a:buNone/>
              <a:defRPr sz="1999"/>
            </a:lvl4pPr>
            <a:lvl5pPr marL="1828251" indent="0">
              <a:buNone/>
              <a:defRPr sz="1999"/>
            </a:lvl5pPr>
            <a:lvl6pPr marL="2285314" indent="0">
              <a:buNone/>
              <a:defRPr sz="1999"/>
            </a:lvl6pPr>
            <a:lvl7pPr marL="2742377" indent="0">
              <a:buNone/>
              <a:defRPr sz="1999"/>
            </a:lvl7pPr>
            <a:lvl8pPr marL="3199439" indent="0">
              <a:buNone/>
              <a:defRPr sz="1999"/>
            </a:lvl8pPr>
            <a:lvl9pPr marL="3656503" indent="0">
              <a:buNone/>
              <a:defRPr sz="1999"/>
            </a:lvl9pPr>
          </a:lstStyle>
          <a:p>
            <a:pPr lvl="0"/>
            <a:r>
              <a:rPr lang="en-US" noProof="0" smtClean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0319" y="2057400"/>
            <a:ext cx="3932767" cy="3811588"/>
          </a:xfrm>
        </p:spPr>
        <p:txBody>
          <a:bodyPr/>
          <a:lstStyle>
            <a:lvl1pPr marL="0" indent="0">
              <a:buNone/>
              <a:defRPr sz="1599"/>
            </a:lvl1pPr>
            <a:lvl2pPr marL="457062" indent="0">
              <a:buNone/>
              <a:defRPr sz="1399"/>
            </a:lvl2pPr>
            <a:lvl3pPr marL="914126" indent="0">
              <a:buNone/>
              <a:defRPr sz="1199"/>
            </a:lvl3pPr>
            <a:lvl4pPr marL="1371188" indent="0">
              <a:buNone/>
              <a:defRPr sz="999"/>
            </a:lvl4pPr>
            <a:lvl5pPr marL="1828251" indent="0">
              <a:buNone/>
              <a:defRPr sz="999"/>
            </a:lvl5pPr>
            <a:lvl6pPr marL="2285314" indent="0">
              <a:buNone/>
              <a:defRPr sz="999"/>
            </a:lvl6pPr>
            <a:lvl7pPr marL="2742377" indent="0">
              <a:buNone/>
              <a:defRPr sz="999"/>
            </a:lvl7pPr>
            <a:lvl8pPr marL="3199439" indent="0">
              <a:buNone/>
              <a:defRPr sz="999"/>
            </a:lvl8pPr>
            <a:lvl9pPr marL="3656503" indent="0">
              <a:buNone/>
              <a:defRPr sz="999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E0697BC-DBD3-40E8-A0B8-1D66AA0EFEB1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6" name="Rectangle 12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cbFC -  Rollout_TestConcept.ppt  - DMS #</a:t>
            </a:r>
          </a:p>
        </p:txBody>
      </p:sp>
    </p:spTree>
    <p:extLst>
      <p:ext uri="{BB962C8B-B14F-4D97-AF65-F5344CB8AC3E}">
        <p14:creationId xmlns:p14="http://schemas.microsoft.com/office/powerpoint/2010/main" val="986553643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5DDC827-E674-49AC-9DE1-9A38CC9B5EF6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5" name="Rectangle 12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cbFC -  Rollout_TestConcept.ppt  - DMS #</a:t>
            </a:r>
          </a:p>
        </p:txBody>
      </p:sp>
    </p:spTree>
    <p:extLst>
      <p:ext uri="{BB962C8B-B14F-4D97-AF65-F5344CB8AC3E}">
        <p14:creationId xmlns:p14="http://schemas.microsoft.com/office/powerpoint/2010/main" val="26469873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ext/ image/ Headline 2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Regieanweisungen"/>
          <p:cNvGrpSpPr/>
          <p:nvPr/>
        </p:nvGrpSpPr>
        <p:grpSpPr>
          <a:xfrm>
            <a:off x="-2086913" y="-467892"/>
            <a:ext cx="13647691" cy="7792196"/>
            <a:chOff x="-2088000" y="-468000"/>
            <a:chExt cx="13654799" cy="7794000"/>
          </a:xfrm>
        </p:grpSpPr>
        <p:sp>
          <p:nvSpPr>
            <p:cNvPr id="22" name="Hilfslinien"/>
            <p:cNvSpPr txBox="1"/>
            <p:nvPr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99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how guides via menu bar: View // Show // tick Guides</a:t>
              </a:r>
            </a:p>
          </p:txBody>
        </p:sp>
        <p:sp>
          <p:nvSpPr>
            <p:cNvPr id="23" name="Fußzeile"/>
            <p:cNvSpPr txBox="1"/>
            <p:nvPr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1042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099" b="0" baseline="0" dirty="0" smtClean="0">
                  <a:solidFill>
                    <a:schemeClr val="accent5"/>
                  </a:solidFill>
                  <a:latin typeface="+mn-lt"/>
                </a:rPr>
                <a:t>Adjust footer (per slide or for several/all slides) via menu bar: Insert // Text // Header &amp; Footer</a:t>
              </a:r>
            </a:p>
          </p:txBody>
        </p:sp>
        <p:grpSp>
          <p:nvGrpSpPr>
            <p:cNvPr id="24" name="Hinweise links"/>
            <p:cNvGrpSpPr/>
            <p:nvPr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25" name="Folie Wechsel/Zurücksetzen/Textebenen"/>
              <p:cNvSpPr txBox="1"/>
              <p:nvPr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Reset the slide back to its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original form 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Slides // Rese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099" b="0" baseline="0" noProof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Change the slide layout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Slides // Layou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099" b="0" baseline="0" noProof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Change the text level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via menu bar: </a:t>
                </a:r>
                <a:b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</a:b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Paragraph // Increase/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Decrease List Level</a:t>
                </a:r>
              </a:p>
            </p:txBody>
          </p:sp>
          <p:grpSp>
            <p:nvGrpSpPr>
              <p:cNvPr id="26" name="Listenebenen"/>
              <p:cNvGrpSpPr/>
              <p:nvPr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27" name="Text // Listenebene erhöhen"/>
                <p:cNvSpPr txBox="1"/>
                <p:nvPr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38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999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Increase</a:t>
                  </a:r>
                </a:p>
                <a:p>
                  <a:pPr marL="0" marR="0" lvl="0" indent="0" algn="r" defTabSz="9138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999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sp>
              <p:nvSpPr>
                <p:cNvPr id="28" name="Text // Listenebene verringern"/>
                <p:cNvSpPr txBox="1"/>
                <p:nvPr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38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999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Decrease </a:t>
                  </a:r>
                </a:p>
                <a:p>
                  <a:pPr marL="0" marR="0" lvl="0" indent="0" algn="r" defTabSz="9138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999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pic>
              <p:nvPicPr>
                <p:cNvPr id="29" name="Listenebene erhöhen"/>
                <p:cNvPicPr>
                  <a:picLocks noChangeAspect="1"/>
                </p:cNvPicPr>
                <p:nvPr/>
              </p:nvPicPr>
              <p:blipFill>
                <a:blip r:embed="rId2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30" name="Listenebene verringern"/>
                <p:cNvPicPr>
                  <a:picLocks noChangeAspect="1"/>
                </p:cNvPicPr>
                <p:nvPr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10" name="Daimler AG (Wortmarke)"/>
          <p:cNvSpPr>
            <a:spLocks noChangeArrowheads="1"/>
          </p:cNvSpPr>
          <p:nvPr/>
        </p:nvSpPr>
        <p:spPr bwMode="auto">
          <a:xfrm>
            <a:off x="629672" y="6564880"/>
            <a:ext cx="2086913" cy="2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r>
              <a:rPr lang="en-GB" sz="1199" dirty="0" smtClean="0">
                <a:latin typeface="+mn-lt"/>
                <a:cs typeface="Daimler CS"/>
              </a:rPr>
              <a:t>Daimler AG</a:t>
            </a:r>
            <a:endParaRPr lang="en-GB" sz="1199" dirty="0">
              <a:latin typeface="+mn-lt"/>
              <a:cs typeface="Daimler 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Headline in CorpoS (Body) 35 pt.</a:t>
            </a:r>
            <a:br>
              <a:rPr lang="en-GB" noProof="0" dirty="0" smtClean="0"/>
            </a:br>
            <a:r>
              <a:rPr lang="en-GB" noProof="0" dirty="0" smtClean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7178478-C14F-4056-BC7B-D4A0322B8D6E}" type="slidenum">
              <a:rPr lang="en-US" smtClean="0"/>
              <a:t>‹#›</a:t>
            </a:fld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629909" y="1504602"/>
            <a:ext cx="10930594" cy="4983236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noProof="0" dirty="0" smtClean="0"/>
              <a:t>Insert content or text in </a:t>
            </a:r>
            <a:r>
              <a:rPr lang="en-GB" noProof="0" dirty="0" err="1" smtClean="0"/>
              <a:t>Corpo</a:t>
            </a:r>
            <a:r>
              <a:rPr lang="en-GB" noProof="0" dirty="0" smtClean="0"/>
              <a:t> S (Body) 24 pt. (Mark-ups in Bold) // for conclusion, summary or short highlight: Home // Paragraph// Increase List Level</a:t>
            </a:r>
          </a:p>
          <a:p>
            <a:pPr lvl="1"/>
            <a:r>
              <a:rPr lang="en-GB" noProof="0" dirty="0" smtClean="0"/>
              <a:t>Second level (Conclusion, summary or short highlight)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</a:p>
          <a:p>
            <a:pPr lvl="5"/>
            <a:r>
              <a:rPr lang="en-GB" noProof="0" dirty="0" smtClean="0"/>
              <a:t>Sixth level</a:t>
            </a:r>
          </a:p>
          <a:p>
            <a:pPr lvl="6"/>
            <a:r>
              <a:rPr lang="en-GB" noProof="0" dirty="0" smtClean="0"/>
              <a:t>Sevens level</a:t>
            </a:r>
          </a:p>
          <a:p>
            <a:pPr lvl="7"/>
            <a:r>
              <a:rPr lang="en-GB" noProof="0" dirty="0" smtClean="0"/>
              <a:t>Eight level</a:t>
            </a:r>
          </a:p>
          <a:p>
            <a:pPr lvl="8"/>
            <a:r>
              <a:rPr lang="en-GB" noProof="0" dirty="0" smtClean="0"/>
              <a:t>Ninth level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29909" y="1504602"/>
            <a:ext cx="10930593" cy="4983236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70740276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  <p15:guide id="3" orient="horz" pos="950">
          <p15:clr>
            <a:srgbClr val="FBAE40"/>
          </p15:clr>
        </p15:guide>
      </p15:sldGuideLst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280231" y="730250"/>
            <a:ext cx="384721" cy="57229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27050" y="730250"/>
            <a:ext cx="8151283" cy="5722938"/>
          </a:xfrm>
        </p:spPr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1D8382C-86E0-4A81-85CF-F9E7316C3A3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5" name="Rectangle 12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cbFC -  Rollout_TestConcept.ppt  - DMS #</a:t>
            </a:r>
          </a:p>
        </p:txBody>
      </p:sp>
    </p:spTree>
    <p:extLst>
      <p:ext uri="{BB962C8B-B14F-4D97-AF65-F5344CB8AC3E}">
        <p14:creationId xmlns:p14="http://schemas.microsoft.com/office/powerpoint/2010/main" val="673956855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7052" y="730250"/>
            <a:ext cx="11137900" cy="812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27051" y="1543050"/>
            <a:ext cx="5467349" cy="49101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1" y="1543050"/>
            <a:ext cx="5467350" cy="49101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EF20CD8-08D0-4189-BF2B-2234E0C1D63C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6" name="Rectangle 12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cbFC -  Rollout_TestConcept.ppt  - DMS #</a:t>
            </a:r>
          </a:p>
        </p:txBody>
      </p:sp>
    </p:spTree>
    <p:extLst>
      <p:ext uri="{BB962C8B-B14F-4D97-AF65-F5344CB8AC3E}">
        <p14:creationId xmlns:p14="http://schemas.microsoft.com/office/powerpoint/2010/main" val="4207739850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527052" y="730250"/>
            <a:ext cx="11137900" cy="812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527051" y="1543051"/>
            <a:ext cx="5467349" cy="2378075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6197601" y="1543051"/>
            <a:ext cx="5467350" cy="2378075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527051" y="4073526"/>
            <a:ext cx="5467349" cy="2379663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7601" y="4073526"/>
            <a:ext cx="5467350" cy="2379663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DB00D91-81A0-4B2E-9284-84E8307FB9C1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8" name="Rectangle 12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cbFC -  Rollout_TestConcept.ppt  - DMS #</a:t>
            </a:r>
          </a:p>
        </p:txBody>
      </p:sp>
    </p:spTree>
    <p:extLst>
      <p:ext uri="{BB962C8B-B14F-4D97-AF65-F5344CB8AC3E}">
        <p14:creationId xmlns:p14="http://schemas.microsoft.com/office/powerpoint/2010/main" val="2927829721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7052" y="730250"/>
            <a:ext cx="11137900" cy="812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527052" y="1543050"/>
            <a:ext cx="11137900" cy="4910138"/>
          </a:xfrm>
        </p:spPr>
        <p:txBody>
          <a:bodyPr/>
          <a:lstStyle/>
          <a:p>
            <a:pPr lvl="0"/>
            <a:r>
              <a:rPr lang="en-US" noProof="0" smtClean="0"/>
              <a:t>Click icon to add table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BB627E1-F9B5-4673-9FA7-2D956411F6F0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5" name="Rectangle 12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cbFC -  Rollout_TestConcept.ppt  - DMS #</a:t>
            </a:r>
          </a:p>
        </p:txBody>
      </p:sp>
    </p:spTree>
    <p:extLst>
      <p:ext uri="{BB962C8B-B14F-4D97-AF65-F5344CB8AC3E}">
        <p14:creationId xmlns:p14="http://schemas.microsoft.com/office/powerpoint/2010/main" val="1207132628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, Conten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7052" y="730250"/>
            <a:ext cx="11137900" cy="812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27051" y="1543050"/>
            <a:ext cx="5467349" cy="49101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6197601" y="1543051"/>
            <a:ext cx="5467350" cy="2378075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6197601" y="4073526"/>
            <a:ext cx="5467350" cy="2379663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2DEAC9B-C468-4C21-838D-97B165099E48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7" name="Rectangle 12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cbFC -  Rollout_TestConcept.ppt  - DMS #</a:t>
            </a:r>
          </a:p>
        </p:txBody>
      </p:sp>
    </p:spTree>
    <p:extLst>
      <p:ext uri="{BB962C8B-B14F-4D97-AF65-F5344CB8AC3E}">
        <p14:creationId xmlns:p14="http://schemas.microsoft.com/office/powerpoint/2010/main" val="3798081302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794" y="1122104"/>
            <a:ext cx="9144000" cy="2388634"/>
          </a:xfrm>
        </p:spPr>
        <p:txBody>
          <a:bodyPr anchor="b"/>
          <a:lstStyle>
            <a:lvl1pPr algn="ctr">
              <a:defRPr sz="5997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794" y="3602791"/>
            <a:ext cx="9144000" cy="1655380"/>
          </a:xfrm>
        </p:spPr>
        <p:txBody>
          <a:bodyPr/>
          <a:lstStyle>
            <a:lvl1pPr marL="0" indent="0" algn="ctr">
              <a:buNone/>
              <a:defRPr sz="2399"/>
            </a:lvl1pPr>
            <a:lvl2pPr marL="456971" indent="0" algn="ctr">
              <a:buNone/>
              <a:defRPr sz="1999"/>
            </a:lvl2pPr>
            <a:lvl3pPr marL="913943" indent="0" algn="ctr">
              <a:buNone/>
              <a:defRPr sz="1799"/>
            </a:lvl3pPr>
            <a:lvl4pPr marL="1370914" indent="0" algn="ctr">
              <a:buNone/>
              <a:defRPr sz="1599"/>
            </a:lvl4pPr>
            <a:lvl5pPr marL="1827886" indent="0" algn="ctr">
              <a:buNone/>
              <a:defRPr sz="1599"/>
            </a:lvl5pPr>
            <a:lvl6pPr marL="2284857" indent="0" algn="ctr">
              <a:buNone/>
              <a:defRPr sz="1599"/>
            </a:lvl6pPr>
            <a:lvl7pPr marL="2741828" indent="0" algn="ctr">
              <a:buNone/>
              <a:defRPr sz="1599"/>
            </a:lvl7pPr>
            <a:lvl8pPr marL="3198800" indent="0" algn="ctr">
              <a:buNone/>
              <a:defRPr sz="1599"/>
            </a:lvl8pPr>
            <a:lvl9pPr marL="3655771" indent="0" algn="ctr">
              <a:buNone/>
              <a:defRPr sz="1599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5BBD76-BCAD-44A4-8B9A-163664423135}" type="datetimeFigureOut">
              <a:rPr lang="en-US" smtClean="0"/>
              <a:t>10/2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B2E890-DB2E-438F-ACCC-2590BA764B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9086701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5BBD76-BCAD-44A4-8B9A-163664423135}" type="datetimeFigureOut">
              <a:rPr lang="en-US" smtClean="0"/>
              <a:t>10/2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B2E890-DB2E-438F-ACCC-2590BA764B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6292457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417" y="1709343"/>
            <a:ext cx="10516473" cy="2853664"/>
          </a:xfrm>
        </p:spPr>
        <p:txBody>
          <a:bodyPr anchor="b"/>
          <a:lstStyle>
            <a:lvl1pPr>
              <a:defRPr sz="5997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417" y="4589987"/>
            <a:ext cx="10516473" cy="1499841"/>
          </a:xfrm>
        </p:spPr>
        <p:txBody>
          <a:bodyPr/>
          <a:lstStyle>
            <a:lvl1pPr marL="0" indent="0">
              <a:buNone/>
              <a:defRPr sz="2399">
                <a:solidFill>
                  <a:schemeClr val="tx1">
                    <a:tint val="75000"/>
                  </a:schemeClr>
                </a:solidFill>
              </a:defRPr>
            </a:lvl1pPr>
            <a:lvl2pPr marL="456971" indent="0">
              <a:buNone/>
              <a:defRPr sz="1999">
                <a:solidFill>
                  <a:schemeClr val="tx1">
                    <a:tint val="75000"/>
                  </a:schemeClr>
                </a:solidFill>
              </a:defRPr>
            </a:lvl2pPr>
            <a:lvl3pPr marL="913943" indent="0">
              <a:buNone/>
              <a:defRPr sz="1799">
                <a:solidFill>
                  <a:schemeClr val="tx1">
                    <a:tint val="75000"/>
                  </a:schemeClr>
                </a:solidFill>
              </a:defRPr>
            </a:lvl3pPr>
            <a:lvl4pPr marL="1370914" indent="0">
              <a:buNone/>
              <a:defRPr sz="1599">
                <a:solidFill>
                  <a:schemeClr val="tx1">
                    <a:tint val="75000"/>
                  </a:schemeClr>
                </a:solidFill>
              </a:defRPr>
            </a:lvl4pPr>
            <a:lvl5pPr marL="1827886" indent="0">
              <a:buNone/>
              <a:defRPr sz="1599">
                <a:solidFill>
                  <a:schemeClr val="tx1">
                    <a:tint val="75000"/>
                  </a:schemeClr>
                </a:solidFill>
              </a:defRPr>
            </a:lvl5pPr>
            <a:lvl6pPr marL="2284857" indent="0">
              <a:buNone/>
              <a:defRPr sz="1599">
                <a:solidFill>
                  <a:schemeClr val="tx1">
                    <a:tint val="75000"/>
                  </a:schemeClr>
                </a:solidFill>
              </a:defRPr>
            </a:lvl6pPr>
            <a:lvl7pPr marL="2741828" indent="0">
              <a:buNone/>
              <a:defRPr sz="1599">
                <a:solidFill>
                  <a:schemeClr val="tx1">
                    <a:tint val="75000"/>
                  </a:schemeClr>
                </a:solidFill>
              </a:defRPr>
            </a:lvl7pPr>
            <a:lvl8pPr marL="3198800" indent="0">
              <a:buNone/>
              <a:defRPr sz="1599">
                <a:solidFill>
                  <a:schemeClr val="tx1">
                    <a:tint val="75000"/>
                  </a:schemeClr>
                </a:solidFill>
              </a:defRPr>
            </a:lvl8pPr>
            <a:lvl9pPr marL="3655771" indent="0">
              <a:buNone/>
              <a:defRPr sz="1599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5BBD76-BCAD-44A4-8B9A-163664423135}" type="datetimeFigureOut">
              <a:rPr lang="en-US" smtClean="0"/>
              <a:t>10/2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B2E890-DB2E-438F-ACCC-2590BA764B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2576310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7764" y="1825203"/>
            <a:ext cx="5182076" cy="4351917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161" y="1825203"/>
            <a:ext cx="5182076" cy="4351917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5BBD76-BCAD-44A4-8B9A-163664423135}" type="datetimeFigureOut">
              <a:rPr lang="en-US" smtClean="0"/>
              <a:t>10/2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B2E890-DB2E-438F-ACCC-2590BA764B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5964236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351" y="365041"/>
            <a:ext cx="10516473" cy="1325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351" y="1680774"/>
            <a:ext cx="5158275" cy="823721"/>
          </a:xfrm>
        </p:spPr>
        <p:txBody>
          <a:bodyPr anchor="b"/>
          <a:lstStyle>
            <a:lvl1pPr marL="0" indent="0">
              <a:buNone/>
              <a:defRPr sz="2399" b="1"/>
            </a:lvl1pPr>
            <a:lvl2pPr marL="456971" indent="0">
              <a:buNone/>
              <a:defRPr sz="1999" b="1"/>
            </a:lvl2pPr>
            <a:lvl3pPr marL="913943" indent="0">
              <a:buNone/>
              <a:defRPr sz="1799" b="1"/>
            </a:lvl3pPr>
            <a:lvl4pPr marL="1370914" indent="0">
              <a:buNone/>
              <a:defRPr sz="1599" b="1"/>
            </a:lvl4pPr>
            <a:lvl5pPr marL="1827886" indent="0">
              <a:buNone/>
              <a:defRPr sz="1599" b="1"/>
            </a:lvl5pPr>
            <a:lvl6pPr marL="2284857" indent="0">
              <a:buNone/>
              <a:defRPr sz="1599" b="1"/>
            </a:lvl6pPr>
            <a:lvl7pPr marL="2741828" indent="0">
              <a:buNone/>
              <a:defRPr sz="1599" b="1"/>
            </a:lvl7pPr>
            <a:lvl8pPr marL="3198800" indent="0">
              <a:buNone/>
              <a:defRPr sz="1599" b="1"/>
            </a:lvl8pPr>
            <a:lvl9pPr marL="3655771" indent="0">
              <a:buNone/>
              <a:defRPr sz="1599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351" y="2504495"/>
            <a:ext cx="5158275" cy="3685322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161" y="1680774"/>
            <a:ext cx="5183663" cy="823721"/>
          </a:xfrm>
        </p:spPr>
        <p:txBody>
          <a:bodyPr anchor="b"/>
          <a:lstStyle>
            <a:lvl1pPr marL="0" indent="0">
              <a:buNone/>
              <a:defRPr sz="2399" b="1"/>
            </a:lvl1pPr>
            <a:lvl2pPr marL="456971" indent="0">
              <a:buNone/>
              <a:defRPr sz="1999" b="1"/>
            </a:lvl2pPr>
            <a:lvl3pPr marL="913943" indent="0">
              <a:buNone/>
              <a:defRPr sz="1799" b="1"/>
            </a:lvl3pPr>
            <a:lvl4pPr marL="1370914" indent="0">
              <a:buNone/>
              <a:defRPr sz="1599" b="1"/>
            </a:lvl4pPr>
            <a:lvl5pPr marL="1827886" indent="0">
              <a:buNone/>
              <a:defRPr sz="1599" b="1"/>
            </a:lvl5pPr>
            <a:lvl6pPr marL="2284857" indent="0">
              <a:buNone/>
              <a:defRPr sz="1599" b="1"/>
            </a:lvl6pPr>
            <a:lvl7pPr marL="2741828" indent="0">
              <a:buNone/>
              <a:defRPr sz="1599" b="1"/>
            </a:lvl7pPr>
            <a:lvl8pPr marL="3198800" indent="0">
              <a:buNone/>
              <a:defRPr sz="1599" b="1"/>
            </a:lvl8pPr>
            <a:lvl9pPr marL="3655771" indent="0">
              <a:buNone/>
              <a:defRPr sz="1599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161" y="2504495"/>
            <a:ext cx="5183663" cy="3685322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5BBD76-BCAD-44A4-8B9A-163664423135}" type="datetimeFigureOut">
              <a:rPr lang="en-US" smtClean="0"/>
              <a:t>10/2/20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B2E890-DB2E-438F-ACCC-2590BA764B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762781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/ content/ Headline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9671" y="285982"/>
            <a:ext cx="10931106" cy="683842"/>
          </a:xfrm>
        </p:spPr>
        <p:txBody>
          <a:bodyPr/>
          <a:lstStyle/>
          <a:p>
            <a:r>
              <a:rPr lang="en-GB" noProof="0" dirty="0" smtClean="0"/>
              <a:t>Headline in CorpoS (Body) 35 pt.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7178478-C14F-4056-BC7B-D4A0322B8D6E}" type="slidenum">
              <a:rPr lang="en-US" smtClean="0"/>
              <a:t>‹#›</a:t>
            </a:fld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629671" y="1233203"/>
            <a:ext cx="10930832" cy="525463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noProof="0" dirty="0" smtClean="0"/>
              <a:t>Insert content or text in CorpoS (Body) 24 pt. (Mark-ups in Bold) // for conclusion, summary or short highlight: Home // Paragraph// Increase List Level</a:t>
            </a:r>
          </a:p>
          <a:p>
            <a:pPr lvl="1"/>
            <a:r>
              <a:rPr lang="en-GB" noProof="0" dirty="0" smtClean="0"/>
              <a:t>Second level (Conclusion, summary or short highlight)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</a:p>
          <a:p>
            <a:pPr lvl="5"/>
            <a:r>
              <a:rPr lang="en-GB" noProof="0" dirty="0" smtClean="0"/>
              <a:t>Sixth level</a:t>
            </a:r>
          </a:p>
          <a:p>
            <a:pPr lvl="6"/>
            <a:r>
              <a:rPr lang="en-GB" noProof="0" dirty="0" smtClean="0"/>
              <a:t>Sevens level</a:t>
            </a:r>
          </a:p>
          <a:p>
            <a:pPr lvl="7"/>
            <a:r>
              <a:rPr lang="en-GB" noProof="0" dirty="0" smtClean="0"/>
              <a:t>Eight level</a:t>
            </a:r>
          </a:p>
          <a:p>
            <a:pPr lvl="8"/>
            <a:r>
              <a:rPr lang="en-GB" noProof="0" dirty="0" smtClean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75888777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777">
          <p15:clr>
            <a:srgbClr val="FBAE40"/>
          </p15:clr>
        </p15:guide>
        <p15:guide id="3" orient="horz" pos="4020">
          <p15:clr>
            <a:srgbClr val="FBAE40"/>
          </p15:clr>
        </p15:guide>
      </p15:sldGuideLst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5BBD76-BCAD-44A4-8B9A-163664423135}" type="datetimeFigureOut">
              <a:rPr lang="en-US" smtClean="0"/>
              <a:t>10/2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B2E890-DB2E-438F-ACCC-2590BA764B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2880155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5BBD76-BCAD-44A4-8B9A-163664423135}" type="datetimeFigureOut">
              <a:rPr lang="en-US" smtClean="0"/>
              <a:t>10/2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B2E890-DB2E-438F-ACCC-2590BA764B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9888769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351" y="457094"/>
            <a:ext cx="3933363" cy="1599830"/>
          </a:xfrm>
        </p:spPr>
        <p:txBody>
          <a:bodyPr anchor="b"/>
          <a:lstStyle>
            <a:lvl1pPr>
              <a:defRPr sz="3198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664" y="987197"/>
            <a:ext cx="6172160" cy="4874084"/>
          </a:xfrm>
        </p:spPr>
        <p:txBody>
          <a:bodyPr/>
          <a:lstStyle>
            <a:lvl1pPr>
              <a:defRPr sz="3198"/>
            </a:lvl1pPr>
            <a:lvl2pPr>
              <a:defRPr sz="2799"/>
            </a:lvl2pPr>
            <a:lvl3pPr>
              <a:defRPr sz="2399"/>
            </a:lvl3pPr>
            <a:lvl4pPr>
              <a:defRPr sz="1999"/>
            </a:lvl4pPr>
            <a:lvl5pPr>
              <a:defRPr sz="1999"/>
            </a:lvl5pPr>
            <a:lvl6pPr>
              <a:defRPr sz="1999"/>
            </a:lvl6pPr>
            <a:lvl7pPr>
              <a:defRPr sz="1999"/>
            </a:lvl7pPr>
            <a:lvl8pPr>
              <a:defRPr sz="1999"/>
            </a:lvl8pPr>
            <a:lvl9pPr>
              <a:defRPr sz="1999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351" y="2056924"/>
            <a:ext cx="3933363" cy="3812292"/>
          </a:xfrm>
        </p:spPr>
        <p:txBody>
          <a:bodyPr/>
          <a:lstStyle>
            <a:lvl1pPr marL="0" indent="0">
              <a:buNone/>
              <a:defRPr sz="1599"/>
            </a:lvl1pPr>
            <a:lvl2pPr marL="456971" indent="0">
              <a:buNone/>
              <a:defRPr sz="1399"/>
            </a:lvl2pPr>
            <a:lvl3pPr marL="913943" indent="0">
              <a:buNone/>
              <a:defRPr sz="1199"/>
            </a:lvl3pPr>
            <a:lvl4pPr marL="1370914" indent="0">
              <a:buNone/>
              <a:defRPr sz="999"/>
            </a:lvl4pPr>
            <a:lvl5pPr marL="1827886" indent="0">
              <a:buNone/>
              <a:defRPr sz="999"/>
            </a:lvl5pPr>
            <a:lvl6pPr marL="2284857" indent="0">
              <a:buNone/>
              <a:defRPr sz="999"/>
            </a:lvl6pPr>
            <a:lvl7pPr marL="2741828" indent="0">
              <a:buNone/>
              <a:defRPr sz="999"/>
            </a:lvl7pPr>
            <a:lvl8pPr marL="3198800" indent="0">
              <a:buNone/>
              <a:defRPr sz="999"/>
            </a:lvl8pPr>
            <a:lvl9pPr marL="3655771" indent="0">
              <a:buNone/>
              <a:defRPr sz="999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5BBD76-BCAD-44A4-8B9A-163664423135}" type="datetimeFigureOut">
              <a:rPr lang="en-US" smtClean="0"/>
              <a:t>10/2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B2E890-DB2E-438F-ACCC-2590BA764B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3420418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351" y="457094"/>
            <a:ext cx="3933363" cy="1599830"/>
          </a:xfrm>
        </p:spPr>
        <p:txBody>
          <a:bodyPr anchor="b"/>
          <a:lstStyle>
            <a:lvl1pPr>
              <a:defRPr sz="3198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664" y="987197"/>
            <a:ext cx="6172160" cy="4874084"/>
          </a:xfrm>
        </p:spPr>
        <p:txBody>
          <a:bodyPr/>
          <a:lstStyle>
            <a:lvl1pPr marL="0" indent="0">
              <a:buNone/>
              <a:defRPr sz="3198"/>
            </a:lvl1pPr>
            <a:lvl2pPr marL="456971" indent="0">
              <a:buNone/>
              <a:defRPr sz="2799"/>
            </a:lvl2pPr>
            <a:lvl3pPr marL="913943" indent="0">
              <a:buNone/>
              <a:defRPr sz="2399"/>
            </a:lvl3pPr>
            <a:lvl4pPr marL="1370914" indent="0">
              <a:buNone/>
              <a:defRPr sz="1999"/>
            </a:lvl4pPr>
            <a:lvl5pPr marL="1827886" indent="0">
              <a:buNone/>
              <a:defRPr sz="1999"/>
            </a:lvl5pPr>
            <a:lvl6pPr marL="2284857" indent="0">
              <a:buNone/>
              <a:defRPr sz="1999"/>
            </a:lvl6pPr>
            <a:lvl7pPr marL="2741828" indent="0">
              <a:buNone/>
              <a:defRPr sz="1999"/>
            </a:lvl7pPr>
            <a:lvl8pPr marL="3198800" indent="0">
              <a:buNone/>
              <a:defRPr sz="1999"/>
            </a:lvl8pPr>
            <a:lvl9pPr marL="3655771" indent="0">
              <a:buNone/>
              <a:defRPr sz="1999"/>
            </a:lvl9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351" y="2056924"/>
            <a:ext cx="3933363" cy="3812292"/>
          </a:xfrm>
        </p:spPr>
        <p:txBody>
          <a:bodyPr/>
          <a:lstStyle>
            <a:lvl1pPr marL="0" indent="0">
              <a:buNone/>
              <a:defRPr sz="1599"/>
            </a:lvl1pPr>
            <a:lvl2pPr marL="456971" indent="0">
              <a:buNone/>
              <a:defRPr sz="1399"/>
            </a:lvl2pPr>
            <a:lvl3pPr marL="913943" indent="0">
              <a:buNone/>
              <a:defRPr sz="1199"/>
            </a:lvl3pPr>
            <a:lvl4pPr marL="1370914" indent="0">
              <a:buNone/>
              <a:defRPr sz="999"/>
            </a:lvl4pPr>
            <a:lvl5pPr marL="1827886" indent="0">
              <a:buNone/>
              <a:defRPr sz="999"/>
            </a:lvl5pPr>
            <a:lvl6pPr marL="2284857" indent="0">
              <a:buNone/>
              <a:defRPr sz="999"/>
            </a:lvl6pPr>
            <a:lvl7pPr marL="2741828" indent="0">
              <a:buNone/>
              <a:defRPr sz="999"/>
            </a:lvl7pPr>
            <a:lvl8pPr marL="3198800" indent="0">
              <a:buNone/>
              <a:defRPr sz="999"/>
            </a:lvl8pPr>
            <a:lvl9pPr marL="3655771" indent="0">
              <a:buNone/>
              <a:defRPr sz="999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5BBD76-BCAD-44A4-8B9A-163664423135}" type="datetimeFigureOut">
              <a:rPr lang="en-US" smtClean="0"/>
              <a:t>10/2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B2E890-DB2E-438F-ACCC-2590BA764B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886420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5BBD76-BCAD-44A4-8B9A-163664423135}" type="datetimeFigureOut">
              <a:rPr lang="en-US" smtClean="0"/>
              <a:t>10/2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B2E890-DB2E-438F-ACCC-2590BA764B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7787132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5119" y="365041"/>
            <a:ext cx="2629118" cy="5812079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7764" y="365041"/>
            <a:ext cx="7735034" cy="5812079"/>
          </a:xfrm>
        </p:spPr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5BBD76-BCAD-44A4-8B9A-163664423135}" type="datetimeFigureOut">
              <a:rPr lang="en-US" smtClean="0"/>
              <a:t>10/2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B2E890-DB2E-438F-ACCC-2590BA764B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9064704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. Title Logos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28323" y="2045815"/>
            <a:ext cx="10932181" cy="1619625"/>
          </a:xfrm>
          <a:custGeom>
            <a:avLst/>
            <a:gdLst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75 w 10937875"/>
              <a:gd name="connsiteY2" fmla="*/ 1620000 h 1620000"/>
              <a:gd name="connsiteX3" fmla="*/ 0 w 10937875"/>
              <a:gd name="connsiteY3" fmla="*/ 1620000 h 1620000"/>
              <a:gd name="connsiteX4" fmla="*/ 0 w 10937875"/>
              <a:gd name="connsiteY4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75 w 10937875"/>
              <a:gd name="connsiteY2" fmla="*/ 1620000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10937875 w 10937875"/>
              <a:gd name="connsiteY3" fmla="*/ 1620000 h 1620000"/>
              <a:gd name="connsiteX4" fmla="*/ 6569541 w 10937875"/>
              <a:gd name="connsiteY4" fmla="*/ 1619979 h 1620000"/>
              <a:gd name="connsiteX5" fmla="*/ 0 w 10937875"/>
              <a:gd name="connsiteY5" fmla="*/ 1620000 h 1620000"/>
              <a:gd name="connsiteX6" fmla="*/ 0 w 10937875"/>
              <a:gd name="connsiteY6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937875" h="1620000">
                <a:moveTo>
                  <a:pt x="0" y="0"/>
                </a:moveTo>
                <a:lnTo>
                  <a:pt x="10937875" y="0"/>
                </a:lnTo>
                <a:cubicBezTo>
                  <a:pt x="10937870" y="414317"/>
                  <a:pt x="10937865" y="828635"/>
                  <a:pt x="10937860" y="1242952"/>
                </a:cubicBezTo>
                <a:lnTo>
                  <a:pt x="6569541" y="1619979"/>
                </a:lnTo>
                <a:lnTo>
                  <a:pt x="0" y="1620000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 anchor="t" anchorCtr="0">
            <a:noAutofit/>
          </a:bodyPr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Referent’s name: </a:t>
            </a:r>
            <a:r>
              <a:rPr lang="en-GB" noProof="0" dirty="0" smtClean="0"/>
              <a:t>CorpoS </a:t>
            </a:r>
            <a:r>
              <a:rPr lang="en-GB" dirty="0" smtClean="0"/>
              <a:t>(Body) 35 pt.</a:t>
            </a:r>
            <a:br>
              <a:rPr lang="en-GB" dirty="0" smtClean="0"/>
            </a:br>
            <a:r>
              <a:rPr lang="en-GB" dirty="0" smtClean="0"/>
              <a:t>Presentation title in two or three </a:t>
            </a:r>
            <a:br>
              <a:rPr lang="en-GB" dirty="0" smtClean="0"/>
            </a:br>
            <a:r>
              <a:rPr lang="en-GB" dirty="0" smtClean="0"/>
              <a:t>lines of text, Month </a:t>
            </a:r>
            <a:r>
              <a:rPr lang="en-GB" dirty="0" err="1" smtClean="0"/>
              <a:t>dd</a:t>
            </a:r>
            <a:r>
              <a:rPr lang="en-GB" dirty="0" smtClean="0"/>
              <a:t>, </a:t>
            </a:r>
            <a:r>
              <a:rPr lang="en-GB" dirty="0" err="1" smtClean="0"/>
              <a:t>yyyy</a:t>
            </a:r>
            <a:endParaRPr lang="en-GB" dirty="0"/>
          </a:p>
        </p:txBody>
      </p:sp>
      <p:pic>
        <p:nvPicPr>
          <p:cNvPr id="30" name="Wortmarke DAIMLER" descr="Daimler_RGB_100mm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9674" y="790855"/>
            <a:ext cx="3418220" cy="462728"/>
          </a:xfrm>
          <a:prstGeom prst="rect">
            <a:avLst/>
          </a:prstGeom>
        </p:spPr>
      </p:pic>
      <p:grpSp>
        <p:nvGrpSpPr>
          <p:cNvPr id="3" name="Group 2"/>
          <p:cNvGrpSpPr/>
          <p:nvPr/>
        </p:nvGrpSpPr>
        <p:grpSpPr>
          <a:xfrm>
            <a:off x="7480483" y="4815633"/>
            <a:ext cx="4192304" cy="1775696"/>
            <a:chOff x="7484377" y="4816748"/>
            <a:chExt cx="4194487" cy="1776107"/>
          </a:xfrm>
        </p:grpSpPr>
        <p:pic>
          <p:nvPicPr>
            <p:cNvPr id="19" name="Logos Trucks" descr="Logoleiste_PPT_2.psd"/>
            <p:cNvPicPr>
              <a:picLocks noChangeAspect="1"/>
            </p:cNvPicPr>
            <p:nvPr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17875" b="-24687"/>
            <a:stretch/>
          </p:blipFill>
          <p:spPr>
            <a:xfrm>
              <a:off x="10491663" y="5495330"/>
              <a:ext cx="1187201" cy="1097525"/>
            </a:xfrm>
            <a:prstGeom prst="rect">
              <a:avLst/>
            </a:prstGeom>
          </p:spPr>
        </p:pic>
        <p:pic>
          <p:nvPicPr>
            <p:cNvPr id="23" name="図 3" descr="New_FUSO_logo.psd"/>
            <p:cNvPicPr>
              <a:picLocks noChangeAspect="1" noChangeArrowheads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84377" y="5839026"/>
              <a:ext cx="1279094" cy="36430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6" name="TextBox 15"/>
            <p:cNvSpPr txBox="1"/>
            <p:nvPr/>
          </p:nvSpPr>
          <p:spPr bwMode="auto">
            <a:xfrm>
              <a:off x="7645957" y="4816748"/>
              <a:ext cx="4012512" cy="5541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rtlCol="0" anchor="t" anchorCtr="0">
              <a:spAutoFit/>
            </a:bodyPr>
            <a:lstStyle/>
            <a:p>
              <a:pPr defTabSz="1083069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3599" dirty="0">
                  <a:solidFill>
                    <a:prstClr val="black"/>
                  </a:solidFill>
                  <a:latin typeface="CorpoSDem" pitchFamily="2" charset="0"/>
                  <a:cs typeface="Daimler CS"/>
                </a:rPr>
                <a:t>Daimler Trucks Asia</a:t>
              </a:r>
            </a:p>
          </p:txBody>
        </p:sp>
        <p:cxnSp>
          <p:nvCxnSpPr>
            <p:cNvPr id="17" name="Straight Connector 16"/>
            <p:cNvCxnSpPr/>
            <p:nvPr/>
          </p:nvCxnSpPr>
          <p:spPr bwMode="auto">
            <a:xfrm>
              <a:off x="7645957" y="5392812"/>
              <a:ext cx="3839864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ffectLst/>
            <a:extLst/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pic>
          <p:nvPicPr>
            <p:cNvPr id="24" name="Logos Trucks" descr="Logoleiste_PPT_2.psd"/>
            <p:cNvPicPr>
              <a:picLocks noChangeAspect="1"/>
            </p:cNvPicPr>
            <p:nvPr/>
          </p:nvPicPr>
          <p:blipFill rotWithShape="1"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17875" b="-24687"/>
            <a:stretch/>
          </p:blipFill>
          <p:spPr>
            <a:xfrm>
              <a:off x="8871919" y="5495330"/>
              <a:ext cx="1547736" cy="109752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7619972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289">
          <p15:clr>
            <a:srgbClr val="FBAE40"/>
          </p15:clr>
        </p15:guide>
      </p15:sldGuideLst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. Title text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28323" y="5121280"/>
            <a:ext cx="10932181" cy="1025684"/>
          </a:xfrm>
        </p:spPr>
        <p:txBody>
          <a:bodyPr wrap="square" anchor="b" anchorCtr="0">
            <a:spAutoFit/>
          </a:bodyPr>
          <a:lstStyle>
            <a:lvl1pPr>
              <a:defRPr baseline="0"/>
            </a:lvl1pPr>
          </a:lstStyle>
          <a:p>
            <a:r>
              <a:rPr lang="en-GB" dirty="0" smtClean="0"/>
              <a:t>Referent’s name: </a:t>
            </a:r>
            <a:r>
              <a:rPr lang="en-GB" noProof="0" dirty="0" smtClean="0"/>
              <a:t>CorpoS </a:t>
            </a:r>
            <a:r>
              <a:rPr lang="en-GB" dirty="0" smtClean="0"/>
              <a:t>(Body) 35 pt. Presentation title</a:t>
            </a:r>
            <a:br>
              <a:rPr lang="en-GB" dirty="0" smtClean="0"/>
            </a:br>
            <a:r>
              <a:rPr lang="en-GB" dirty="0" smtClean="0"/>
              <a:t>in two or more lines of text, Month </a:t>
            </a:r>
            <a:r>
              <a:rPr lang="en-GB" dirty="0" err="1" smtClean="0"/>
              <a:t>dd</a:t>
            </a:r>
            <a:r>
              <a:rPr lang="en-GB" dirty="0" smtClean="0"/>
              <a:t>, </a:t>
            </a:r>
            <a:r>
              <a:rPr lang="en-GB" dirty="0" err="1" smtClean="0"/>
              <a:t>yyyy</a:t>
            </a:r>
            <a:endParaRPr lang="en-GB" dirty="0"/>
          </a:p>
        </p:txBody>
      </p:sp>
      <p:pic>
        <p:nvPicPr>
          <p:cNvPr id="28" name="Wortmarke DAIMLER" descr="Daimler_RGB_100mm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9674" y="790855"/>
            <a:ext cx="3418220" cy="462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50025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3873">
          <p15:clr>
            <a:srgbClr val="FBAE40"/>
          </p15:clr>
        </p15:guide>
      </p15:sldGuideLst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. Title imag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 bwMode="auto">
          <a:xfrm>
            <a:off x="-2380" y="3429000"/>
            <a:ext cx="12192830" cy="3429000"/>
          </a:xfrm>
          <a:custGeom>
            <a:avLst/>
            <a:gdLst>
              <a:gd name="connsiteX0" fmla="*/ 0 w 12196799"/>
              <a:gd name="connsiteY0" fmla="*/ 0 h 3429794"/>
              <a:gd name="connsiteX1" fmla="*/ 12196799 w 12196799"/>
              <a:gd name="connsiteY1" fmla="*/ 0 h 3429794"/>
              <a:gd name="connsiteX2" fmla="*/ 12196799 w 12196799"/>
              <a:gd name="connsiteY2" fmla="*/ 3429794 h 3429794"/>
              <a:gd name="connsiteX3" fmla="*/ 0 w 12196799"/>
              <a:gd name="connsiteY3" fmla="*/ 3429794 h 3429794"/>
              <a:gd name="connsiteX4" fmla="*/ 0 w 12196799"/>
              <a:gd name="connsiteY4" fmla="*/ 0 h 3429794"/>
              <a:gd name="connsiteX0" fmla="*/ 2381 w 12199180"/>
              <a:gd name="connsiteY0" fmla="*/ 0 h 3429794"/>
              <a:gd name="connsiteX1" fmla="*/ 12199180 w 12199180"/>
              <a:gd name="connsiteY1" fmla="*/ 0 h 3429794"/>
              <a:gd name="connsiteX2" fmla="*/ 12199180 w 12199180"/>
              <a:gd name="connsiteY2" fmla="*/ 3429794 h 3429794"/>
              <a:gd name="connsiteX3" fmla="*/ 2381 w 12199180"/>
              <a:gd name="connsiteY3" fmla="*/ 3429794 h 3429794"/>
              <a:gd name="connsiteX4" fmla="*/ 0 w 12199180"/>
              <a:gd name="connsiteY4" fmla="*/ 1070769 h 3429794"/>
              <a:gd name="connsiteX5" fmla="*/ 2381 w 12199180"/>
              <a:gd name="connsiteY5" fmla="*/ 0 h 3429794"/>
              <a:gd name="connsiteX0" fmla="*/ 0 w 12199180"/>
              <a:gd name="connsiteY0" fmla="*/ 1167730 h 3526755"/>
              <a:gd name="connsiteX1" fmla="*/ 12199180 w 12199180"/>
              <a:gd name="connsiteY1" fmla="*/ 96961 h 3526755"/>
              <a:gd name="connsiteX2" fmla="*/ 12199180 w 12199180"/>
              <a:gd name="connsiteY2" fmla="*/ 3526755 h 3526755"/>
              <a:gd name="connsiteX3" fmla="*/ 2381 w 12199180"/>
              <a:gd name="connsiteY3" fmla="*/ 3526755 h 3526755"/>
              <a:gd name="connsiteX4" fmla="*/ 0 w 12199180"/>
              <a:gd name="connsiteY4" fmla="*/ 1167730 h 3526755"/>
              <a:gd name="connsiteX0" fmla="*/ 0 w 12199180"/>
              <a:gd name="connsiteY0" fmla="*/ 1070769 h 3429794"/>
              <a:gd name="connsiteX1" fmla="*/ 12199180 w 12199180"/>
              <a:gd name="connsiteY1" fmla="*/ 0 h 3429794"/>
              <a:gd name="connsiteX2" fmla="*/ 12199180 w 12199180"/>
              <a:gd name="connsiteY2" fmla="*/ 3429794 h 3429794"/>
              <a:gd name="connsiteX3" fmla="*/ 2381 w 12199180"/>
              <a:gd name="connsiteY3" fmla="*/ 3429794 h 3429794"/>
              <a:gd name="connsiteX4" fmla="*/ 0 w 12199180"/>
              <a:gd name="connsiteY4" fmla="*/ 1070769 h 34297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9180" h="3429794">
                <a:moveTo>
                  <a:pt x="0" y="1070769"/>
                </a:moveTo>
                <a:lnTo>
                  <a:pt x="12199180" y="0"/>
                </a:lnTo>
                <a:lnTo>
                  <a:pt x="12199180" y="3429794"/>
                </a:lnTo>
                <a:lnTo>
                  <a:pt x="2381" y="3429794"/>
                </a:lnTo>
                <a:cubicBezTo>
                  <a:pt x="1587" y="2643452"/>
                  <a:pt x="794" y="1857111"/>
                  <a:pt x="0" y="1070769"/>
                </a:cubicBezTo>
                <a:close/>
              </a:path>
            </a:pathLst>
          </a:custGeom>
          <a:noFill/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28323" y="2045815"/>
            <a:ext cx="10932181" cy="1619625"/>
          </a:xfrm>
          <a:custGeom>
            <a:avLst/>
            <a:gdLst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75 w 10937875"/>
              <a:gd name="connsiteY2" fmla="*/ 1620000 h 1620000"/>
              <a:gd name="connsiteX3" fmla="*/ 0 w 10937875"/>
              <a:gd name="connsiteY3" fmla="*/ 1620000 h 1620000"/>
              <a:gd name="connsiteX4" fmla="*/ 0 w 10937875"/>
              <a:gd name="connsiteY4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75 w 10937875"/>
              <a:gd name="connsiteY2" fmla="*/ 1620000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10937875 w 10937875"/>
              <a:gd name="connsiteY3" fmla="*/ 1620000 h 1620000"/>
              <a:gd name="connsiteX4" fmla="*/ 6569541 w 10937875"/>
              <a:gd name="connsiteY4" fmla="*/ 1619979 h 1620000"/>
              <a:gd name="connsiteX5" fmla="*/ 0 w 10937875"/>
              <a:gd name="connsiteY5" fmla="*/ 1620000 h 1620000"/>
              <a:gd name="connsiteX6" fmla="*/ 0 w 10937875"/>
              <a:gd name="connsiteY6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937875" h="1620000">
                <a:moveTo>
                  <a:pt x="0" y="0"/>
                </a:moveTo>
                <a:lnTo>
                  <a:pt x="10937875" y="0"/>
                </a:lnTo>
                <a:cubicBezTo>
                  <a:pt x="10937870" y="414317"/>
                  <a:pt x="10937865" y="828635"/>
                  <a:pt x="10937860" y="1242952"/>
                </a:cubicBezTo>
                <a:lnTo>
                  <a:pt x="6569541" y="1619979"/>
                </a:lnTo>
                <a:lnTo>
                  <a:pt x="0" y="1620000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 anchor="t" anchorCtr="0">
            <a:noAutofit/>
          </a:bodyPr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Referent’s name: </a:t>
            </a:r>
            <a:r>
              <a:rPr lang="en-GB" noProof="0" dirty="0" smtClean="0"/>
              <a:t>CorpoS </a:t>
            </a:r>
            <a:r>
              <a:rPr lang="en-GB" dirty="0" smtClean="0"/>
              <a:t>(Body) 35 pt.</a:t>
            </a:r>
            <a:br>
              <a:rPr lang="en-GB" dirty="0" smtClean="0"/>
            </a:br>
            <a:r>
              <a:rPr lang="en-GB" dirty="0" smtClean="0"/>
              <a:t>Presentation title in two or three </a:t>
            </a:r>
            <a:br>
              <a:rPr lang="en-GB" dirty="0" smtClean="0"/>
            </a:br>
            <a:r>
              <a:rPr lang="en-GB" dirty="0" smtClean="0"/>
              <a:t>lines of text, Month </a:t>
            </a:r>
            <a:r>
              <a:rPr lang="en-GB" dirty="0" err="1" smtClean="0"/>
              <a:t>dd</a:t>
            </a:r>
            <a:r>
              <a:rPr lang="en-GB" dirty="0" smtClean="0"/>
              <a:t>, </a:t>
            </a:r>
            <a:r>
              <a:rPr lang="en-GB" dirty="0" err="1" smtClean="0"/>
              <a:t>yyyy</a:t>
            </a:r>
            <a:endParaRPr lang="en-GB" dirty="0"/>
          </a:p>
        </p:txBody>
      </p:sp>
      <p:pic>
        <p:nvPicPr>
          <p:cNvPr id="30" name="Wortmarke DAIMLER" descr="Daimler_RGB_100mm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9674" y="790855"/>
            <a:ext cx="3418220" cy="462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18833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289">
          <p15:clr>
            <a:srgbClr val="FBAE40"/>
          </p15:clr>
        </p15:guide>
      </p15:sldGuideLst>
    </p:ext>
  </p:extLs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. Title imag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-2345" y="2281902"/>
            <a:ext cx="12192831" cy="4576100"/>
          </a:xfrm>
          <a:custGeom>
            <a:avLst/>
            <a:gdLst>
              <a:gd name="connsiteX0" fmla="*/ 0 w 12196800"/>
              <a:gd name="connsiteY0" fmla="*/ 0 h 4581922"/>
              <a:gd name="connsiteX1" fmla="*/ 12196800 w 12196800"/>
              <a:gd name="connsiteY1" fmla="*/ 0 h 4581922"/>
              <a:gd name="connsiteX2" fmla="*/ 12196800 w 12196800"/>
              <a:gd name="connsiteY2" fmla="*/ 4581922 h 4581922"/>
              <a:gd name="connsiteX3" fmla="*/ 0 w 12196800"/>
              <a:gd name="connsiteY3" fmla="*/ 4581922 h 4581922"/>
              <a:gd name="connsiteX4" fmla="*/ 0 w 12196800"/>
              <a:gd name="connsiteY4" fmla="*/ 0 h 4581922"/>
              <a:gd name="connsiteX0" fmla="*/ 2381 w 12199181"/>
              <a:gd name="connsiteY0" fmla="*/ 0 h 4581922"/>
              <a:gd name="connsiteX1" fmla="*/ 12199181 w 12199181"/>
              <a:gd name="connsiteY1" fmla="*/ 0 h 4581922"/>
              <a:gd name="connsiteX2" fmla="*/ 12199181 w 12199181"/>
              <a:gd name="connsiteY2" fmla="*/ 4581922 h 4581922"/>
              <a:gd name="connsiteX3" fmla="*/ 2381 w 12199181"/>
              <a:gd name="connsiteY3" fmla="*/ 4581922 h 4581922"/>
              <a:gd name="connsiteX4" fmla="*/ 0 w 12199181"/>
              <a:gd name="connsiteY4" fmla="*/ 1075135 h 4581922"/>
              <a:gd name="connsiteX5" fmla="*/ 2381 w 12199181"/>
              <a:gd name="connsiteY5" fmla="*/ 0 h 4581922"/>
              <a:gd name="connsiteX0" fmla="*/ 0 w 12199181"/>
              <a:gd name="connsiteY0" fmla="*/ 1263181 h 4769968"/>
              <a:gd name="connsiteX1" fmla="*/ 12199181 w 12199181"/>
              <a:gd name="connsiteY1" fmla="*/ 188046 h 4769968"/>
              <a:gd name="connsiteX2" fmla="*/ 12199181 w 12199181"/>
              <a:gd name="connsiteY2" fmla="*/ 4769968 h 4769968"/>
              <a:gd name="connsiteX3" fmla="*/ 2381 w 12199181"/>
              <a:gd name="connsiteY3" fmla="*/ 4769968 h 4769968"/>
              <a:gd name="connsiteX4" fmla="*/ 0 w 12199181"/>
              <a:gd name="connsiteY4" fmla="*/ 1263181 h 4769968"/>
              <a:gd name="connsiteX0" fmla="*/ 0 w 12199181"/>
              <a:gd name="connsiteY0" fmla="*/ 1075135 h 4581922"/>
              <a:gd name="connsiteX1" fmla="*/ 12199181 w 12199181"/>
              <a:gd name="connsiteY1" fmla="*/ 0 h 4581922"/>
              <a:gd name="connsiteX2" fmla="*/ 12199181 w 12199181"/>
              <a:gd name="connsiteY2" fmla="*/ 4581922 h 4581922"/>
              <a:gd name="connsiteX3" fmla="*/ 2381 w 12199181"/>
              <a:gd name="connsiteY3" fmla="*/ 4581922 h 4581922"/>
              <a:gd name="connsiteX4" fmla="*/ 0 w 12199181"/>
              <a:gd name="connsiteY4" fmla="*/ 1075135 h 4581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9181" h="4581922">
                <a:moveTo>
                  <a:pt x="0" y="1075135"/>
                </a:moveTo>
                <a:lnTo>
                  <a:pt x="12199181" y="0"/>
                </a:lnTo>
                <a:lnTo>
                  <a:pt x="12199181" y="4581922"/>
                </a:lnTo>
                <a:lnTo>
                  <a:pt x="2381" y="4581922"/>
                </a:lnTo>
                <a:cubicBezTo>
                  <a:pt x="1587" y="3412993"/>
                  <a:pt x="794" y="2244064"/>
                  <a:pt x="0" y="1075135"/>
                </a:cubicBezTo>
                <a:close/>
              </a:path>
            </a:pathLst>
          </a:custGeom>
          <a:noFill/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28326" y="2044436"/>
            <a:ext cx="7232233" cy="648964"/>
          </a:xfrm>
          <a:custGeom>
            <a:avLst/>
            <a:gdLst>
              <a:gd name="connsiteX0" fmla="*/ 0 w 7236000"/>
              <a:gd name="connsiteY0" fmla="*/ 0 h 649114"/>
              <a:gd name="connsiteX1" fmla="*/ 7236000 w 7236000"/>
              <a:gd name="connsiteY1" fmla="*/ 0 h 649114"/>
              <a:gd name="connsiteX2" fmla="*/ 7236000 w 7236000"/>
              <a:gd name="connsiteY2" fmla="*/ 649114 h 649114"/>
              <a:gd name="connsiteX3" fmla="*/ 0 w 7236000"/>
              <a:gd name="connsiteY3" fmla="*/ 649114 h 649114"/>
              <a:gd name="connsiteX4" fmla="*/ 0 w 7236000"/>
              <a:gd name="connsiteY4" fmla="*/ 0 h 649114"/>
              <a:gd name="connsiteX0" fmla="*/ 0 w 7236000"/>
              <a:gd name="connsiteY0" fmla="*/ 0 h 649114"/>
              <a:gd name="connsiteX1" fmla="*/ 7236000 w 7236000"/>
              <a:gd name="connsiteY1" fmla="*/ 0 h 649114"/>
              <a:gd name="connsiteX2" fmla="*/ 7234238 w 7236000"/>
              <a:gd name="connsiteY2" fmla="*/ 514937 h 649114"/>
              <a:gd name="connsiteX3" fmla="*/ 7236000 w 7236000"/>
              <a:gd name="connsiteY3" fmla="*/ 649114 h 649114"/>
              <a:gd name="connsiteX4" fmla="*/ 0 w 7236000"/>
              <a:gd name="connsiteY4" fmla="*/ 649114 h 649114"/>
              <a:gd name="connsiteX5" fmla="*/ 0 w 7236000"/>
              <a:gd name="connsiteY5" fmla="*/ 0 h 649114"/>
              <a:gd name="connsiteX0" fmla="*/ 0 w 7236000"/>
              <a:gd name="connsiteY0" fmla="*/ 0 h 649114"/>
              <a:gd name="connsiteX1" fmla="*/ 7236000 w 7236000"/>
              <a:gd name="connsiteY1" fmla="*/ 0 h 649114"/>
              <a:gd name="connsiteX2" fmla="*/ 7234238 w 7236000"/>
              <a:gd name="connsiteY2" fmla="*/ 514937 h 649114"/>
              <a:gd name="connsiteX3" fmla="*/ 7236000 w 7236000"/>
              <a:gd name="connsiteY3" fmla="*/ 649114 h 649114"/>
              <a:gd name="connsiteX4" fmla="*/ 5812631 w 7236000"/>
              <a:gd name="connsiteY4" fmla="*/ 648287 h 649114"/>
              <a:gd name="connsiteX5" fmla="*/ 0 w 7236000"/>
              <a:gd name="connsiteY5" fmla="*/ 649114 h 649114"/>
              <a:gd name="connsiteX6" fmla="*/ 0 w 7236000"/>
              <a:gd name="connsiteY6" fmla="*/ 0 h 649114"/>
              <a:gd name="connsiteX0" fmla="*/ 0 w 7236000"/>
              <a:gd name="connsiteY0" fmla="*/ 0 h 649114"/>
              <a:gd name="connsiteX1" fmla="*/ 7236000 w 7236000"/>
              <a:gd name="connsiteY1" fmla="*/ 0 h 649114"/>
              <a:gd name="connsiteX2" fmla="*/ 7234238 w 7236000"/>
              <a:gd name="connsiteY2" fmla="*/ 514937 h 649114"/>
              <a:gd name="connsiteX3" fmla="*/ 5812631 w 7236000"/>
              <a:gd name="connsiteY3" fmla="*/ 648287 h 649114"/>
              <a:gd name="connsiteX4" fmla="*/ 0 w 7236000"/>
              <a:gd name="connsiteY4" fmla="*/ 649114 h 649114"/>
              <a:gd name="connsiteX5" fmla="*/ 0 w 7236000"/>
              <a:gd name="connsiteY5" fmla="*/ 0 h 649114"/>
              <a:gd name="connsiteX0" fmla="*/ 0 w 7236000"/>
              <a:gd name="connsiteY0" fmla="*/ 0 h 649114"/>
              <a:gd name="connsiteX1" fmla="*/ 7236000 w 7236000"/>
              <a:gd name="connsiteY1" fmla="*/ 0 h 649114"/>
              <a:gd name="connsiteX2" fmla="*/ 7234238 w 7236000"/>
              <a:gd name="connsiteY2" fmla="*/ 514937 h 649114"/>
              <a:gd name="connsiteX3" fmla="*/ 5812631 w 7236000"/>
              <a:gd name="connsiteY3" fmla="*/ 648287 h 649114"/>
              <a:gd name="connsiteX4" fmla="*/ 0 w 7236000"/>
              <a:gd name="connsiteY4" fmla="*/ 649114 h 649114"/>
              <a:gd name="connsiteX5" fmla="*/ 0 w 7236000"/>
              <a:gd name="connsiteY5" fmla="*/ 0 h 6491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236000" h="649114">
                <a:moveTo>
                  <a:pt x="0" y="0"/>
                </a:moveTo>
                <a:lnTo>
                  <a:pt x="7236000" y="0"/>
                </a:lnTo>
                <a:cubicBezTo>
                  <a:pt x="7235413" y="171646"/>
                  <a:pt x="7234825" y="343291"/>
                  <a:pt x="7234238" y="514937"/>
                </a:cubicBezTo>
                <a:lnTo>
                  <a:pt x="5812631" y="648287"/>
                </a:lnTo>
                <a:lnTo>
                  <a:pt x="0" y="649114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Headline for presentation</a:t>
            </a:r>
            <a:endParaRPr lang="en-GB" dirty="0"/>
          </a:p>
        </p:txBody>
      </p:sp>
      <p:pic>
        <p:nvPicPr>
          <p:cNvPr id="30" name="Wortmarke DAIMLER" descr="Daimler_RGB_100mm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9674" y="790855"/>
            <a:ext cx="3418220" cy="462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72560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288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ext/ image/ Headline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Regieanweisungen"/>
          <p:cNvGrpSpPr/>
          <p:nvPr/>
        </p:nvGrpSpPr>
        <p:grpSpPr>
          <a:xfrm>
            <a:off x="-2086913" y="-467892"/>
            <a:ext cx="13647691" cy="7792196"/>
            <a:chOff x="-2088000" y="-468000"/>
            <a:chExt cx="13654799" cy="7794000"/>
          </a:xfrm>
        </p:grpSpPr>
        <p:sp>
          <p:nvSpPr>
            <p:cNvPr id="20" name="Hilfslinien"/>
            <p:cNvSpPr txBox="1"/>
            <p:nvPr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99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how guides via menu bar: View // Show // tick Guides</a:t>
              </a:r>
            </a:p>
          </p:txBody>
        </p:sp>
        <p:sp>
          <p:nvSpPr>
            <p:cNvPr id="21" name="Fußzeile"/>
            <p:cNvSpPr txBox="1"/>
            <p:nvPr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1042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099" b="0" baseline="0" dirty="0" smtClean="0">
                  <a:solidFill>
                    <a:schemeClr val="accent5"/>
                  </a:solidFill>
                  <a:latin typeface="+mn-lt"/>
                </a:rPr>
                <a:t>Adjust footer (per slide or for several/all slides) via menu bar: Insert // Text // Header &amp; Footer</a:t>
              </a:r>
            </a:p>
          </p:txBody>
        </p:sp>
        <p:grpSp>
          <p:nvGrpSpPr>
            <p:cNvPr id="22" name="Hinweise links"/>
            <p:cNvGrpSpPr/>
            <p:nvPr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23" name="Folie Wechsel/Zurücksetzen/Textebenen"/>
              <p:cNvSpPr txBox="1"/>
              <p:nvPr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Reset the slide back to its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original form 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Slides // Rese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099" b="0" baseline="0" noProof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Change the slide layout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Slides // Layou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099" b="0" baseline="0" noProof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Change the text level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via menu bar: </a:t>
                </a:r>
                <a:b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</a:b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Paragraph // Increase/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Decrease List Level</a:t>
                </a:r>
              </a:p>
            </p:txBody>
          </p:sp>
          <p:grpSp>
            <p:nvGrpSpPr>
              <p:cNvPr id="24" name="Listenebenen"/>
              <p:cNvGrpSpPr/>
              <p:nvPr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25" name="Text // Listenebene erhöhen"/>
                <p:cNvSpPr txBox="1"/>
                <p:nvPr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38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999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Increase</a:t>
                  </a:r>
                </a:p>
                <a:p>
                  <a:pPr marL="0" marR="0" lvl="0" indent="0" algn="r" defTabSz="9138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999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sp>
              <p:nvSpPr>
                <p:cNvPr id="26" name="Text // Listenebene verringern"/>
                <p:cNvSpPr txBox="1"/>
                <p:nvPr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38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999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Decrease </a:t>
                  </a:r>
                </a:p>
                <a:p>
                  <a:pPr marL="0" marR="0" lvl="0" indent="0" algn="r" defTabSz="9138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999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pic>
              <p:nvPicPr>
                <p:cNvPr id="27" name="Listenebene erhöhen"/>
                <p:cNvPicPr>
                  <a:picLocks noChangeAspect="1"/>
                </p:cNvPicPr>
                <p:nvPr/>
              </p:nvPicPr>
              <p:blipFill>
                <a:blip r:embed="rId2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28" name="Listenebene verringern"/>
                <p:cNvPicPr>
                  <a:picLocks noChangeAspect="1"/>
                </p:cNvPicPr>
                <p:nvPr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7" name="Daimler AG (Wortmarke)"/>
          <p:cNvSpPr>
            <a:spLocks noChangeArrowheads="1"/>
          </p:cNvSpPr>
          <p:nvPr/>
        </p:nvSpPr>
        <p:spPr bwMode="auto">
          <a:xfrm>
            <a:off x="629672" y="6564880"/>
            <a:ext cx="2086913" cy="2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r>
              <a:rPr lang="en-GB" sz="1199" dirty="0" smtClean="0">
                <a:latin typeface="+mn-lt"/>
                <a:cs typeface="Daimler CS"/>
              </a:rPr>
              <a:t>Daimler AG</a:t>
            </a:r>
            <a:endParaRPr lang="en-GB" sz="1199" dirty="0">
              <a:latin typeface="+mn-lt"/>
              <a:cs typeface="Daimler 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9671" y="285982"/>
            <a:ext cx="10931106" cy="683842"/>
          </a:xfrm>
        </p:spPr>
        <p:txBody>
          <a:bodyPr/>
          <a:lstStyle/>
          <a:p>
            <a:r>
              <a:rPr lang="en-GB" noProof="0" dirty="0" smtClean="0"/>
              <a:t>Headline in CorpoS (Body) 35 pt.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7178478-C14F-4056-BC7B-D4A0322B8D6E}" type="slidenum">
              <a:rPr lang="en-US" smtClean="0"/>
              <a:t>‹#›</a:t>
            </a:fld>
            <a:endParaRPr lang="en-US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29909" y="1233203"/>
            <a:ext cx="10930593" cy="5254635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85982911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777">
          <p15:clr>
            <a:srgbClr val="FBAE40"/>
          </p15:clr>
        </p15:guide>
        <p15:guide id="3" orient="horz" pos="4020">
          <p15:clr>
            <a:srgbClr val="FBAE40"/>
          </p15:clr>
        </p15:guide>
      </p15:sldGuideLst>
    </p:ext>
  </p:extLs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ext/ image brushing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Buerstung O_S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white">
          <a:xfrm>
            <a:off x="0" y="34"/>
            <a:ext cx="12190451" cy="6487839"/>
          </a:xfrm>
          <a:prstGeom prst="rect">
            <a:avLst/>
          </a:prstGeom>
        </p:spPr>
      </p:pic>
      <p:sp>
        <p:nvSpPr>
          <p:cNvPr id="25" name="Daimler AG (Wortmarke)"/>
          <p:cNvSpPr>
            <a:spLocks noChangeArrowheads="1"/>
          </p:cNvSpPr>
          <p:nvPr/>
        </p:nvSpPr>
        <p:spPr bwMode="auto">
          <a:xfrm>
            <a:off x="629674" y="6564880"/>
            <a:ext cx="2086913" cy="2159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 defTabSz="1083069">
              <a:defRPr/>
            </a:pPr>
            <a:r>
              <a:rPr lang="en-GB" sz="1199" dirty="0" smtClean="0">
                <a:solidFill>
                  <a:prstClr val="black"/>
                </a:solidFill>
                <a:latin typeface="CorpoS"/>
                <a:cs typeface="Daimler CS"/>
              </a:rPr>
              <a:t>Daimler Trucks Asia</a:t>
            </a:r>
            <a:endParaRPr lang="en-GB" sz="1199" dirty="0">
              <a:solidFill>
                <a:prstClr val="black"/>
              </a:solidFill>
              <a:latin typeface="CorpoS"/>
              <a:cs typeface="Daimler CS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116" y="288857"/>
            <a:ext cx="10930661" cy="1151733"/>
          </a:xfrm>
          <a:custGeom>
            <a:avLst/>
            <a:gdLst>
              <a:gd name="connsiteX0" fmla="*/ 0 w 10936355"/>
              <a:gd name="connsiteY0" fmla="*/ 0 h 1152000"/>
              <a:gd name="connsiteX1" fmla="*/ 10936355 w 10936355"/>
              <a:gd name="connsiteY1" fmla="*/ 0 h 1152000"/>
              <a:gd name="connsiteX2" fmla="*/ 10936355 w 10936355"/>
              <a:gd name="connsiteY2" fmla="*/ 1152000 h 1152000"/>
              <a:gd name="connsiteX3" fmla="*/ 0 w 10936355"/>
              <a:gd name="connsiteY3" fmla="*/ 1152000 h 1152000"/>
              <a:gd name="connsiteX4" fmla="*/ 0 w 10936355"/>
              <a:gd name="connsiteY4" fmla="*/ 0 h 1152000"/>
              <a:gd name="connsiteX0" fmla="*/ 0 w 10936355"/>
              <a:gd name="connsiteY0" fmla="*/ 0 h 1152000"/>
              <a:gd name="connsiteX1" fmla="*/ 10936355 w 10936355"/>
              <a:gd name="connsiteY1" fmla="*/ 0 h 1152000"/>
              <a:gd name="connsiteX2" fmla="*/ 10932906 w 10936355"/>
              <a:gd name="connsiteY2" fmla="*/ 695326 h 1152000"/>
              <a:gd name="connsiteX3" fmla="*/ 10936355 w 10936355"/>
              <a:gd name="connsiteY3" fmla="*/ 1152000 h 1152000"/>
              <a:gd name="connsiteX4" fmla="*/ 0 w 10936355"/>
              <a:gd name="connsiteY4" fmla="*/ 1152000 h 1152000"/>
              <a:gd name="connsiteX5" fmla="*/ 0 w 10936355"/>
              <a:gd name="connsiteY5" fmla="*/ 0 h 1152000"/>
              <a:gd name="connsiteX0" fmla="*/ 0 w 10936355"/>
              <a:gd name="connsiteY0" fmla="*/ 0 h 1152000"/>
              <a:gd name="connsiteX1" fmla="*/ 10936355 w 10936355"/>
              <a:gd name="connsiteY1" fmla="*/ 0 h 1152000"/>
              <a:gd name="connsiteX2" fmla="*/ 10932906 w 10936355"/>
              <a:gd name="connsiteY2" fmla="*/ 695326 h 1152000"/>
              <a:gd name="connsiteX3" fmla="*/ 10936355 w 10936355"/>
              <a:gd name="connsiteY3" fmla="*/ 1152000 h 1152000"/>
              <a:gd name="connsiteX4" fmla="*/ 4948164 w 10936355"/>
              <a:gd name="connsiteY4" fmla="*/ 1147990 h 1152000"/>
              <a:gd name="connsiteX5" fmla="*/ 0 w 10936355"/>
              <a:gd name="connsiteY5" fmla="*/ 1152000 h 1152000"/>
              <a:gd name="connsiteX6" fmla="*/ 0 w 10936355"/>
              <a:gd name="connsiteY6" fmla="*/ 0 h 1152000"/>
              <a:gd name="connsiteX0" fmla="*/ 0 w 10936355"/>
              <a:gd name="connsiteY0" fmla="*/ 0 h 1152000"/>
              <a:gd name="connsiteX1" fmla="*/ 10936355 w 10936355"/>
              <a:gd name="connsiteY1" fmla="*/ 0 h 1152000"/>
              <a:gd name="connsiteX2" fmla="*/ 10932906 w 10936355"/>
              <a:gd name="connsiteY2" fmla="*/ 695326 h 1152000"/>
              <a:gd name="connsiteX3" fmla="*/ 4948164 w 10936355"/>
              <a:gd name="connsiteY3" fmla="*/ 1147990 h 1152000"/>
              <a:gd name="connsiteX4" fmla="*/ 0 w 10936355"/>
              <a:gd name="connsiteY4" fmla="*/ 1152000 h 1152000"/>
              <a:gd name="connsiteX5" fmla="*/ 0 w 10936355"/>
              <a:gd name="connsiteY5" fmla="*/ 0 h 1152000"/>
              <a:gd name="connsiteX0" fmla="*/ 0 w 10936355"/>
              <a:gd name="connsiteY0" fmla="*/ 0 h 1152000"/>
              <a:gd name="connsiteX1" fmla="*/ 10936355 w 10936355"/>
              <a:gd name="connsiteY1" fmla="*/ 0 h 1152000"/>
              <a:gd name="connsiteX2" fmla="*/ 10932906 w 10936355"/>
              <a:gd name="connsiteY2" fmla="*/ 695326 h 1152000"/>
              <a:gd name="connsiteX3" fmla="*/ 4948164 w 10936355"/>
              <a:gd name="connsiteY3" fmla="*/ 1147990 h 1152000"/>
              <a:gd name="connsiteX4" fmla="*/ 0 w 10936355"/>
              <a:gd name="connsiteY4" fmla="*/ 1152000 h 1152000"/>
              <a:gd name="connsiteX5" fmla="*/ 0 w 10936355"/>
              <a:gd name="connsiteY5" fmla="*/ 0 h 115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936355" h="1152000">
                <a:moveTo>
                  <a:pt x="0" y="0"/>
                </a:moveTo>
                <a:lnTo>
                  <a:pt x="10936355" y="0"/>
                </a:lnTo>
                <a:cubicBezTo>
                  <a:pt x="10935205" y="231775"/>
                  <a:pt x="10934056" y="463551"/>
                  <a:pt x="10932906" y="695326"/>
                </a:cubicBezTo>
                <a:lnTo>
                  <a:pt x="4948164" y="1147990"/>
                </a:lnTo>
                <a:lnTo>
                  <a:pt x="0" y="1152000"/>
                </a:lnTo>
                <a:lnTo>
                  <a:pt x="0" y="0"/>
                </a:lnTo>
                <a:close/>
              </a:path>
            </a:pathLst>
          </a:custGeo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Image-chart, Headline </a:t>
            </a:r>
            <a:r>
              <a:rPr lang="en-GB" noProof="0" dirty="0" smtClean="0"/>
              <a:t>CorpoS </a:t>
            </a:r>
            <a:r>
              <a:rPr lang="en-GB" dirty="0" smtClean="0"/>
              <a:t>(Body) 35 pt. </a:t>
            </a:r>
            <a:br>
              <a:rPr lang="en-GB" dirty="0" smtClean="0"/>
            </a:br>
            <a:r>
              <a:rPr lang="en-GB" dirty="0" smtClean="0"/>
              <a:t>in two lines of text</a:t>
            </a:r>
            <a:endParaRPr lang="en-GB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 smtClean="0">
              <a:solidFill>
                <a:prstClr val="black"/>
              </a:solidFill>
            </a:endParaRP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149011"/>
            <a:ext cx="12190451" cy="5337600"/>
          </a:xfrm>
          <a:custGeom>
            <a:avLst/>
            <a:gdLst>
              <a:gd name="connsiteX0" fmla="*/ 0 w 12196800"/>
              <a:gd name="connsiteY0" fmla="*/ 0 h 5338836"/>
              <a:gd name="connsiteX1" fmla="*/ 12196800 w 12196800"/>
              <a:gd name="connsiteY1" fmla="*/ 0 h 5338836"/>
              <a:gd name="connsiteX2" fmla="*/ 12196800 w 12196800"/>
              <a:gd name="connsiteY2" fmla="*/ 5338836 h 5338836"/>
              <a:gd name="connsiteX3" fmla="*/ 0 w 12196800"/>
              <a:gd name="connsiteY3" fmla="*/ 5338836 h 5338836"/>
              <a:gd name="connsiteX4" fmla="*/ 0 w 12196800"/>
              <a:gd name="connsiteY4" fmla="*/ 0 h 5338836"/>
              <a:gd name="connsiteX0" fmla="*/ 0 w 12196800"/>
              <a:gd name="connsiteY0" fmla="*/ 0 h 5338836"/>
              <a:gd name="connsiteX1" fmla="*/ 12196800 w 12196800"/>
              <a:gd name="connsiteY1" fmla="*/ 0 h 5338836"/>
              <a:gd name="connsiteX2" fmla="*/ 12196800 w 12196800"/>
              <a:gd name="connsiteY2" fmla="*/ 5338836 h 5338836"/>
              <a:gd name="connsiteX3" fmla="*/ 0 w 12196800"/>
              <a:gd name="connsiteY3" fmla="*/ 5338836 h 5338836"/>
              <a:gd name="connsiteX4" fmla="*/ 0 w 12196800"/>
              <a:gd name="connsiteY4" fmla="*/ 1067667 h 5338836"/>
              <a:gd name="connsiteX5" fmla="*/ 0 w 12196800"/>
              <a:gd name="connsiteY5" fmla="*/ 0 h 5338836"/>
              <a:gd name="connsiteX0" fmla="*/ 0 w 12196800"/>
              <a:gd name="connsiteY0" fmla="*/ 1067667 h 5338836"/>
              <a:gd name="connsiteX1" fmla="*/ 12196800 w 12196800"/>
              <a:gd name="connsiteY1" fmla="*/ 0 h 5338836"/>
              <a:gd name="connsiteX2" fmla="*/ 12196800 w 12196800"/>
              <a:gd name="connsiteY2" fmla="*/ 5338836 h 5338836"/>
              <a:gd name="connsiteX3" fmla="*/ 0 w 12196800"/>
              <a:gd name="connsiteY3" fmla="*/ 5338836 h 5338836"/>
              <a:gd name="connsiteX4" fmla="*/ 0 w 12196800"/>
              <a:gd name="connsiteY4" fmla="*/ 1067667 h 53388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6800" h="5338836">
                <a:moveTo>
                  <a:pt x="0" y="1067667"/>
                </a:moveTo>
                <a:lnTo>
                  <a:pt x="12196800" y="0"/>
                </a:lnTo>
                <a:lnTo>
                  <a:pt x="12196800" y="5338836"/>
                </a:lnTo>
                <a:lnTo>
                  <a:pt x="0" y="5338836"/>
                </a:lnTo>
                <a:lnTo>
                  <a:pt x="0" y="1067667"/>
                </a:lnTo>
                <a:close/>
              </a:path>
            </a:pathLst>
          </a:custGeom>
          <a:noFill/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  <p:sp>
        <p:nvSpPr>
          <p:cNvPr id="2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6" y="6564880"/>
            <a:ext cx="523975" cy="215949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 smtClean="0">
                <a:solidFill>
                  <a:prstClr val="black"/>
                </a:solidFill>
              </a:rPr>
              <a:t> </a:t>
            </a:r>
            <a:fld id="{52531704-8F80-415D-BD2B-6B9991AE822F}" type="slidenum">
              <a:rPr lang="en-GB" smtClean="0">
                <a:solidFill>
                  <a:prstClr val="black"/>
                </a:solidFill>
              </a:rPr>
              <a:pPr algn="r"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83577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88">
          <p15:clr>
            <a:srgbClr val="FBAE40"/>
          </p15:clr>
        </p15:guide>
      </p15:sldGuideLst>
    </p:ext>
  </p:extLs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without brush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Headline for Agenda in CorpoS (Body) 35 pt. </a:t>
            </a:r>
            <a:br>
              <a:rPr lang="en-GB" noProof="0" dirty="0" smtClean="0"/>
            </a:br>
            <a:r>
              <a:rPr lang="en-GB" noProof="0" dirty="0" smtClean="0"/>
              <a:t>one or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 smtClean="0">
              <a:solidFill>
                <a:prstClr val="black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28326" y="1504602"/>
            <a:ext cx="10932180" cy="4875671"/>
          </a:xfrm>
        </p:spPr>
        <p:txBody>
          <a:bodyPr/>
          <a:lstStyle>
            <a:lvl1pPr marL="358053" indent="-358053">
              <a:buSzPct val="100000"/>
              <a:buFont typeface="+mj-lt"/>
              <a:buAutoNum type="arabicPeriod"/>
              <a:defRPr>
                <a:solidFill>
                  <a:schemeClr val="tx1"/>
                </a:solidFill>
              </a:defRPr>
            </a:lvl1pPr>
            <a:lvl2pPr marL="358053" indent="-358053">
              <a:buFont typeface="+mj-lt"/>
              <a:buAutoNum type="arabicPeriod"/>
              <a:defRPr>
                <a:solidFill>
                  <a:schemeClr val="tx1"/>
                </a:solidFill>
              </a:defRPr>
            </a:lvl2pPr>
            <a:lvl3pPr marL="358053" indent="-358053">
              <a:buFont typeface="+mj-lt"/>
              <a:buAutoNum type="arabicPeriod"/>
              <a:defRPr>
                <a:solidFill>
                  <a:schemeClr val="tx1"/>
                </a:solidFill>
              </a:defRPr>
            </a:lvl3pPr>
            <a:lvl4pPr marL="358053" indent="-358053">
              <a:buFont typeface="+mj-lt"/>
              <a:buAutoNum type="arabicPeriod"/>
              <a:defRPr>
                <a:solidFill>
                  <a:schemeClr val="tx1"/>
                </a:solidFill>
              </a:defRPr>
            </a:lvl4pPr>
            <a:lvl5pPr marL="358053" indent="-358053">
              <a:buFont typeface="+mj-lt"/>
              <a:buAutoNum type="arabicPeriod"/>
              <a:defRPr>
                <a:solidFill>
                  <a:schemeClr val="tx1"/>
                </a:solidFill>
              </a:defRPr>
            </a:lvl5pPr>
            <a:lvl6pPr marL="358053" indent="-358053">
              <a:buFont typeface="+mj-lt"/>
              <a:buAutoNum type="arabicPeriod"/>
              <a:defRPr>
                <a:solidFill>
                  <a:schemeClr val="tx1"/>
                </a:solidFill>
              </a:defRPr>
            </a:lvl6pPr>
            <a:lvl7pPr marL="358053" indent="-358053">
              <a:buFont typeface="+mj-lt"/>
              <a:buAutoNum type="arabicPeriod"/>
              <a:defRPr>
                <a:solidFill>
                  <a:schemeClr val="tx1"/>
                </a:solidFill>
              </a:defRPr>
            </a:lvl7pPr>
            <a:lvl8pPr marL="358053" indent="-358053">
              <a:buFont typeface="+mj-lt"/>
              <a:buAutoNum type="arabicPeriod"/>
              <a:defRPr>
                <a:solidFill>
                  <a:schemeClr val="tx1"/>
                </a:solidFill>
              </a:defRPr>
            </a:lvl8pPr>
            <a:lvl9pPr marL="358053" indent="-358053">
              <a:buFont typeface="+mj-lt"/>
              <a:buAutoNum type="arabicPeriod"/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 smtClean="0"/>
              <a:t>Insert Agenda point</a:t>
            </a:r>
          </a:p>
          <a:p>
            <a:pPr lvl="1"/>
            <a:r>
              <a:rPr lang="en-GB" dirty="0" smtClean="0"/>
              <a:t>Second level 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</a:p>
          <a:p>
            <a:pPr lvl="5"/>
            <a:r>
              <a:rPr lang="en-GB" dirty="0" smtClean="0"/>
              <a:t>Sixth level</a:t>
            </a:r>
          </a:p>
          <a:p>
            <a:pPr lvl="6"/>
            <a:r>
              <a:rPr lang="en-GB" dirty="0" smtClean="0"/>
              <a:t>Sevens level</a:t>
            </a:r>
          </a:p>
          <a:p>
            <a:pPr lvl="7"/>
            <a:r>
              <a:rPr lang="en-GB" dirty="0" smtClean="0"/>
              <a:t>Eight level</a:t>
            </a:r>
          </a:p>
          <a:p>
            <a:pPr lvl="8"/>
            <a:r>
              <a:rPr lang="en-GB" dirty="0" smtClean="0"/>
              <a:t>Ninth level</a:t>
            </a: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6" y="6564880"/>
            <a:ext cx="523975" cy="215949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 smtClean="0">
                <a:solidFill>
                  <a:prstClr val="black"/>
                </a:solidFill>
              </a:rPr>
              <a:t> </a:t>
            </a:r>
            <a:fld id="{52531704-8F80-415D-BD2B-6B9991AE822F}" type="slidenum">
              <a:rPr lang="en-GB" smtClean="0">
                <a:solidFill>
                  <a:prstClr val="black"/>
                </a:solidFill>
              </a:rPr>
              <a:pPr algn="r"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368839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948">
          <p15:clr>
            <a:srgbClr val="FBAE40"/>
          </p15:clr>
        </p15:guide>
        <p15:guide id="3" orient="horz" pos="4020">
          <p15:clr>
            <a:srgbClr val="FBAE40"/>
          </p15:clr>
        </p15:guide>
      </p15:sldGuideLst>
    </p:ext>
  </p:extLs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/ content/ Headline 2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Headline in CorpoS (Body) 35 pt.</a:t>
            </a:r>
            <a:br>
              <a:rPr lang="en-GB" noProof="0" dirty="0" smtClean="0"/>
            </a:br>
            <a:r>
              <a:rPr lang="en-GB" noProof="0" dirty="0" smtClean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 smtClean="0">
              <a:solidFill>
                <a:prstClr val="black"/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629910" y="1504602"/>
            <a:ext cx="10930593" cy="4983236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noProof="0" dirty="0" smtClean="0"/>
              <a:t>Insert content or text in CorpoS (Body) 24 pt. (Mark-ups in Bold) // for conclusion, summary or short highlight: Home // Paragraph// Increase Li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 (Conclusion, summary or short highlight)</a:t>
            </a:r>
          </a:p>
          <a:p>
            <a:pPr lvl="4"/>
            <a:r>
              <a:rPr lang="en-GB" dirty="0" smtClean="0"/>
              <a:t>Fifth level</a:t>
            </a:r>
          </a:p>
          <a:p>
            <a:pPr lvl="5"/>
            <a:r>
              <a:rPr lang="en-GB" dirty="0" smtClean="0"/>
              <a:t>Sixth level</a:t>
            </a:r>
          </a:p>
          <a:p>
            <a:pPr lvl="6"/>
            <a:r>
              <a:rPr lang="en-GB" dirty="0" smtClean="0"/>
              <a:t>Sevens level</a:t>
            </a:r>
          </a:p>
          <a:p>
            <a:pPr lvl="7"/>
            <a:r>
              <a:rPr lang="en-GB" dirty="0" smtClean="0"/>
              <a:t>Eight level</a:t>
            </a:r>
          </a:p>
          <a:p>
            <a:pPr lvl="8"/>
            <a:r>
              <a:rPr lang="en-GB" dirty="0" smtClean="0"/>
              <a:t>Ninth level</a:t>
            </a: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6" y="6564880"/>
            <a:ext cx="523975" cy="215949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 smtClean="0">
                <a:solidFill>
                  <a:prstClr val="black"/>
                </a:solidFill>
              </a:rPr>
              <a:t> </a:t>
            </a:r>
            <a:fld id="{52531704-8F80-415D-BD2B-6B9991AE822F}" type="slidenum">
              <a:rPr lang="en-GB" smtClean="0">
                <a:solidFill>
                  <a:prstClr val="black"/>
                </a:solidFill>
              </a:rPr>
              <a:pPr algn="r"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47436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  <p15:guide id="3" orient="horz" pos="950">
          <p15:clr>
            <a:srgbClr val="FBAE40"/>
          </p15:clr>
        </p15:guide>
      </p15:sldGuideLst>
    </p:ext>
  </p:extLs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/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 smtClean="0"/>
              <a:t>Headline in CorpoS (Body) 35 pt.</a:t>
            </a:r>
            <a:br>
              <a:rPr lang="en-GB" noProof="0" dirty="0" smtClean="0"/>
            </a:br>
            <a:r>
              <a:rPr lang="en-GB" noProof="0" dirty="0" smtClean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 smtClean="0">
              <a:solidFill>
                <a:prstClr val="black"/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629944" y="2493113"/>
            <a:ext cx="4965177" cy="345546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dirty="0" smtClean="0"/>
              <a:t>Insert content or text in </a:t>
            </a:r>
            <a:r>
              <a:rPr lang="en-GB" noProof="0" dirty="0" smtClean="0"/>
              <a:t>CorpoS (Body) 24 pt. (Mark-ups in Bold) </a:t>
            </a:r>
            <a:r>
              <a:rPr lang="en-GB" dirty="0" smtClean="0"/>
              <a:t>// for conclusion</a:t>
            </a:r>
            <a:r>
              <a:rPr lang="en-GB" noProof="0" dirty="0" smtClean="0"/>
              <a:t>, summary or short highlight</a:t>
            </a:r>
            <a:r>
              <a:rPr lang="en-GB" dirty="0" smtClean="0"/>
              <a:t>: Home // Paragraph// Increase Li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29912" y="1504605"/>
            <a:ext cx="4965173" cy="683842"/>
          </a:xfrm>
        </p:spPr>
        <p:txBody>
          <a:bodyPr anchor="b" anchorCtr="0"/>
          <a:lstStyle>
            <a:lvl1pPr marL="0" indent="0">
              <a:lnSpc>
                <a:spcPts val="2398"/>
              </a:lnSpc>
              <a:buNone/>
              <a:defRPr sz="1866">
                <a:solidFill>
                  <a:schemeClr val="tx1"/>
                </a:solidFill>
              </a:defRPr>
            </a:lvl1pPr>
            <a:lvl2pPr marL="0" indent="0">
              <a:lnSpc>
                <a:spcPts val="2398"/>
              </a:lnSpc>
              <a:buFont typeface="Arial" panose="020B0604020202020204" pitchFamily="34" charset="0"/>
              <a:buNone/>
              <a:defRPr sz="1866">
                <a:solidFill>
                  <a:schemeClr val="tx1"/>
                </a:solidFill>
              </a:defRPr>
            </a:lvl2pPr>
            <a:lvl3pPr marL="0" indent="0">
              <a:lnSpc>
                <a:spcPts val="2398"/>
              </a:lnSpc>
              <a:buFont typeface="Arial" panose="020B0604020202020204" pitchFamily="34" charset="0"/>
              <a:buNone/>
              <a:defRPr sz="1866">
                <a:solidFill>
                  <a:schemeClr val="tx1"/>
                </a:solidFill>
              </a:defRPr>
            </a:lvl3pPr>
            <a:lvl4pPr marL="0" indent="0">
              <a:lnSpc>
                <a:spcPts val="2398"/>
              </a:lnSpc>
              <a:buFont typeface="Arial" panose="020B0604020202020204" pitchFamily="34" charset="0"/>
              <a:buNone/>
              <a:defRPr sz="1866">
                <a:solidFill>
                  <a:schemeClr val="tx1"/>
                </a:solidFill>
              </a:defRPr>
            </a:lvl4pPr>
            <a:lvl5pPr marL="0" indent="0">
              <a:lnSpc>
                <a:spcPts val="2398"/>
              </a:lnSpc>
              <a:buFont typeface="Arial" panose="020B0604020202020204" pitchFamily="34" charset="0"/>
              <a:buNone/>
              <a:defRPr sz="1866">
                <a:solidFill>
                  <a:schemeClr val="tx1"/>
                </a:solidFill>
              </a:defRPr>
            </a:lvl5pPr>
            <a:lvl6pPr marL="0" indent="0">
              <a:lnSpc>
                <a:spcPts val="2398"/>
              </a:lnSpc>
              <a:buFont typeface="Arial" panose="020B0604020202020204" pitchFamily="34" charset="0"/>
              <a:buNone/>
              <a:defRPr sz="1866">
                <a:solidFill>
                  <a:schemeClr val="tx1"/>
                </a:solidFill>
              </a:defRPr>
            </a:lvl6pPr>
            <a:lvl7pPr marL="0" indent="0">
              <a:lnSpc>
                <a:spcPts val="2398"/>
              </a:lnSpc>
              <a:buFont typeface="Arial" panose="020B0604020202020204" pitchFamily="34" charset="0"/>
              <a:buNone/>
              <a:defRPr sz="1866">
                <a:solidFill>
                  <a:schemeClr val="tx1"/>
                </a:solidFill>
              </a:defRPr>
            </a:lvl7pPr>
            <a:lvl8pPr marL="0" indent="0">
              <a:lnSpc>
                <a:spcPts val="2398"/>
              </a:lnSpc>
              <a:buFont typeface="Arial" panose="020B0604020202020204" pitchFamily="34" charset="0"/>
              <a:buNone/>
              <a:defRPr sz="1866">
                <a:solidFill>
                  <a:schemeClr val="tx1"/>
                </a:solidFill>
              </a:defRPr>
            </a:lvl8pPr>
            <a:lvl9pPr marL="0" indent="0">
              <a:lnSpc>
                <a:spcPts val="2398"/>
              </a:lnSpc>
              <a:buFont typeface="Arial" panose="020B0604020202020204" pitchFamily="34" charset="0"/>
              <a:buNone/>
              <a:defRPr sz="1866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 smtClean="0"/>
              <a:t>Insert headline</a:t>
            </a:r>
          </a:p>
        </p:txBody>
      </p:sp>
      <p:cxnSp>
        <p:nvCxnSpPr>
          <p:cNvPr id="8" name="Gerade Verbindung 42"/>
          <p:cNvCxnSpPr/>
          <p:nvPr/>
        </p:nvCxnSpPr>
        <p:spPr bwMode="auto">
          <a:xfrm>
            <a:off x="629672" y="2231482"/>
            <a:ext cx="4965413" cy="0"/>
          </a:xfrm>
          <a:prstGeom prst="line">
            <a:avLst/>
          </a:prstGeom>
          <a:solidFill>
            <a:srgbClr val="D2D4D6"/>
          </a:solidFill>
          <a:ln w="12700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" name="Gerade Verbindung 42"/>
          <p:cNvCxnSpPr/>
          <p:nvPr/>
        </p:nvCxnSpPr>
        <p:spPr bwMode="auto">
          <a:xfrm>
            <a:off x="6595091" y="2231482"/>
            <a:ext cx="4965413" cy="0"/>
          </a:xfrm>
          <a:prstGeom prst="line">
            <a:avLst/>
          </a:prstGeom>
          <a:solidFill>
            <a:srgbClr val="D2D4D6"/>
          </a:solidFill>
          <a:ln w="12700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6595361" y="1504605"/>
            <a:ext cx="4965177" cy="683842"/>
          </a:xfrm>
        </p:spPr>
        <p:txBody>
          <a:bodyPr anchor="b" anchorCtr="0"/>
          <a:lstStyle>
            <a:lvl1pPr marL="0" indent="0">
              <a:lnSpc>
                <a:spcPts val="2398"/>
              </a:lnSpc>
              <a:buNone/>
              <a:defRPr sz="1866">
                <a:solidFill>
                  <a:schemeClr val="tx1"/>
                </a:solidFill>
              </a:defRPr>
            </a:lvl1pPr>
            <a:lvl2pPr marL="0" indent="0">
              <a:lnSpc>
                <a:spcPts val="2398"/>
              </a:lnSpc>
              <a:buFont typeface="Arial" panose="020B0604020202020204" pitchFamily="34" charset="0"/>
              <a:buNone/>
              <a:defRPr sz="1866">
                <a:solidFill>
                  <a:schemeClr val="tx1"/>
                </a:solidFill>
              </a:defRPr>
            </a:lvl2pPr>
            <a:lvl3pPr marL="0" indent="0">
              <a:lnSpc>
                <a:spcPts val="2398"/>
              </a:lnSpc>
              <a:buFont typeface="Arial" panose="020B0604020202020204" pitchFamily="34" charset="0"/>
              <a:buNone/>
              <a:defRPr sz="1866">
                <a:solidFill>
                  <a:schemeClr val="tx1"/>
                </a:solidFill>
              </a:defRPr>
            </a:lvl3pPr>
            <a:lvl4pPr marL="0" indent="0">
              <a:lnSpc>
                <a:spcPts val="2398"/>
              </a:lnSpc>
              <a:buFont typeface="Arial" panose="020B0604020202020204" pitchFamily="34" charset="0"/>
              <a:buNone/>
              <a:defRPr sz="1866">
                <a:solidFill>
                  <a:schemeClr val="tx1"/>
                </a:solidFill>
              </a:defRPr>
            </a:lvl4pPr>
            <a:lvl5pPr marL="0" indent="0">
              <a:lnSpc>
                <a:spcPts val="2398"/>
              </a:lnSpc>
              <a:buFont typeface="Arial" panose="020B0604020202020204" pitchFamily="34" charset="0"/>
              <a:buNone/>
              <a:defRPr sz="1866">
                <a:solidFill>
                  <a:schemeClr val="tx1"/>
                </a:solidFill>
              </a:defRPr>
            </a:lvl5pPr>
            <a:lvl6pPr marL="0" indent="0">
              <a:lnSpc>
                <a:spcPts val="2398"/>
              </a:lnSpc>
              <a:buFont typeface="Arial" panose="020B0604020202020204" pitchFamily="34" charset="0"/>
              <a:buNone/>
              <a:defRPr sz="1866">
                <a:solidFill>
                  <a:schemeClr val="tx1"/>
                </a:solidFill>
              </a:defRPr>
            </a:lvl6pPr>
            <a:lvl7pPr marL="0" indent="0">
              <a:lnSpc>
                <a:spcPts val="2398"/>
              </a:lnSpc>
              <a:buFont typeface="Arial" panose="020B0604020202020204" pitchFamily="34" charset="0"/>
              <a:buNone/>
              <a:defRPr sz="1866">
                <a:solidFill>
                  <a:schemeClr val="tx1"/>
                </a:solidFill>
              </a:defRPr>
            </a:lvl7pPr>
            <a:lvl8pPr marL="0" indent="0">
              <a:lnSpc>
                <a:spcPts val="2398"/>
              </a:lnSpc>
              <a:buFont typeface="Arial" panose="020B0604020202020204" pitchFamily="34" charset="0"/>
              <a:buNone/>
              <a:defRPr sz="1866">
                <a:solidFill>
                  <a:schemeClr val="tx1"/>
                </a:solidFill>
              </a:defRPr>
            </a:lvl8pPr>
            <a:lvl9pPr marL="0" indent="0">
              <a:lnSpc>
                <a:spcPts val="2398"/>
              </a:lnSpc>
              <a:buFont typeface="Arial" panose="020B0604020202020204" pitchFamily="34" charset="0"/>
              <a:buNone/>
              <a:defRPr sz="1866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 smtClean="0"/>
              <a:t>Insert headline</a:t>
            </a:r>
          </a:p>
        </p:txBody>
      </p:sp>
      <p:sp>
        <p:nvSpPr>
          <p:cNvPr id="11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6595361" y="2493114"/>
            <a:ext cx="4965177" cy="34552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dirty="0" smtClean="0"/>
              <a:t>Insert content or text in </a:t>
            </a:r>
            <a:r>
              <a:rPr lang="en-GB" noProof="0" dirty="0" smtClean="0"/>
              <a:t>CorpoS (Body) 24 pt. (Mark-ups in Bold) </a:t>
            </a:r>
            <a:r>
              <a:rPr lang="en-GB" dirty="0" smtClean="0"/>
              <a:t>// for conclusion</a:t>
            </a:r>
            <a:r>
              <a:rPr lang="en-GB" noProof="0" dirty="0" smtClean="0"/>
              <a:t>, summary or short highlight</a:t>
            </a:r>
            <a:r>
              <a:rPr lang="en-GB" dirty="0" smtClean="0"/>
              <a:t>: Home // Paragraph// Increase Li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6" y="6564880"/>
            <a:ext cx="523975" cy="215949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 smtClean="0">
                <a:solidFill>
                  <a:prstClr val="black"/>
                </a:solidFill>
              </a:rPr>
              <a:t> </a:t>
            </a:r>
            <a:fld id="{52531704-8F80-415D-BD2B-6B9991AE822F}" type="slidenum">
              <a:rPr lang="en-GB" smtClean="0">
                <a:solidFill>
                  <a:prstClr val="black"/>
                </a:solidFill>
              </a:rPr>
              <a:pPr algn="r"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081017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569">
          <p15:clr>
            <a:srgbClr val="FBAE40"/>
          </p15:clr>
        </p15:guide>
        <p15:guide id="2" pos="4155">
          <p15:clr>
            <a:srgbClr val="FBAE40"/>
          </p15:clr>
        </p15:guide>
        <p15:guide id="3" pos="3528">
          <p15:clr>
            <a:srgbClr val="FBAE40"/>
          </p15:clr>
        </p15:guide>
        <p15:guide id="4" orient="horz" pos="3748">
          <p15:clr>
            <a:srgbClr val="FBAE40"/>
          </p15:clr>
        </p15:guide>
        <p15:guide id="5" orient="horz" pos="950">
          <p15:clr>
            <a:srgbClr val="FBAE40"/>
          </p15:clr>
        </p15:guide>
      </p15:sldGuideLst>
    </p:ext>
  </p:extLs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/ Headline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 smtClean="0"/>
              <a:t>Headline in CorpoS (Body) 35 pt.</a:t>
            </a:r>
            <a:br>
              <a:rPr lang="en-GB" noProof="0" dirty="0" smtClean="0"/>
            </a:br>
            <a:r>
              <a:rPr lang="en-GB" noProof="0" dirty="0" smtClean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 smtClean="0">
              <a:solidFill>
                <a:prstClr val="black"/>
              </a:solidFill>
            </a:endParaRPr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6" y="6564880"/>
            <a:ext cx="523975" cy="215949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 smtClean="0">
                <a:solidFill>
                  <a:prstClr val="black"/>
                </a:solidFill>
              </a:rPr>
              <a:t> </a:t>
            </a:r>
            <a:fld id="{52531704-8F80-415D-BD2B-6B9991AE822F}" type="slidenum">
              <a:rPr lang="en-GB" smtClean="0">
                <a:solidFill>
                  <a:prstClr val="black"/>
                </a:solidFill>
              </a:rPr>
              <a:pPr algn="r"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280483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</p15:sldGuideLst>
    </p:ext>
  </p:extLs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4. Title Logos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28323" y="2045815"/>
            <a:ext cx="10932181" cy="1619625"/>
          </a:xfrm>
          <a:custGeom>
            <a:avLst/>
            <a:gdLst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75 w 10937875"/>
              <a:gd name="connsiteY2" fmla="*/ 1620000 h 1620000"/>
              <a:gd name="connsiteX3" fmla="*/ 0 w 10937875"/>
              <a:gd name="connsiteY3" fmla="*/ 1620000 h 1620000"/>
              <a:gd name="connsiteX4" fmla="*/ 0 w 10937875"/>
              <a:gd name="connsiteY4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75 w 10937875"/>
              <a:gd name="connsiteY2" fmla="*/ 1620000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10937875 w 10937875"/>
              <a:gd name="connsiteY3" fmla="*/ 1620000 h 1620000"/>
              <a:gd name="connsiteX4" fmla="*/ 6569541 w 10937875"/>
              <a:gd name="connsiteY4" fmla="*/ 1619979 h 1620000"/>
              <a:gd name="connsiteX5" fmla="*/ 0 w 10937875"/>
              <a:gd name="connsiteY5" fmla="*/ 1620000 h 1620000"/>
              <a:gd name="connsiteX6" fmla="*/ 0 w 10937875"/>
              <a:gd name="connsiteY6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937875" h="1620000">
                <a:moveTo>
                  <a:pt x="0" y="0"/>
                </a:moveTo>
                <a:lnTo>
                  <a:pt x="10937875" y="0"/>
                </a:lnTo>
                <a:cubicBezTo>
                  <a:pt x="10937870" y="414317"/>
                  <a:pt x="10937865" y="828635"/>
                  <a:pt x="10937860" y="1242952"/>
                </a:cubicBezTo>
                <a:lnTo>
                  <a:pt x="6569541" y="1619979"/>
                </a:lnTo>
                <a:lnTo>
                  <a:pt x="0" y="1620000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 anchor="t" anchorCtr="0">
            <a:noAutofit/>
          </a:bodyPr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Referent’s name: </a:t>
            </a:r>
            <a:r>
              <a:rPr lang="en-GB" noProof="0" dirty="0" smtClean="0"/>
              <a:t>CorpoS </a:t>
            </a:r>
            <a:r>
              <a:rPr lang="en-GB" dirty="0" smtClean="0"/>
              <a:t>(Body) 35 pt.</a:t>
            </a:r>
            <a:br>
              <a:rPr lang="en-GB" dirty="0" smtClean="0"/>
            </a:br>
            <a:r>
              <a:rPr lang="en-GB" dirty="0" smtClean="0"/>
              <a:t>Presentation title in two or three </a:t>
            </a:r>
            <a:br>
              <a:rPr lang="en-GB" dirty="0" smtClean="0"/>
            </a:br>
            <a:r>
              <a:rPr lang="en-GB" dirty="0" smtClean="0"/>
              <a:t>lines of text, Month </a:t>
            </a:r>
            <a:r>
              <a:rPr lang="en-GB" dirty="0" err="1" smtClean="0"/>
              <a:t>dd</a:t>
            </a:r>
            <a:r>
              <a:rPr lang="en-GB" dirty="0" smtClean="0"/>
              <a:t>, </a:t>
            </a:r>
            <a:r>
              <a:rPr lang="en-GB" dirty="0" err="1" smtClean="0"/>
              <a:t>yyyy</a:t>
            </a:r>
            <a:endParaRPr lang="en-GB" dirty="0"/>
          </a:p>
        </p:txBody>
      </p:sp>
      <p:pic>
        <p:nvPicPr>
          <p:cNvPr id="30" name="Wortmarke DAIMLER" descr="Daimler_RGB_100mm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9674" y="790855"/>
            <a:ext cx="3418220" cy="462728"/>
          </a:xfrm>
          <a:prstGeom prst="rect">
            <a:avLst/>
          </a:prstGeom>
        </p:spPr>
      </p:pic>
      <p:grpSp>
        <p:nvGrpSpPr>
          <p:cNvPr id="3" name="Group 2"/>
          <p:cNvGrpSpPr/>
          <p:nvPr/>
        </p:nvGrpSpPr>
        <p:grpSpPr>
          <a:xfrm>
            <a:off x="7480483" y="4815633"/>
            <a:ext cx="4192304" cy="1775696"/>
            <a:chOff x="7484377" y="4816748"/>
            <a:chExt cx="4194487" cy="1776107"/>
          </a:xfrm>
        </p:grpSpPr>
        <p:pic>
          <p:nvPicPr>
            <p:cNvPr id="19" name="Logos Trucks" descr="Logoleiste_PPT_2.psd"/>
            <p:cNvPicPr>
              <a:picLocks noChangeAspect="1"/>
            </p:cNvPicPr>
            <p:nvPr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17875" b="-24687"/>
            <a:stretch/>
          </p:blipFill>
          <p:spPr>
            <a:xfrm>
              <a:off x="10491663" y="5495330"/>
              <a:ext cx="1187201" cy="1097525"/>
            </a:xfrm>
            <a:prstGeom prst="rect">
              <a:avLst/>
            </a:prstGeom>
          </p:spPr>
        </p:pic>
        <p:pic>
          <p:nvPicPr>
            <p:cNvPr id="23" name="図 3" descr="New_FUSO_logo.psd"/>
            <p:cNvPicPr>
              <a:picLocks noChangeAspect="1" noChangeArrowheads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84377" y="5839026"/>
              <a:ext cx="1279094" cy="36430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6" name="TextBox 15"/>
            <p:cNvSpPr txBox="1"/>
            <p:nvPr/>
          </p:nvSpPr>
          <p:spPr bwMode="auto">
            <a:xfrm>
              <a:off x="7645957" y="4816748"/>
              <a:ext cx="4012512" cy="5541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rtlCol="0" anchor="t" anchorCtr="0">
              <a:spAutoFit/>
            </a:bodyPr>
            <a:lstStyle/>
            <a:p>
              <a:pPr defTabSz="1083665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3599" dirty="0">
                  <a:solidFill>
                    <a:prstClr val="black"/>
                  </a:solidFill>
                  <a:latin typeface="CorpoSDem" pitchFamily="2" charset="0"/>
                  <a:cs typeface="Daimler CS"/>
                </a:rPr>
                <a:t>Daimler Trucks Asia</a:t>
              </a:r>
            </a:p>
          </p:txBody>
        </p:sp>
        <p:cxnSp>
          <p:nvCxnSpPr>
            <p:cNvPr id="17" name="Straight Connector 16"/>
            <p:cNvCxnSpPr/>
            <p:nvPr/>
          </p:nvCxnSpPr>
          <p:spPr bwMode="auto">
            <a:xfrm>
              <a:off x="7645957" y="5392812"/>
              <a:ext cx="3839864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ffectLst/>
            <a:extLst/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pic>
          <p:nvPicPr>
            <p:cNvPr id="24" name="Logos Trucks" descr="Logoleiste_PPT_2.psd"/>
            <p:cNvPicPr>
              <a:picLocks noChangeAspect="1"/>
            </p:cNvPicPr>
            <p:nvPr/>
          </p:nvPicPr>
          <p:blipFill rotWithShape="1"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17875" b="-24687"/>
            <a:stretch/>
          </p:blipFill>
          <p:spPr>
            <a:xfrm>
              <a:off x="8871919" y="5495330"/>
              <a:ext cx="1547736" cy="109752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553822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289">
          <p15:clr>
            <a:srgbClr val="FBAE40"/>
          </p15:clr>
        </p15:guide>
      </p15:sldGuideLst>
    </p:ext>
  </p:extLs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2. Title text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28323" y="5121280"/>
            <a:ext cx="10932181" cy="1025684"/>
          </a:xfrm>
        </p:spPr>
        <p:txBody>
          <a:bodyPr wrap="square" anchor="b" anchorCtr="0">
            <a:spAutoFit/>
          </a:bodyPr>
          <a:lstStyle>
            <a:lvl1pPr>
              <a:defRPr baseline="0"/>
            </a:lvl1pPr>
          </a:lstStyle>
          <a:p>
            <a:r>
              <a:rPr lang="en-GB" dirty="0" smtClean="0"/>
              <a:t>Referent’s name: </a:t>
            </a:r>
            <a:r>
              <a:rPr lang="en-GB" noProof="0" dirty="0" smtClean="0"/>
              <a:t>CorpoS </a:t>
            </a:r>
            <a:r>
              <a:rPr lang="en-GB" dirty="0" smtClean="0"/>
              <a:t>(Body) 35 pt. Presentation title</a:t>
            </a:r>
            <a:br>
              <a:rPr lang="en-GB" dirty="0" smtClean="0"/>
            </a:br>
            <a:r>
              <a:rPr lang="en-GB" dirty="0" smtClean="0"/>
              <a:t>in two or more lines of text, Month </a:t>
            </a:r>
            <a:r>
              <a:rPr lang="en-GB" dirty="0" err="1" smtClean="0"/>
              <a:t>dd</a:t>
            </a:r>
            <a:r>
              <a:rPr lang="en-GB" dirty="0" smtClean="0"/>
              <a:t>, </a:t>
            </a:r>
            <a:r>
              <a:rPr lang="en-GB" dirty="0" err="1" smtClean="0"/>
              <a:t>yyyy</a:t>
            </a:r>
            <a:endParaRPr lang="en-GB" dirty="0"/>
          </a:p>
        </p:txBody>
      </p:sp>
      <p:pic>
        <p:nvPicPr>
          <p:cNvPr id="28" name="Wortmarke DAIMLER" descr="Daimler_RGB_100mm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9674" y="790855"/>
            <a:ext cx="3418220" cy="462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35841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3873">
          <p15:clr>
            <a:srgbClr val="FBAE40"/>
          </p15:clr>
        </p15:guide>
      </p15:sldGuideLst>
    </p:ext>
  </p:extLs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4. Title imag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 bwMode="auto">
          <a:xfrm>
            <a:off x="-2380" y="3429000"/>
            <a:ext cx="12192830" cy="3429000"/>
          </a:xfrm>
          <a:custGeom>
            <a:avLst/>
            <a:gdLst>
              <a:gd name="connsiteX0" fmla="*/ 0 w 12196799"/>
              <a:gd name="connsiteY0" fmla="*/ 0 h 3429794"/>
              <a:gd name="connsiteX1" fmla="*/ 12196799 w 12196799"/>
              <a:gd name="connsiteY1" fmla="*/ 0 h 3429794"/>
              <a:gd name="connsiteX2" fmla="*/ 12196799 w 12196799"/>
              <a:gd name="connsiteY2" fmla="*/ 3429794 h 3429794"/>
              <a:gd name="connsiteX3" fmla="*/ 0 w 12196799"/>
              <a:gd name="connsiteY3" fmla="*/ 3429794 h 3429794"/>
              <a:gd name="connsiteX4" fmla="*/ 0 w 12196799"/>
              <a:gd name="connsiteY4" fmla="*/ 0 h 3429794"/>
              <a:gd name="connsiteX0" fmla="*/ 2381 w 12199180"/>
              <a:gd name="connsiteY0" fmla="*/ 0 h 3429794"/>
              <a:gd name="connsiteX1" fmla="*/ 12199180 w 12199180"/>
              <a:gd name="connsiteY1" fmla="*/ 0 h 3429794"/>
              <a:gd name="connsiteX2" fmla="*/ 12199180 w 12199180"/>
              <a:gd name="connsiteY2" fmla="*/ 3429794 h 3429794"/>
              <a:gd name="connsiteX3" fmla="*/ 2381 w 12199180"/>
              <a:gd name="connsiteY3" fmla="*/ 3429794 h 3429794"/>
              <a:gd name="connsiteX4" fmla="*/ 0 w 12199180"/>
              <a:gd name="connsiteY4" fmla="*/ 1070769 h 3429794"/>
              <a:gd name="connsiteX5" fmla="*/ 2381 w 12199180"/>
              <a:gd name="connsiteY5" fmla="*/ 0 h 3429794"/>
              <a:gd name="connsiteX0" fmla="*/ 0 w 12199180"/>
              <a:gd name="connsiteY0" fmla="*/ 1167730 h 3526755"/>
              <a:gd name="connsiteX1" fmla="*/ 12199180 w 12199180"/>
              <a:gd name="connsiteY1" fmla="*/ 96961 h 3526755"/>
              <a:gd name="connsiteX2" fmla="*/ 12199180 w 12199180"/>
              <a:gd name="connsiteY2" fmla="*/ 3526755 h 3526755"/>
              <a:gd name="connsiteX3" fmla="*/ 2381 w 12199180"/>
              <a:gd name="connsiteY3" fmla="*/ 3526755 h 3526755"/>
              <a:gd name="connsiteX4" fmla="*/ 0 w 12199180"/>
              <a:gd name="connsiteY4" fmla="*/ 1167730 h 3526755"/>
              <a:gd name="connsiteX0" fmla="*/ 0 w 12199180"/>
              <a:gd name="connsiteY0" fmla="*/ 1070769 h 3429794"/>
              <a:gd name="connsiteX1" fmla="*/ 12199180 w 12199180"/>
              <a:gd name="connsiteY1" fmla="*/ 0 h 3429794"/>
              <a:gd name="connsiteX2" fmla="*/ 12199180 w 12199180"/>
              <a:gd name="connsiteY2" fmla="*/ 3429794 h 3429794"/>
              <a:gd name="connsiteX3" fmla="*/ 2381 w 12199180"/>
              <a:gd name="connsiteY3" fmla="*/ 3429794 h 3429794"/>
              <a:gd name="connsiteX4" fmla="*/ 0 w 12199180"/>
              <a:gd name="connsiteY4" fmla="*/ 1070769 h 34297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9180" h="3429794">
                <a:moveTo>
                  <a:pt x="0" y="1070769"/>
                </a:moveTo>
                <a:lnTo>
                  <a:pt x="12199180" y="0"/>
                </a:lnTo>
                <a:lnTo>
                  <a:pt x="12199180" y="3429794"/>
                </a:lnTo>
                <a:lnTo>
                  <a:pt x="2381" y="3429794"/>
                </a:lnTo>
                <a:cubicBezTo>
                  <a:pt x="1587" y="2643452"/>
                  <a:pt x="794" y="1857111"/>
                  <a:pt x="0" y="1070769"/>
                </a:cubicBezTo>
                <a:close/>
              </a:path>
            </a:pathLst>
          </a:custGeom>
          <a:noFill/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28323" y="2045815"/>
            <a:ext cx="10932181" cy="1619625"/>
          </a:xfrm>
          <a:custGeom>
            <a:avLst/>
            <a:gdLst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75 w 10937875"/>
              <a:gd name="connsiteY2" fmla="*/ 1620000 h 1620000"/>
              <a:gd name="connsiteX3" fmla="*/ 0 w 10937875"/>
              <a:gd name="connsiteY3" fmla="*/ 1620000 h 1620000"/>
              <a:gd name="connsiteX4" fmla="*/ 0 w 10937875"/>
              <a:gd name="connsiteY4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75 w 10937875"/>
              <a:gd name="connsiteY2" fmla="*/ 1620000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10937875 w 10937875"/>
              <a:gd name="connsiteY3" fmla="*/ 1620000 h 1620000"/>
              <a:gd name="connsiteX4" fmla="*/ 6569541 w 10937875"/>
              <a:gd name="connsiteY4" fmla="*/ 1619979 h 1620000"/>
              <a:gd name="connsiteX5" fmla="*/ 0 w 10937875"/>
              <a:gd name="connsiteY5" fmla="*/ 1620000 h 1620000"/>
              <a:gd name="connsiteX6" fmla="*/ 0 w 10937875"/>
              <a:gd name="connsiteY6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937875" h="1620000">
                <a:moveTo>
                  <a:pt x="0" y="0"/>
                </a:moveTo>
                <a:lnTo>
                  <a:pt x="10937875" y="0"/>
                </a:lnTo>
                <a:cubicBezTo>
                  <a:pt x="10937870" y="414317"/>
                  <a:pt x="10937865" y="828635"/>
                  <a:pt x="10937860" y="1242952"/>
                </a:cubicBezTo>
                <a:lnTo>
                  <a:pt x="6569541" y="1619979"/>
                </a:lnTo>
                <a:lnTo>
                  <a:pt x="0" y="1620000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 anchor="t" anchorCtr="0">
            <a:noAutofit/>
          </a:bodyPr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Referent’s name: </a:t>
            </a:r>
            <a:r>
              <a:rPr lang="en-GB" noProof="0" dirty="0" smtClean="0"/>
              <a:t>CorpoS </a:t>
            </a:r>
            <a:r>
              <a:rPr lang="en-GB" dirty="0" smtClean="0"/>
              <a:t>(Body) 35 pt.</a:t>
            </a:r>
            <a:br>
              <a:rPr lang="en-GB" dirty="0" smtClean="0"/>
            </a:br>
            <a:r>
              <a:rPr lang="en-GB" dirty="0" smtClean="0"/>
              <a:t>Presentation title in two or three </a:t>
            </a:r>
            <a:br>
              <a:rPr lang="en-GB" dirty="0" smtClean="0"/>
            </a:br>
            <a:r>
              <a:rPr lang="en-GB" dirty="0" smtClean="0"/>
              <a:t>lines of text, Month </a:t>
            </a:r>
            <a:r>
              <a:rPr lang="en-GB" dirty="0" err="1" smtClean="0"/>
              <a:t>dd</a:t>
            </a:r>
            <a:r>
              <a:rPr lang="en-GB" dirty="0" smtClean="0"/>
              <a:t>, </a:t>
            </a:r>
            <a:r>
              <a:rPr lang="en-GB" dirty="0" err="1" smtClean="0"/>
              <a:t>yyyy</a:t>
            </a:r>
            <a:endParaRPr lang="en-GB" dirty="0"/>
          </a:p>
        </p:txBody>
      </p:sp>
      <p:pic>
        <p:nvPicPr>
          <p:cNvPr id="30" name="Wortmarke DAIMLER" descr="Daimler_RGB_100mm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9674" y="790855"/>
            <a:ext cx="3418220" cy="462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63390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289">
          <p15:clr>
            <a:srgbClr val="FBAE40"/>
          </p15:clr>
        </p15:guide>
      </p15:sldGuideLst>
    </p:ext>
  </p:extLs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5. Title imag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-2349" y="2281902"/>
            <a:ext cx="12192831" cy="4576100"/>
          </a:xfrm>
          <a:custGeom>
            <a:avLst/>
            <a:gdLst>
              <a:gd name="connsiteX0" fmla="*/ 0 w 12196800"/>
              <a:gd name="connsiteY0" fmla="*/ 0 h 4581922"/>
              <a:gd name="connsiteX1" fmla="*/ 12196800 w 12196800"/>
              <a:gd name="connsiteY1" fmla="*/ 0 h 4581922"/>
              <a:gd name="connsiteX2" fmla="*/ 12196800 w 12196800"/>
              <a:gd name="connsiteY2" fmla="*/ 4581922 h 4581922"/>
              <a:gd name="connsiteX3" fmla="*/ 0 w 12196800"/>
              <a:gd name="connsiteY3" fmla="*/ 4581922 h 4581922"/>
              <a:gd name="connsiteX4" fmla="*/ 0 w 12196800"/>
              <a:gd name="connsiteY4" fmla="*/ 0 h 4581922"/>
              <a:gd name="connsiteX0" fmla="*/ 2381 w 12199181"/>
              <a:gd name="connsiteY0" fmla="*/ 0 h 4581922"/>
              <a:gd name="connsiteX1" fmla="*/ 12199181 w 12199181"/>
              <a:gd name="connsiteY1" fmla="*/ 0 h 4581922"/>
              <a:gd name="connsiteX2" fmla="*/ 12199181 w 12199181"/>
              <a:gd name="connsiteY2" fmla="*/ 4581922 h 4581922"/>
              <a:gd name="connsiteX3" fmla="*/ 2381 w 12199181"/>
              <a:gd name="connsiteY3" fmla="*/ 4581922 h 4581922"/>
              <a:gd name="connsiteX4" fmla="*/ 0 w 12199181"/>
              <a:gd name="connsiteY4" fmla="*/ 1075135 h 4581922"/>
              <a:gd name="connsiteX5" fmla="*/ 2381 w 12199181"/>
              <a:gd name="connsiteY5" fmla="*/ 0 h 4581922"/>
              <a:gd name="connsiteX0" fmla="*/ 0 w 12199181"/>
              <a:gd name="connsiteY0" fmla="*/ 1263181 h 4769968"/>
              <a:gd name="connsiteX1" fmla="*/ 12199181 w 12199181"/>
              <a:gd name="connsiteY1" fmla="*/ 188046 h 4769968"/>
              <a:gd name="connsiteX2" fmla="*/ 12199181 w 12199181"/>
              <a:gd name="connsiteY2" fmla="*/ 4769968 h 4769968"/>
              <a:gd name="connsiteX3" fmla="*/ 2381 w 12199181"/>
              <a:gd name="connsiteY3" fmla="*/ 4769968 h 4769968"/>
              <a:gd name="connsiteX4" fmla="*/ 0 w 12199181"/>
              <a:gd name="connsiteY4" fmla="*/ 1263181 h 4769968"/>
              <a:gd name="connsiteX0" fmla="*/ 0 w 12199181"/>
              <a:gd name="connsiteY0" fmla="*/ 1075135 h 4581922"/>
              <a:gd name="connsiteX1" fmla="*/ 12199181 w 12199181"/>
              <a:gd name="connsiteY1" fmla="*/ 0 h 4581922"/>
              <a:gd name="connsiteX2" fmla="*/ 12199181 w 12199181"/>
              <a:gd name="connsiteY2" fmla="*/ 4581922 h 4581922"/>
              <a:gd name="connsiteX3" fmla="*/ 2381 w 12199181"/>
              <a:gd name="connsiteY3" fmla="*/ 4581922 h 4581922"/>
              <a:gd name="connsiteX4" fmla="*/ 0 w 12199181"/>
              <a:gd name="connsiteY4" fmla="*/ 1075135 h 4581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9181" h="4581922">
                <a:moveTo>
                  <a:pt x="0" y="1075135"/>
                </a:moveTo>
                <a:lnTo>
                  <a:pt x="12199181" y="0"/>
                </a:lnTo>
                <a:lnTo>
                  <a:pt x="12199181" y="4581922"/>
                </a:lnTo>
                <a:lnTo>
                  <a:pt x="2381" y="4581922"/>
                </a:lnTo>
                <a:cubicBezTo>
                  <a:pt x="1587" y="3412993"/>
                  <a:pt x="794" y="2244064"/>
                  <a:pt x="0" y="1075135"/>
                </a:cubicBezTo>
                <a:close/>
              </a:path>
            </a:pathLst>
          </a:custGeom>
          <a:noFill/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28326" y="2044436"/>
            <a:ext cx="7232233" cy="648964"/>
          </a:xfrm>
          <a:custGeom>
            <a:avLst/>
            <a:gdLst>
              <a:gd name="connsiteX0" fmla="*/ 0 w 7236000"/>
              <a:gd name="connsiteY0" fmla="*/ 0 h 649114"/>
              <a:gd name="connsiteX1" fmla="*/ 7236000 w 7236000"/>
              <a:gd name="connsiteY1" fmla="*/ 0 h 649114"/>
              <a:gd name="connsiteX2" fmla="*/ 7236000 w 7236000"/>
              <a:gd name="connsiteY2" fmla="*/ 649114 h 649114"/>
              <a:gd name="connsiteX3" fmla="*/ 0 w 7236000"/>
              <a:gd name="connsiteY3" fmla="*/ 649114 h 649114"/>
              <a:gd name="connsiteX4" fmla="*/ 0 w 7236000"/>
              <a:gd name="connsiteY4" fmla="*/ 0 h 649114"/>
              <a:gd name="connsiteX0" fmla="*/ 0 w 7236000"/>
              <a:gd name="connsiteY0" fmla="*/ 0 h 649114"/>
              <a:gd name="connsiteX1" fmla="*/ 7236000 w 7236000"/>
              <a:gd name="connsiteY1" fmla="*/ 0 h 649114"/>
              <a:gd name="connsiteX2" fmla="*/ 7234238 w 7236000"/>
              <a:gd name="connsiteY2" fmla="*/ 514937 h 649114"/>
              <a:gd name="connsiteX3" fmla="*/ 7236000 w 7236000"/>
              <a:gd name="connsiteY3" fmla="*/ 649114 h 649114"/>
              <a:gd name="connsiteX4" fmla="*/ 0 w 7236000"/>
              <a:gd name="connsiteY4" fmla="*/ 649114 h 649114"/>
              <a:gd name="connsiteX5" fmla="*/ 0 w 7236000"/>
              <a:gd name="connsiteY5" fmla="*/ 0 h 649114"/>
              <a:gd name="connsiteX0" fmla="*/ 0 w 7236000"/>
              <a:gd name="connsiteY0" fmla="*/ 0 h 649114"/>
              <a:gd name="connsiteX1" fmla="*/ 7236000 w 7236000"/>
              <a:gd name="connsiteY1" fmla="*/ 0 h 649114"/>
              <a:gd name="connsiteX2" fmla="*/ 7234238 w 7236000"/>
              <a:gd name="connsiteY2" fmla="*/ 514937 h 649114"/>
              <a:gd name="connsiteX3" fmla="*/ 7236000 w 7236000"/>
              <a:gd name="connsiteY3" fmla="*/ 649114 h 649114"/>
              <a:gd name="connsiteX4" fmla="*/ 5812631 w 7236000"/>
              <a:gd name="connsiteY4" fmla="*/ 648287 h 649114"/>
              <a:gd name="connsiteX5" fmla="*/ 0 w 7236000"/>
              <a:gd name="connsiteY5" fmla="*/ 649114 h 649114"/>
              <a:gd name="connsiteX6" fmla="*/ 0 w 7236000"/>
              <a:gd name="connsiteY6" fmla="*/ 0 h 649114"/>
              <a:gd name="connsiteX0" fmla="*/ 0 w 7236000"/>
              <a:gd name="connsiteY0" fmla="*/ 0 h 649114"/>
              <a:gd name="connsiteX1" fmla="*/ 7236000 w 7236000"/>
              <a:gd name="connsiteY1" fmla="*/ 0 h 649114"/>
              <a:gd name="connsiteX2" fmla="*/ 7234238 w 7236000"/>
              <a:gd name="connsiteY2" fmla="*/ 514937 h 649114"/>
              <a:gd name="connsiteX3" fmla="*/ 5812631 w 7236000"/>
              <a:gd name="connsiteY3" fmla="*/ 648287 h 649114"/>
              <a:gd name="connsiteX4" fmla="*/ 0 w 7236000"/>
              <a:gd name="connsiteY4" fmla="*/ 649114 h 649114"/>
              <a:gd name="connsiteX5" fmla="*/ 0 w 7236000"/>
              <a:gd name="connsiteY5" fmla="*/ 0 h 649114"/>
              <a:gd name="connsiteX0" fmla="*/ 0 w 7236000"/>
              <a:gd name="connsiteY0" fmla="*/ 0 h 649114"/>
              <a:gd name="connsiteX1" fmla="*/ 7236000 w 7236000"/>
              <a:gd name="connsiteY1" fmla="*/ 0 h 649114"/>
              <a:gd name="connsiteX2" fmla="*/ 7234238 w 7236000"/>
              <a:gd name="connsiteY2" fmla="*/ 514937 h 649114"/>
              <a:gd name="connsiteX3" fmla="*/ 5812631 w 7236000"/>
              <a:gd name="connsiteY3" fmla="*/ 648287 h 649114"/>
              <a:gd name="connsiteX4" fmla="*/ 0 w 7236000"/>
              <a:gd name="connsiteY4" fmla="*/ 649114 h 649114"/>
              <a:gd name="connsiteX5" fmla="*/ 0 w 7236000"/>
              <a:gd name="connsiteY5" fmla="*/ 0 h 6491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236000" h="649114">
                <a:moveTo>
                  <a:pt x="0" y="0"/>
                </a:moveTo>
                <a:lnTo>
                  <a:pt x="7236000" y="0"/>
                </a:lnTo>
                <a:cubicBezTo>
                  <a:pt x="7235413" y="171646"/>
                  <a:pt x="7234825" y="343291"/>
                  <a:pt x="7234238" y="514937"/>
                </a:cubicBezTo>
                <a:lnTo>
                  <a:pt x="5812631" y="648287"/>
                </a:lnTo>
                <a:lnTo>
                  <a:pt x="0" y="649114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Headline for presentation</a:t>
            </a:r>
            <a:endParaRPr lang="en-GB" dirty="0"/>
          </a:p>
        </p:txBody>
      </p:sp>
      <p:pic>
        <p:nvPicPr>
          <p:cNvPr id="30" name="Wortmarke DAIMLER" descr="Daimler_RGB_100mm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9674" y="790855"/>
            <a:ext cx="3418220" cy="462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16956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288">
          <p15:clr>
            <a:srgbClr val="FBAE40"/>
          </p15:clr>
        </p15:guide>
      </p15:sldGuideLst>
    </p:ext>
  </p:extLs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ext/ image brushing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Buerstung O_S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white">
          <a:xfrm>
            <a:off x="0" y="30"/>
            <a:ext cx="12190451" cy="6487839"/>
          </a:xfrm>
          <a:prstGeom prst="rect">
            <a:avLst/>
          </a:prstGeom>
        </p:spPr>
      </p:pic>
      <p:sp>
        <p:nvSpPr>
          <p:cNvPr id="25" name="Daimler AG (Wortmarke)"/>
          <p:cNvSpPr>
            <a:spLocks noChangeArrowheads="1"/>
          </p:cNvSpPr>
          <p:nvPr/>
        </p:nvSpPr>
        <p:spPr bwMode="auto">
          <a:xfrm>
            <a:off x="629674" y="6564880"/>
            <a:ext cx="2086913" cy="2159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 defTabSz="1083665">
              <a:defRPr/>
            </a:pPr>
            <a:r>
              <a:rPr lang="en-GB" sz="1199" dirty="0" smtClean="0">
                <a:solidFill>
                  <a:prstClr val="black"/>
                </a:solidFill>
                <a:latin typeface="CorpoS"/>
                <a:cs typeface="Daimler CS"/>
              </a:rPr>
              <a:t>Daimler Trucks Asia</a:t>
            </a:r>
            <a:endParaRPr lang="en-GB" sz="1199" dirty="0">
              <a:solidFill>
                <a:prstClr val="black"/>
              </a:solidFill>
              <a:latin typeface="CorpoS"/>
              <a:cs typeface="Daimler CS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116" y="288857"/>
            <a:ext cx="10930661" cy="1151733"/>
          </a:xfrm>
          <a:custGeom>
            <a:avLst/>
            <a:gdLst>
              <a:gd name="connsiteX0" fmla="*/ 0 w 10936355"/>
              <a:gd name="connsiteY0" fmla="*/ 0 h 1152000"/>
              <a:gd name="connsiteX1" fmla="*/ 10936355 w 10936355"/>
              <a:gd name="connsiteY1" fmla="*/ 0 h 1152000"/>
              <a:gd name="connsiteX2" fmla="*/ 10936355 w 10936355"/>
              <a:gd name="connsiteY2" fmla="*/ 1152000 h 1152000"/>
              <a:gd name="connsiteX3" fmla="*/ 0 w 10936355"/>
              <a:gd name="connsiteY3" fmla="*/ 1152000 h 1152000"/>
              <a:gd name="connsiteX4" fmla="*/ 0 w 10936355"/>
              <a:gd name="connsiteY4" fmla="*/ 0 h 1152000"/>
              <a:gd name="connsiteX0" fmla="*/ 0 w 10936355"/>
              <a:gd name="connsiteY0" fmla="*/ 0 h 1152000"/>
              <a:gd name="connsiteX1" fmla="*/ 10936355 w 10936355"/>
              <a:gd name="connsiteY1" fmla="*/ 0 h 1152000"/>
              <a:gd name="connsiteX2" fmla="*/ 10932906 w 10936355"/>
              <a:gd name="connsiteY2" fmla="*/ 695326 h 1152000"/>
              <a:gd name="connsiteX3" fmla="*/ 10936355 w 10936355"/>
              <a:gd name="connsiteY3" fmla="*/ 1152000 h 1152000"/>
              <a:gd name="connsiteX4" fmla="*/ 0 w 10936355"/>
              <a:gd name="connsiteY4" fmla="*/ 1152000 h 1152000"/>
              <a:gd name="connsiteX5" fmla="*/ 0 w 10936355"/>
              <a:gd name="connsiteY5" fmla="*/ 0 h 1152000"/>
              <a:gd name="connsiteX0" fmla="*/ 0 w 10936355"/>
              <a:gd name="connsiteY0" fmla="*/ 0 h 1152000"/>
              <a:gd name="connsiteX1" fmla="*/ 10936355 w 10936355"/>
              <a:gd name="connsiteY1" fmla="*/ 0 h 1152000"/>
              <a:gd name="connsiteX2" fmla="*/ 10932906 w 10936355"/>
              <a:gd name="connsiteY2" fmla="*/ 695326 h 1152000"/>
              <a:gd name="connsiteX3" fmla="*/ 10936355 w 10936355"/>
              <a:gd name="connsiteY3" fmla="*/ 1152000 h 1152000"/>
              <a:gd name="connsiteX4" fmla="*/ 4948164 w 10936355"/>
              <a:gd name="connsiteY4" fmla="*/ 1147990 h 1152000"/>
              <a:gd name="connsiteX5" fmla="*/ 0 w 10936355"/>
              <a:gd name="connsiteY5" fmla="*/ 1152000 h 1152000"/>
              <a:gd name="connsiteX6" fmla="*/ 0 w 10936355"/>
              <a:gd name="connsiteY6" fmla="*/ 0 h 1152000"/>
              <a:gd name="connsiteX0" fmla="*/ 0 w 10936355"/>
              <a:gd name="connsiteY0" fmla="*/ 0 h 1152000"/>
              <a:gd name="connsiteX1" fmla="*/ 10936355 w 10936355"/>
              <a:gd name="connsiteY1" fmla="*/ 0 h 1152000"/>
              <a:gd name="connsiteX2" fmla="*/ 10932906 w 10936355"/>
              <a:gd name="connsiteY2" fmla="*/ 695326 h 1152000"/>
              <a:gd name="connsiteX3" fmla="*/ 4948164 w 10936355"/>
              <a:gd name="connsiteY3" fmla="*/ 1147990 h 1152000"/>
              <a:gd name="connsiteX4" fmla="*/ 0 w 10936355"/>
              <a:gd name="connsiteY4" fmla="*/ 1152000 h 1152000"/>
              <a:gd name="connsiteX5" fmla="*/ 0 w 10936355"/>
              <a:gd name="connsiteY5" fmla="*/ 0 h 1152000"/>
              <a:gd name="connsiteX0" fmla="*/ 0 w 10936355"/>
              <a:gd name="connsiteY0" fmla="*/ 0 h 1152000"/>
              <a:gd name="connsiteX1" fmla="*/ 10936355 w 10936355"/>
              <a:gd name="connsiteY1" fmla="*/ 0 h 1152000"/>
              <a:gd name="connsiteX2" fmla="*/ 10932906 w 10936355"/>
              <a:gd name="connsiteY2" fmla="*/ 695326 h 1152000"/>
              <a:gd name="connsiteX3" fmla="*/ 4948164 w 10936355"/>
              <a:gd name="connsiteY3" fmla="*/ 1147990 h 1152000"/>
              <a:gd name="connsiteX4" fmla="*/ 0 w 10936355"/>
              <a:gd name="connsiteY4" fmla="*/ 1152000 h 1152000"/>
              <a:gd name="connsiteX5" fmla="*/ 0 w 10936355"/>
              <a:gd name="connsiteY5" fmla="*/ 0 h 115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936355" h="1152000">
                <a:moveTo>
                  <a:pt x="0" y="0"/>
                </a:moveTo>
                <a:lnTo>
                  <a:pt x="10936355" y="0"/>
                </a:lnTo>
                <a:cubicBezTo>
                  <a:pt x="10935205" y="231775"/>
                  <a:pt x="10934056" y="463551"/>
                  <a:pt x="10932906" y="695326"/>
                </a:cubicBezTo>
                <a:lnTo>
                  <a:pt x="4948164" y="1147990"/>
                </a:lnTo>
                <a:lnTo>
                  <a:pt x="0" y="1152000"/>
                </a:lnTo>
                <a:lnTo>
                  <a:pt x="0" y="0"/>
                </a:lnTo>
                <a:close/>
              </a:path>
            </a:pathLst>
          </a:custGeo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Image-chart, Headline </a:t>
            </a:r>
            <a:r>
              <a:rPr lang="en-GB" noProof="0" dirty="0" smtClean="0"/>
              <a:t>CorpoS </a:t>
            </a:r>
            <a:r>
              <a:rPr lang="en-GB" dirty="0" smtClean="0"/>
              <a:t>(Body) 35 pt. </a:t>
            </a:r>
            <a:br>
              <a:rPr lang="en-GB" dirty="0" smtClean="0"/>
            </a:br>
            <a:r>
              <a:rPr lang="en-GB" dirty="0" smtClean="0"/>
              <a:t>in two lines of text</a:t>
            </a:r>
            <a:endParaRPr lang="en-GB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 smtClean="0">
              <a:solidFill>
                <a:prstClr val="black"/>
              </a:solidFill>
            </a:endParaRP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149011"/>
            <a:ext cx="12190451" cy="5337600"/>
          </a:xfrm>
          <a:custGeom>
            <a:avLst/>
            <a:gdLst>
              <a:gd name="connsiteX0" fmla="*/ 0 w 12196800"/>
              <a:gd name="connsiteY0" fmla="*/ 0 h 5338836"/>
              <a:gd name="connsiteX1" fmla="*/ 12196800 w 12196800"/>
              <a:gd name="connsiteY1" fmla="*/ 0 h 5338836"/>
              <a:gd name="connsiteX2" fmla="*/ 12196800 w 12196800"/>
              <a:gd name="connsiteY2" fmla="*/ 5338836 h 5338836"/>
              <a:gd name="connsiteX3" fmla="*/ 0 w 12196800"/>
              <a:gd name="connsiteY3" fmla="*/ 5338836 h 5338836"/>
              <a:gd name="connsiteX4" fmla="*/ 0 w 12196800"/>
              <a:gd name="connsiteY4" fmla="*/ 0 h 5338836"/>
              <a:gd name="connsiteX0" fmla="*/ 0 w 12196800"/>
              <a:gd name="connsiteY0" fmla="*/ 0 h 5338836"/>
              <a:gd name="connsiteX1" fmla="*/ 12196800 w 12196800"/>
              <a:gd name="connsiteY1" fmla="*/ 0 h 5338836"/>
              <a:gd name="connsiteX2" fmla="*/ 12196800 w 12196800"/>
              <a:gd name="connsiteY2" fmla="*/ 5338836 h 5338836"/>
              <a:gd name="connsiteX3" fmla="*/ 0 w 12196800"/>
              <a:gd name="connsiteY3" fmla="*/ 5338836 h 5338836"/>
              <a:gd name="connsiteX4" fmla="*/ 0 w 12196800"/>
              <a:gd name="connsiteY4" fmla="*/ 1067667 h 5338836"/>
              <a:gd name="connsiteX5" fmla="*/ 0 w 12196800"/>
              <a:gd name="connsiteY5" fmla="*/ 0 h 5338836"/>
              <a:gd name="connsiteX0" fmla="*/ 0 w 12196800"/>
              <a:gd name="connsiteY0" fmla="*/ 1067667 h 5338836"/>
              <a:gd name="connsiteX1" fmla="*/ 12196800 w 12196800"/>
              <a:gd name="connsiteY1" fmla="*/ 0 h 5338836"/>
              <a:gd name="connsiteX2" fmla="*/ 12196800 w 12196800"/>
              <a:gd name="connsiteY2" fmla="*/ 5338836 h 5338836"/>
              <a:gd name="connsiteX3" fmla="*/ 0 w 12196800"/>
              <a:gd name="connsiteY3" fmla="*/ 5338836 h 5338836"/>
              <a:gd name="connsiteX4" fmla="*/ 0 w 12196800"/>
              <a:gd name="connsiteY4" fmla="*/ 1067667 h 53388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6800" h="5338836">
                <a:moveTo>
                  <a:pt x="0" y="1067667"/>
                </a:moveTo>
                <a:lnTo>
                  <a:pt x="12196800" y="0"/>
                </a:lnTo>
                <a:lnTo>
                  <a:pt x="12196800" y="5338836"/>
                </a:lnTo>
                <a:lnTo>
                  <a:pt x="0" y="5338836"/>
                </a:lnTo>
                <a:lnTo>
                  <a:pt x="0" y="1067667"/>
                </a:lnTo>
                <a:close/>
              </a:path>
            </a:pathLst>
          </a:custGeom>
          <a:noFill/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  <p:sp>
        <p:nvSpPr>
          <p:cNvPr id="2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6" y="6564880"/>
            <a:ext cx="523975" cy="215949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 smtClean="0">
                <a:solidFill>
                  <a:prstClr val="black"/>
                </a:solidFill>
              </a:rPr>
              <a:t> </a:t>
            </a:r>
            <a:fld id="{52531704-8F80-415D-BD2B-6B9991AE822F}" type="slidenum">
              <a:rPr lang="en-GB" smtClean="0">
                <a:solidFill>
                  <a:prstClr val="black"/>
                </a:solidFill>
              </a:rPr>
              <a:pPr algn="r"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72066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88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. Brushing/ image 2 column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Regieanweisungen"/>
          <p:cNvGrpSpPr/>
          <p:nvPr/>
        </p:nvGrpSpPr>
        <p:grpSpPr>
          <a:xfrm>
            <a:off x="-2086913" y="-467892"/>
            <a:ext cx="13647691" cy="7792196"/>
            <a:chOff x="-2088000" y="-468000"/>
            <a:chExt cx="13654799" cy="7794000"/>
          </a:xfrm>
        </p:grpSpPr>
        <p:sp>
          <p:nvSpPr>
            <p:cNvPr id="20" name="Hilfslinien"/>
            <p:cNvSpPr txBox="1"/>
            <p:nvPr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99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how guides via menu bar: View // Show // tick Guides</a:t>
              </a:r>
            </a:p>
          </p:txBody>
        </p:sp>
        <p:sp>
          <p:nvSpPr>
            <p:cNvPr id="21" name="Fußzeile"/>
            <p:cNvSpPr txBox="1"/>
            <p:nvPr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1042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099" b="0" baseline="0" dirty="0" smtClean="0">
                  <a:solidFill>
                    <a:schemeClr val="accent5"/>
                  </a:solidFill>
                  <a:latin typeface="+mn-lt"/>
                </a:rPr>
                <a:t>Adjust footer (per slide or for several/all slides) via menu bar: Insert // Text // Header &amp; Footer</a:t>
              </a:r>
            </a:p>
          </p:txBody>
        </p:sp>
        <p:grpSp>
          <p:nvGrpSpPr>
            <p:cNvPr id="22" name="Hinweise links"/>
            <p:cNvGrpSpPr/>
            <p:nvPr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23" name="Folie Wechsel/Zurücksetzen/Textebenen"/>
              <p:cNvSpPr txBox="1"/>
              <p:nvPr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Reset the slide back to its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original form 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Slides // Rese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099" b="0" baseline="0" noProof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Change the slide layout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Slides // Layou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099" b="0" baseline="0" noProof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Change the text level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via menu bar: </a:t>
                </a:r>
                <a:b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</a:b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Paragraph // Increase/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Decrease List Level</a:t>
                </a:r>
              </a:p>
            </p:txBody>
          </p:sp>
          <p:grpSp>
            <p:nvGrpSpPr>
              <p:cNvPr id="35" name="Listenebenen"/>
              <p:cNvGrpSpPr/>
              <p:nvPr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36" name="Text // Listenebene erhöhen"/>
                <p:cNvSpPr txBox="1"/>
                <p:nvPr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38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999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Increase</a:t>
                  </a:r>
                </a:p>
                <a:p>
                  <a:pPr marL="0" marR="0" lvl="0" indent="0" algn="r" defTabSz="9138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999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sp>
              <p:nvSpPr>
                <p:cNvPr id="37" name="Text // Listenebene verringern"/>
                <p:cNvSpPr txBox="1"/>
                <p:nvPr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38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999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Decrease </a:t>
                  </a:r>
                </a:p>
                <a:p>
                  <a:pPr marL="0" marR="0" lvl="0" indent="0" algn="r" defTabSz="9138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999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pic>
              <p:nvPicPr>
                <p:cNvPr id="38" name="Listenebene erhöhen"/>
                <p:cNvPicPr>
                  <a:picLocks noChangeAspect="1"/>
                </p:cNvPicPr>
                <p:nvPr/>
              </p:nvPicPr>
              <p:blipFill>
                <a:blip r:embed="rId2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39" name="Listenebene verringern"/>
                <p:cNvPicPr>
                  <a:picLocks noChangeAspect="1"/>
                </p:cNvPicPr>
                <p:nvPr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pic>
        <p:nvPicPr>
          <p:cNvPr id="2" name="Buerstung O_M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white">
          <a:xfrm>
            <a:off x="0" y="1"/>
            <a:ext cx="12190450" cy="6490342"/>
          </a:xfrm>
          <a:prstGeom prst="rect">
            <a:avLst/>
          </a:prstGeom>
        </p:spPr>
      </p:pic>
      <p:sp>
        <p:nvSpPr>
          <p:cNvPr id="24" name="Daimler AG (Wortmarke)"/>
          <p:cNvSpPr>
            <a:spLocks noChangeArrowheads="1"/>
          </p:cNvSpPr>
          <p:nvPr/>
        </p:nvSpPr>
        <p:spPr bwMode="auto">
          <a:xfrm>
            <a:off x="629672" y="6564880"/>
            <a:ext cx="2086913" cy="2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r>
              <a:rPr lang="en-GB" sz="1199" dirty="0" smtClean="0">
                <a:latin typeface="+mn-lt"/>
                <a:cs typeface="Daimler CS"/>
              </a:rPr>
              <a:t>Daimler AG</a:t>
            </a:r>
            <a:endParaRPr lang="en-GB" sz="1199" dirty="0">
              <a:latin typeface="+mn-lt"/>
              <a:cs typeface="Daimler CS"/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2905728"/>
            <a:ext cx="5120196" cy="3580883"/>
          </a:xfrm>
          <a:custGeom>
            <a:avLst/>
            <a:gdLst>
              <a:gd name="connsiteX0" fmla="*/ 0 w 5122800"/>
              <a:gd name="connsiteY0" fmla="*/ 0 h 3581712"/>
              <a:gd name="connsiteX1" fmla="*/ 5122800 w 5122800"/>
              <a:gd name="connsiteY1" fmla="*/ 0 h 3581712"/>
              <a:gd name="connsiteX2" fmla="*/ 5122800 w 5122800"/>
              <a:gd name="connsiteY2" fmla="*/ 3581712 h 3581712"/>
              <a:gd name="connsiteX3" fmla="*/ 0 w 5122800"/>
              <a:gd name="connsiteY3" fmla="*/ 3581712 h 3581712"/>
              <a:gd name="connsiteX4" fmla="*/ 0 w 5122800"/>
              <a:gd name="connsiteY4" fmla="*/ 0 h 3581712"/>
              <a:gd name="connsiteX0" fmla="*/ 0 w 5122800"/>
              <a:gd name="connsiteY0" fmla="*/ 0 h 3581712"/>
              <a:gd name="connsiteX1" fmla="*/ 5122800 w 5122800"/>
              <a:gd name="connsiteY1" fmla="*/ 0 h 3581712"/>
              <a:gd name="connsiteX2" fmla="*/ 5122800 w 5122800"/>
              <a:gd name="connsiteY2" fmla="*/ 3581712 h 3581712"/>
              <a:gd name="connsiteX3" fmla="*/ 0 w 5122800"/>
              <a:gd name="connsiteY3" fmla="*/ 3581712 h 3581712"/>
              <a:gd name="connsiteX4" fmla="*/ 0 w 5122800"/>
              <a:gd name="connsiteY4" fmla="*/ 448780 h 3581712"/>
              <a:gd name="connsiteX5" fmla="*/ 0 w 5122800"/>
              <a:gd name="connsiteY5" fmla="*/ 0 h 3581712"/>
              <a:gd name="connsiteX0" fmla="*/ 0 w 5122800"/>
              <a:gd name="connsiteY0" fmla="*/ 448780 h 3581712"/>
              <a:gd name="connsiteX1" fmla="*/ 5122800 w 5122800"/>
              <a:gd name="connsiteY1" fmla="*/ 0 h 3581712"/>
              <a:gd name="connsiteX2" fmla="*/ 5122800 w 5122800"/>
              <a:gd name="connsiteY2" fmla="*/ 3581712 h 3581712"/>
              <a:gd name="connsiteX3" fmla="*/ 0 w 5122800"/>
              <a:gd name="connsiteY3" fmla="*/ 3581712 h 3581712"/>
              <a:gd name="connsiteX4" fmla="*/ 0 w 5122800"/>
              <a:gd name="connsiteY4" fmla="*/ 448780 h 35817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22800" h="3581712">
                <a:moveTo>
                  <a:pt x="0" y="448780"/>
                </a:moveTo>
                <a:lnTo>
                  <a:pt x="5122800" y="0"/>
                </a:lnTo>
                <a:lnTo>
                  <a:pt x="5122800" y="3581712"/>
                </a:lnTo>
                <a:lnTo>
                  <a:pt x="0" y="3581712"/>
                </a:lnTo>
                <a:lnTo>
                  <a:pt x="0" y="448780"/>
                </a:lnTo>
                <a:close/>
              </a:path>
            </a:pathLst>
          </a:cu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117" y="288858"/>
            <a:ext cx="10930661" cy="1025684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Image-chart, Headline </a:t>
            </a:r>
            <a:r>
              <a:rPr lang="en-GB" noProof="0" dirty="0" smtClean="0"/>
              <a:t>CorpoS </a:t>
            </a:r>
            <a:r>
              <a:rPr lang="en-GB" dirty="0" smtClean="0"/>
              <a:t>(Body) 35 pt. </a:t>
            </a:r>
            <a:br>
              <a:rPr lang="en-GB" dirty="0" smtClean="0"/>
            </a:br>
            <a:r>
              <a:rPr lang="en-GB" dirty="0" smtClean="0"/>
              <a:t>in two or more lines of text</a:t>
            </a:r>
            <a:endParaRPr lang="en-GB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178478-C14F-4056-BC7B-D4A0322B8D6E}" type="slidenum">
              <a:rPr lang="en-US" smtClean="0"/>
              <a:t>‹#›</a:t>
            </a:fld>
            <a:endParaRPr lang="en-US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5193184" y="2284568"/>
            <a:ext cx="6998816" cy="4202043"/>
          </a:xfrm>
          <a:custGeom>
            <a:avLst/>
            <a:gdLst>
              <a:gd name="connsiteX0" fmla="*/ 0 w 7003550"/>
              <a:gd name="connsiteY0" fmla="*/ 0 h 4203016"/>
              <a:gd name="connsiteX1" fmla="*/ 7003550 w 7003550"/>
              <a:gd name="connsiteY1" fmla="*/ 0 h 4203016"/>
              <a:gd name="connsiteX2" fmla="*/ 7003550 w 7003550"/>
              <a:gd name="connsiteY2" fmla="*/ 4203016 h 4203016"/>
              <a:gd name="connsiteX3" fmla="*/ 0 w 7003550"/>
              <a:gd name="connsiteY3" fmla="*/ 4203016 h 4203016"/>
              <a:gd name="connsiteX4" fmla="*/ 0 w 7003550"/>
              <a:gd name="connsiteY4" fmla="*/ 0 h 4203016"/>
              <a:gd name="connsiteX0" fmla="*/ 1294 w 7004844"/>
              <a:gd name="connsiteY0" fmla="*/ 0 h 4203016"/>
              <a:gd name="connsiteX1" fmla="*/ 7004844 w 7004844"/>
              <a:gd name="connsiteY1" fmla="*/ 0 h 4203016"/>
              <a:gd name="connsiteX2" fmla="*/ 7004844 w 7004844"/>
              <a:gd name="connsiteY2" fmla="*/ 4203016 h 4203016"/>
              <a:gd name="connsiteX3" fmla="*/ 1294 w 7004844"/>
              <a:gd name="connsiteY3" fmla="*/ 4203016 h 4203016"/>
              <a:gd name="connsiteX4" fmla="*/ 0 w 7004844"/>
              <a:gd name="connsiteY4" fmla="*/ 615266 h 4203016"/>
              <a:gd name="connsiteX5" fmla="*/ 1294 w 7004844"/>
              <a:gd name="connsiteY5" fmla="*/ 0 h 4203016"/>
              <a:gd name="connsiteX0" fmla="*/ 0 w 7004844"/>
              <a:gd name="connsiteY0" fmla="*/ 878655 h 4466405"/>
              <a:gd name="connsiteX1" fmla="*/ 7004844 w 7004844"/>
              <a:gd name="connsiteY1" fmla="*/ 263389 h 4466405"/>
              <a:gd name="connsiteX2" fmla="*/ 7004844 w 7004844"/>
              <a:gd name="connsiteY2" fmla="*/ 4466405 h 4466405"/>
              <a:gd name="connsiteX3" fmla="*/ 1294 w 7004844"/>
              <a:gd name="connsiteY3" fmla="*/ 4466405 h 4466405"/>
              <a:gd name="connsiteX4" fmla="*/ 0 w 7004844"/>
              <a:gd name="connsiteY4" fmla="*/ 878655 h 4466405"/>
              <a:gd name="connsiteX0" fmla="*/ 0 w 7004844"/>
              <a:gd name="connsiteY0" fmla="*/ 615266 h 4203016"/>
              <a:gd name="connsiteX1" fmla="*/ 7004844 w 7004844"/>
              <a:gd name="connsiteY1" fmla="*/ 0 h 4203016"/>
              <a:gd name="connsiteX2" fmla="*/ 7004844 w 7004844"/>
              <a:gd name="connsiteY2" fmla="*/ 4203016 h 4203016"/>
              <a:gd name="connsiteX3" fmla="*/ 1294 w 7004844"/>
              <a:gd name="connsiteY3" fmla="*/ 4203016 h 4203016"/>
              <a:gd name="connsiteX4" fmla="*/ 0 w 7004844"/>
              <a:gd name="connsiteY4" fmla="*/ 615266 h 42030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04844" h="4203016">
                <a:moveTo>
                  <a:pt x="0" y="615266"/>
                </a:moveTo>
                <a:lnTo>
                  <a:pt x="7004844" y="0"/>
                </a:lnTo>
                <a:lnTo>
                  <a:pt x="7004844" y="4203016"/>
                </a:lnTo>
                <a:lnTo>
                  <a:pt x="1294" y="4203016"/>
                </a:lnTo>
                <a:cubicBezTo>
                  <a:pt x="863" y="3007099"/>
                  <a:pt x="431" y="1811183"/>
                  <a:pt x="0" y="615266"/>
                </a:cubicBezTo>
                <a:close/>
              </a:path>
            </a:pathLst>
          </a:cu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3067720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88">
          <p15:clr>
            <a:srgbClr val="FBAE40"/>
          </p15:clr>
        </p15:guide>
        <p15:guide id="3" pos="3273">
          <p15:clr>
            <a:srgbClr val="FBAE40"/>
          </p15:clr>
        </p15:guide>
        <p15:guide id="5" pos="3227">
          <p15:clr>
            <a:srgbClr val="FBAE40"/>
          </p15:clr>
        </p15:guide>
      </p15:sldGuideLst>
    </p:ext>
  </p:extLs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 without brush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Headline for Agenda in CorpoS (Body) 35 pt. </a:t>
            </a:r>
            <a:br>
              <a:rPr lang="en-GB" noProof="0" dirty="0" smtClean="0"/>
            </a:br>
            <a:r>
              <a:rPr lang="en-GB" noProof="0" dirty="0" smtClean="0"/>
              <a:t>one or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 smtClean="0">
              <a:solidFill>
                <a:prstClr val="black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28326" y="1504602"/>
            <a:ext cx="10932180" cy="4875671"/>
          </a:xfrm>
        </p:spPr>
        <p:txBody>
          <a:bodyPr/>
          <a:lstStyle>
            <a:lvl1pPr marL="358250" indent="-358250">
              <a:buSzPct val="100000"/>
              <a:buFont typeface="+mj-lt"/>
              <a:buAutoNum type="arabicPeriod"/>
              <a:defRPr>
                <a:solidFill>
                  <a:schemeClr val="tx1"/>
                </a:solidFill>
              </a:defRPr>
            </a:lvl1pPr>
            <a:lvl2pPr marL="358250" indent="-358250">
              <a:buFont typeface="+mj-lt"/>
              <a:buAutoNum type="arabicPeriod"/>
              <a:defRPr>
                <a:solidFill>
                  <a:schemeClr val="tx1"/>
                </a:solidFill>
              </a:defRPr>
            </a:lvl2pPr>
            <a:lvl3pPr marL="358250" indent="-358250">
              <a:buFont typeface="+mj-lt"/>
              <a:buAutoNum type="arabicPeriod"/>
              <a:defRPr>
                <a:solidFill>
                  <a:schemeClr val="tx1"/>
                </a:solidFill>
              </a:defRPr>
            </a:lvl3pPr>
            <a:lvl4pPr marL="358250" indent="-358250">
              <a:buFont typeface="+mj-lt"/>
              <a:buAutoNum type="arabicPeriod"/>
              <a:defRPr>
                <a:solidFill>
                  <a:schemeClr val="tx1"/>
                </a:solidFill>
              </a:defRPr>
            </a:lvl4pPr>
            <a:lvl5pPr marL="358250" indent="-358250">
              <a:buFont typeface="+mj-lt"/>
              <a:buAutoNum type="arabicPeriod"/>
              <a:defRPr>
                <a:solidFill>
                  <a:schemeClr val="tx1"/>
                </a:solidFill>
              </a:defRPr>
            </a:lvl5pPr>
            <a:lvl6pPr marL="358250" indent="-358250">
              <a:buFont typeface="+mj-lt"/>
              <a:buAutoNum type="arabicPeriod"/>
              <a:defRPr>
                <a:solidFill>
                  <a:schemeClr val="tx1"/>
                </a:solidFill>
              </a:defRPr>
            </a:lvl6pPr>
            <a:lvl7pPr marL="358250" indent="-358250">
              <a:buFont typeface="+mj-lt"/>
              <a:buAutoNum type="arabicPeriod"/>
              <a:defRPr>
                <a:solidFill>
                  <a:schemeClr val="tx1"/>
                </a:solidFill>
              </a:defRPr>
            </a:lvl7pPr>
            <a:lvl8pPr marL="358250" indent="-358250">
              <a:buFont typeface="+mj-lt"/>
              <a:buAutoNum type="arabicPeriod"/>
              <a:defRPr>
                <a:solidFill>
                  <a:schemeClr val="tx1"/>
                </a:solidFill>
              </a:defRPr>
            </a:lvl8pPr>
            <a:lvl9pPr marL="358250" indent="-358250">
              <a:buFont typeface="+mj-lt"/>
              <a:buAutoNum type="arabicPeriod"/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 smtClean="0"/>
              <a:t>Insert Agenda point</a:t>
            </a:r>
          </a:p>
          <a:p>
            <a:pPr lvl="1"/>
            <a:r>
              <a:rPr lang="en-GB" dirty="0" smtClean="0"/>
              <a:t>Second level 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</a:p>
          <a:p>
            <a:pPr lvl="5"/>
            <a:r>
              <a:rPr lang="en-GB" dirty="0" smtClean="0"/>
              <a:t>Sixth level</a:t>
            </a:r>
          </a:p>
          <a:p>
            <a:pPr lvl="6"/>
            <a:r>
              <a:rPr lang="en-GB" dirty="0" smtClean="0"/>
              <a:t>Sevens level</a:t>
            </a:r>
          </a:p>
          <a:p>
            <a:pPr lvl="7"/>
            <a:r>
              <a:rPr lang="en-GB" dirty="0" smtClean="0"/>
              <a:t>Eight level</a:t>
            </a:r>
          </a:p>
          <a:p>
            <a:pPr lvl="8"/>
            <a:r>
              <a:rPr lang="en-GB" dirty="0" smtClean="0"/>
              <a:t>Ninth level</a:t>
            </a: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6" y="6564880"/>
            <a:ext cx="523975" cy="215949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 smtClean="0">
                <a:solidFill>
                  <a:prstClr val="black"/>
                </a:solidFill>
              </a:rPr>
              <a:t> </a:t>
            </a:r>
            <a:fld id="{52531704-8F80-415D-BD2B-6B9991AE822F}" type="slidenum">
              <a:rPr lang="en-GB" smtClean="0">
                <a:solidFill>
                  <a:prstClr val="black"/>
                </a:solidFill>
              </a:rPr>
              <a:pPr algn="r"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285150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948">
          <p15:clr>
            <a:srgbClr val="FBAE40"/>
          </p15:clr>
        </p15:guide>
        <p15:guide id="3" orient="horz" pos="4020">
          <p15:clr>
            <a:srgbClr val="FBAE40"/>
          </p15:clr>
        </p15:guide>
      </p15:sldGuideLst>
    </p:ext>
  </p:extLs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ext/ content/ Headline 2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Headline in CorpoS (Body) 35 pt.</a:t>
            </a:r>
            <a:br>
              <a:rPr lang="en-GB" noProof="0" dirty="0" smtClean="0"/>
            </a:br>
            <a:r>
              <a:rPr lang="en-GB" noProof="0" dirty="0" smtClean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 smtClean="0">
              <a:solidFill>
                <a:prstClr val="black"/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629910" y="1504602"/>
            <a:ext cx="10930593" cy="4983236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noProof="0" dirty="0" smtClean="0"/>
              <a:t>Insert content or text in CorpoS (Body) 24 pt. (Mark-ups in Bold) // for conclusion, summary or short highlight: Home // Paragraph// Increase Li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 (Conclusion, summary or short highlight)</a:t>
            </a:r>
          </a:p>
          <a:p>
            <a:pPr lvl="4"/>
            <a:r>
              <a:rPr lang="en-GB" dirty="0" smtClean="0"/>
              <a:t>Fifth level</a:t>
            </a:r>
          </a:p>
          <a:p>
            <a:pPr lvl="5"/>
            <a:r>
              <a:rPr lang="en-GB" dirty="0" smtClean="0"/>
              <a:t>Sixth level</a:t>
            </a:r>
          </a:p>
          <a:p>
            <a:pPr lvl="6"/>
            <a:r>
              <a:rPr lang="en-GB" dirty="0" smtClean="0"/>
              <a:t>Sevens level</a:t>
            </a:r>
          </a:p>
          <a:p>
            <a:pPr lvl="7"/>
            <a:r>
              <a:rPr lang="en-GB" dirty="0" smtClean="0"/>
              <a:t>Eight level</a:t>
            </a:r>
          </a:p>
          <a:p>
            <a:pPr lvl="8"/>
            <a:r>
              <a:rPr lang="en-GB" dirty="0" smtClean="0"/>
              <a:t>Ninth level</a:t>
            </a: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6" y="6564880"/>
            <a:ext cx="523975" cy="215949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 smtClean="0">
                <a:solidFill>
                  <a:prstClr val="black"/>
                </a:solidFill>
              </a:rPr>
              <a:t> </a:t>
            </a:r>
            <a:fld id="{52531704-8F80-415D-BD2B-6B9991AE822F}" type="slidenum">
              <a:rPr lang="en-GB" smtClean="0">
                <a:solidFill>
                  <a:prstClr val="black"/>
                </a:solidFill>
              </a:rPr>
              <a:pPr algn="r"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579739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  <p15:guide id="3" orient="horz" pos="950">
          <p15:clr>
            <a:srgbClr val="FBAE40"/>
          </p15:clr>
        </p15:guide>
      </p15:sldGuideLst>
    </p:ext>
  </p:extLs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ntent/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 smtClean="0"/>
              <a:t>Headline in CorpoS (Body) 35 pt.</a:t>
            </a:r>
            <a:br>
              <a:rPr lang="en-GB" noProof="0" dirty="0" smtClean="0"/>
            </a:br>
            <a:r>
              <a:rPr lang="en-GB" noProof="0" dirty="0" smtClean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 smtClean="0">
              <a:solidFill>
                <a:prstClr val="black"/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629940" y="2493113"/>
            <a:ext cx="4965177" cy="345546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dirty="0" smtClean="0"/>
              <a:t>Insert content or text in </a:t>
            </a:r>
            <a:r>
              <a:rPr lang="en-GB" noProof="0" dirty="0" smtClean="0"/>
              <a:t>CorpoS (Body) 24 pt. (Mark-ups in Bold) </a:t>
            </a:r>
            <a:r>
              <a:rPr lang="en-GB" dirty="0" smtClean="0"/>
              <a:t>// for conclusion</a:t>
            </a:r>
            <a:r>
              <a:rPr lang="en-GB" noProof="0" dirty="0" smtClean="0"/>
              <a:t>, summary or short highlight</a:t>
            </a:r>
            <a:r>
              <a:rPr lang="en-GB" dirty="0" smtClean="0"/>
              <a:t>: Home // Paragraph// Increase Li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29912" y="1504605"/>
            <a:ext cx="4965173" cy="683842"/>
          </a:xfrm>
        </p:spPr>
        <p:txBody>
          <a:bodyPr anchor="b" anchorCtr="0"/>
          <a:lstStyle>
            <a:lvl1pPr marL="0" indent="0">
              <a:lnSpc>
                <a:spcPts val="2398"/>
              </a:lnSpc>
              <a:buNone/>
              <a:defRPr sz="1866">
                <a:solidFill>
                  <a:schemeClr val="tx1"/>
                </a:solidFill>
              </a:defRPr>
            </a:lvl1pPr>
            <a:lvl2pPr marL="0" indent="0">
              <a:lnSpc>
                <a:spcPts val="2398"/>
              </a:lnSpc>
              <a:buFont typeface="Arial" panose="020B0604020202020204" pitchFamily="34" charset="0"/>
              <a:buNone/>
              <a:defRPr sz="1866">
                <a:solidFill>
                  <a:schemeClr val="tx1"/>
                </a:solidFill>
              </a:defRPr>
            </a:lvl2pPr>
            <a:lvl3pPr marL="0" indent="0">
              <a:lnSpc>
                <a:spcPts val="2398"/>
              </a:lnSpc>
              <a:buFont typeface="Arial" panose="020B0604020202020204" pitchFamily="34" charset="0"/>
              <a:buNone/>
              <a:defRPr sz="1866">
                <a:solidFill>
                  <a:schemeClr val="tx1"/>
                </a:solidFill>
              </a:defRPr>
            </a:lvl3pPr>
            <a:lvl4pPr marL="0" indent="0">
              <a:lnSpc>
                <a:spcPts val="2398"/>
              </a:lnSpc>
              <a:buFont typeface="Arial" panose="020B0604020202020204" pitchFamily="34" charset="0"/>
              <a:buNone/>
              <a:defRPr sz="1866">
                <a:solidFill>
                  <a:schemeClr val="tx1"/>
                </a:solidFill>
              </a:defRPr>
            </a:lvl4pPr>
            <a:lvl5pPr marL="0" indent="0">
              <a:lnSpc>
                <a:spcPts val="2398"/>
              </a:lnSpc>
              <a:buFont typeface="Arial" panose="020B0604020202020204" pitchFamily="34" charset="0"/>
              <a:buNone/>
              <a:defRPr sz="1866">
                <a:solidFill>
                  <a:schemeClr val="tx1"/>
                </a:solidFill>
              </a:defRPr>
            </a:lvl5pPr>
            <a:lvl6pPr marL="0" indent="0">
              <a:lnSpc>
                <a:spcPts val="2398"/>
              </a:lnSpc>
              <a:buFont typeface="Arial" panose="020B0604020202020204" pitchFamily="34" charset="0"/>
              <a:buNone/>
              <a:defRPr sz="1866">
                <a:solidFill>
                  <a:schemeClr val="tx1"/>
                </a:solidFill>
              </a:defRPr>
            </a:lvl6pPr>
            <a:lvl7pPr marL="0" indent="0">
              <a:lnSpc>
                <a:spcPts val="2398"/>
              </a:lnSpc>
              <a:buFont typeface="Arial" panose="020B0604020202020204" pitchFamily="34" charset="0"/>
              <a:buNone/>
              <a:defRPr sz="1866">
                <a:solidFill>
                  <a:schemeClr val="tx1"/>
                </a:solidFill>
              </a:defRPr>
            </a:lvl7pPr>
            <a:lvl8pPr marL="0" indent="0">
              <a:lnSpc>
                <a:spcPts val="2398"/>
              </a:lnSpc>
              <a:buFont typeface="Arial" panose="020B0604020202020204" pitchFamily="34" charset="0"/>
              <a:buNone/>
              <a:defRPr sz="1866">
                <a:solidFill>
                  <a:schemeClr val="tx1"/>
                </a:solidFill>
              </a:defRPr>
            </a:lvl8pPr>
            <a:lvl9pPr marL="0" indent="0">
              <a:lnSpc>
                <a:spcPts val="2398"/>
              </a:lnSpc>
              <a:buFont typeface="Arial" panose="020B0604020202020204" pitchFamily="34" charset="0"/>
              <a:buNone/>
              <a:defRPr sz="1866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 smtClean="0"/>
              <a:t>Insert headline</a:t>
            </a:r>
          </a:p>
        </p:txBody>
      </p:sp>
      <p:cxnSp>
        <p:nvCxnSpPr>
          <p:cNvPr id="8" name="Gerade Verbindung 42"/>
          <p:cNvCxnSpPr/>
          <p:nvPr/>
        </p:nvCxnSpPr>
        <p:spPr bwMode="auto">
          <a:xfrm>
            <a:off x="629672" y="2231482"/>
            <a:ext cx="4965413" cy="0"/>
          </a:xfrm>
          <a:prstGeom prst="line">
            <a:avLst/>
          </a:prstGeom>
          <a:solidFill>
            <a:srgbClr val="D2D4D6"/>
          </a:solidFill>
          <a:ln w="12700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" name="Gerade Verbindung 42"/>
          <p:cNvCxnSpPr/>
          <p:nvPr/>
        </p:nvCxnSpPr>
        <p:spPr bwMode="auto">
          <a:xfrm>
            <a:off x="6595091" y="2231482"/>
            <a:ext cx="4965413" cy="0"/>
          </a:xfrm>
          <a:prstGeom prst="line">
            <a:avLst/>
          </a:prstGeom>
          <a:solidFill>
            <a:srgbClr val="D2D4D6"/>
          </a:solidFill>
          <a:ln w="12700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6595357" y="1504605"/>
            <a:ext cx="4965177" cy="683842"/>
          </a:xfrm>
        </p:spPr>
        <p:txBody>
          <a:bodyPr anchor="b" anchorCtr="0"/>
          <a:lstStyle>
            <a:lvl1pPr marL="0" indent="0">
              <a:lnSpc>
                <a:spcPts val="2398"/>
              </a:lnSpc>
              <a:buNone/>
              <a:defRPr sz="1866">
                <a:solidFill>
                  <a:schemeClr val="tx1"/>
                </a:solidFill>
              </a:defRPr>
            </a:lvl1pPr>
            <a:lvl2pPr marL="0" indent="0">
              <a:lnSpc>
                <a:spcPts val="2398"/>
              </a:lnSpc>
              <a:buFont typeface="Arial" panose="020B0604020202020204" pitchFamily="34" charset="0"/>
              <a:buNone/>
              <a:defRPr sz="1866">
                <a:solidFill>
                  <a:schemeClr val="tx1"/>
                </a:solidFill>
              </a:defRPr>
            </a:lvl2pPr>
            <a:lvl3pPr marL="0" indent="0">
              <a:lnSpc>
                <a:spcPts val="2398"/>
              </a:lnSpc>
              <a:buFont typeface="Arial" panose="020B0604020202020204" pitchFamily="34" charset="0"/>
              <a:buNone/>
              <a:defRPr sz="1866">
                <a:solidFill>
                  <a:schemeClr val="tx1"/>
                </a:solidFill>
              </a:defRPr>
            </a:lvl3pPr>
            <a:lvl4pPr marL="0" indent="0">
              <a:lnSpc>
                <a:spcPts val="2398"/>
              </a:lnSpc>
              <a:buFont typeface="Arial" panose="020B0604020202020204" pitchFamily="34" charset="0"/>
              <a:buNone/>
              <a:defRPr sz="1866">
                <a:solidFill>
                  <a:schemeClr val="tx1"/>
                </a:solidFill>
              </a:defRPr>
            </a:lvl4pPr>
            <a:lvl5pPr marL="0" indent="0">
              <a:lnSpc>
                <a:spcPts val="2398"/>
              </a:lnSpc>
              <a:buFont typeface="Arial" panose="020B0604020202020204" pitchFamily="34" charset="0"/>
              <a:buNone/>
              <a:defRPr sz="1866">
                <a:solidFill>
                  <a:schemeClr val="tx1"/>
                </a:solidFill>
              </a:defRPr>
            </a:lvl5pPr>
            <a:lvl6pPr marL="0" indent="0">
              <a:lnSpc>
                <a:spcPts val="2398"/>
              </a:lnSpc>
              <a:buFont typeface="Arial" panose="020B0604020202020204" pitchFamily="34" charset="0"/>
              <a:buNone/>
              <a:defRPr sz="1866">
                <a:solidFill>
                  <a:schemeClr val="tx1"/>
                </a:solidFill>
              </a:defRPr>
            </a:lvl6pPr>
            <a:lvl7pPr marL="0" indent="0">
              <a:lnSpc>
                <a:spcPts val="2398"/>
              </a:lnSpc>
              <a:buFont typeface="Arial" panose="020B0604020202020204" pitchFamily="34" charset="0"/>
              <a:buNone/>
              <a:defRPr sz="1866">
                <a:solidFill>
                  <a:schemeClr val="tx1"/>
                </a:solidFill>
              </a:defRPr>
            </a:lvl7pPr>
            <a:lvl8pPr marL="0" indent="0">
              <a:lnSpc>
                <a:spcPts val="2398"/>
              </a:lnSpc>
              <a:buFont typeface="Arial" panose="020B0604020202020204" pitchFamily="34" charset="0"/>
              <a:buNone/>
              <a:defRPr sz="1866">
                <a:solidFill>
                  <a:schemeClr val="tx1"/>
                </a:solidFill>
              </a:defRPr>
            </a:lvl8pPr>
            <a:lvl9pPr marL="0" indent="0">
              <a:lnSpc>
                <a:spcPts val="2398"/>
              </a:lnSpc>
              <a:buFont typeface="Arial" panose="020B0604020202020204" pitchFamily="34" charset="0"/>
              <a:buNone/>
              <a:defRPr sz="1866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 smtClean="0"/>
              <a:t>Insert headline</a:t>
            </a:r>
          </a:p>
        </p:txBody>
      </p:sp>
      <p:sp>
        <p:nvSpPr>
          <p:cNvPr id="11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6595357" y="2493114"/>
            <a:ext cx="4965177" cy="34552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dirty="0" smtClean="0"/>
              <a:t>Insert content or text in </a:t>
            </a:r>
            <a:r>
              <a:rPr lang="en-GB" noProof="0" dirty="0" smtClean="0"/>
              <a:t>CorpoS (Body) 24 pt. (Mark-ups in Bold) </a:t>
            </a:r>
            <a:r>
              <a:rPr lang="en-GB" dirty="0" smtClean="0"/>
              <a:t>// for conclusion</a:t>
            </a:r>
            <a:r>
              <a:rPr lang="en-GB" noProof="0" dirty="0" smtClean="0"/>
              <a:t>, summary or short highlight</a:t>
            </a:r>
            <a:r>
              <a:rPr lang="en-GB" dirty="0" smtClean="0"/>
              <a:t>: Home // Paragraph// Increase Li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6" y="6564880"/>
            <a:ext cx="523975" cy="215949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 smtClean="0">
                <a:solidFill>
                  <a:prstClr val="black"/>
                </a:solidFill>
              </a:rPr>
              <a:t> </a:t>
            </a:r>
            <a:fld id="{52531704-8F80-415D-BD2B-6B9991AE822F}" type="slidenum">
              <a:rPr lang="en-GB" smtClean="0">
                <a:solidFill>
                  <a:prstClr val="black"/>
                </a:solidFill>
              </a:rPr>
              <a:pPr algn="r"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750913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569">
          <p15:clr>
            <a:srgbClr val="FBAE40"/>
          </p15:clr>
        </p15:guide>
        <p15:guide id="2" pos="4155">
          <p15:clr>
            <a:srgbClr val="FBAE40"/>
          </p15:clr>
        </p15:guide>
        <p15:guide id="3" pos="3528">
          <p15:clr>
            <a:srgbClr val="FBAE40"/>
          </p15:clr>
        </p15:guide>
        <p15:guide id="4" orient="horz" pos="3748">
          <p15:clr>
            <a:srgbClr val="FBAE40"/>
          </p15:clr>
        </p15:guide>
        <p15:guide id="5" orient="horz" pos="950">
          <p15:clr>
            <a:srgbClr val="FBAE40"/>
          </p15:clr>
        </p15:guide>
      </p15:sldGuideLst>
    </p:ext>
  </p:extLs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lank/ Headline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 smtClean="0"/>
              <a:t>Headline in CorpoS (Body) 35 pt.</a:t>
            </a:r>
            <a:br>
              <a:rPr lang="en-GB" noProof="0" dirty="0" smtClean="0"/>
            </a:br>
            <a:r>
              <a:rPr lang="en-GB" noProof="0" dirty="0" smtClean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 smtClean="0">
              <a:solidFill>
                <a:prstClr val="black"/>
              </a:solidFill>
            </a:endParaRPr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6" y="6564880"/>
            <a:ext cx="523975" cy="215949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 smtClean="0">
                <a:solidFill>
                  <a:prstClr val="black"/>
                </a:solidFill>
              </a:rPr>
              <a:t> </a:t>
            </a:r>
            <a:fld id="{52531704-8F80-415D-BD2B-6B9991AE822F}" type="slidenum">
              <a:rPr lang="en-GB" smtClean="0">
                <a:solidFill>
                  <a:prstClr val="black"/>
                </a:solidFill>
              </a:rPr>
              <a:pPr algn="r"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329340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</p15:sldGuideLst>
    </p:ext>
  </p:extLs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5362" name="think-cell スライド" r:id="rId4" imgW="395" imgH="394" progId="TCLayout.ActiveDocument.1">
                  <p:embed/>
                </p:oleObj>
              </mc:Choice>
              <mc:Fallback>
                <p:oleObj name="think-cell スライド" r:id="rId4" imgW="395" imgH="39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9672" y="285982"/>
            <a:ext cx="10931106" cy="1151733"/>
          </a:xfrm>
        </p:spPr>
        <p:txBody>
          <a:bodyPr/>
          <a:lstStyle/>
          <a:p>
            <a:r>
              <a:rPr lang="en-US" noProof="0" dirty="0" smtClean="0"/>
              <a:t>Headline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 35 pt.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29670" y="1504604"/>
            <a:ext cx="10930387" cy="4875671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612408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406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lowchart: Manual Input 7"/>
          <p:cNvSpPr/>
          <p:nvPr userDrawn="1"/>
        </p:nvSpPr>
        <p:spPr>
          <a:xfrm>
            <a:off x="0" y="3610066"/>
            <a:ext cx="12192000" cy="3247934"/>
          </a:xfrm>
          <a:prstGeom prst="flowChartManualInput">
            <a:avLst/>
          </a:prstGeom>
          <a:solidFill>
            <a:srgbClr val="E6E6E6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9E9E9E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99" dirty="0" err="1" smtClean="0">
              <a:solidFill>
                <a:prstClr val="white"/>
              </a:solidFill>
            </a:endParaRPr>
          </a:p>
        </p:txBody>
      </p:sp>
      <p:sp>
        <p:nvSpPr>
          <p:cNvPr id="9" name="Flowchart: Manual Input 8"/>
          <p:cNvSpPr/>
          <p:nvPr userDrawn="1"/>
        </p:nvSpPr>
        <p:spPr>
          <a:xfrm flipH="1" flipV="1">
            <a:off x="0" y="0"/>
            <a:ext cx="12192000" cy="4532850"/>
          </a:xfrm>
          <a:prstGeom prst="flowChartManualInput">
            <a:avLst/>
          </a:prstGeom>
          <a:solidFill>
            <a:srgbClr val="00566D"/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99" dirty="0" err="1" smtClean="0">
              <a:solidFill>
                <a:prstClr val="white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804" t="9756" r="6727" b="4972"/>
          <a:stretch/>
        </p:blipFill>
        <p:spPr>
          <a:xfrm>
            <a:off x="131974" y="3490768"/>
            <a:ext cx="3789529" cy="2442689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956" r="13359"/>
          <a:stretch>
            <a:fillRect/>
          </a:stretch>
        </p:blipFill>
        <p:spPr>
          <a:xfrm>
            <a:off x="9405114" y="3500651"/>
            <a:ext cx="2691445" cy="2418386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8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6741655" y="3672592"/>
            <a:ext cx="2935899" cy="2320471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40885" y="3474457"/>
            <a:ext cx="3570966" cy="2833362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10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04555" y="3766182"/>
            <a:ext cx="2312483" cy="2541637"/>
          </a:xfrm>
          <a:prstGeom prst="rect">
            <a:avLst/>
          </a:prstGeom>
        </p:spPr>
      </p:pic>
      <p:pic>
        <p:nvPicPr>
          <p:cNvPr id="17" name="Wortmarke DAIMLER" descr="Daimler_RGB_100mm.png"/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1254" y="791617"/>
            <a:ext cx="3417231" cy="462594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4648" y="613010"/>
            <a:ext cx="786654" cy="786882"/>
          </a:xfrm>
          <a:prstGeom prst="rect">
            <a:avLst/>
          </a:prstGeom>
        </p:spPr>
      </p:pic>
      <p:pic>
        <p:nvPicPr>
          <p:cNvPr id="20" name="Picture 3" descr="C:\Users\rajarrv\AppData\Local\Microsoft\Windows\Temporary Internet Files\Content.Outlook\3CY2KM7L\B-No Background FORCE LOGO.png"/>
          <p:cNvPicPr>
            <a:picLocks noChangeAspect="1" noChangeArrowheads="1"/>
          </p:cNvPicPr>
          <p:nvPr userDrawn="1"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419611" y="692628"/>
            <a:ext cx="2166326" cy="6188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itle 1"/>
          <p:cNvSpPr>
            <a:spLocks noGrp="1"/>
          </p:cNvSpPr>
          <p:nvPr>
            <p:ph type="title" hasCustomPrompt="1"/>
          </p:nvPr>
        </p:nvSpPr>
        <p:spPr>
          <a:xfrm>
            <a:off x="628326" y="2001480"/>
            <a:ext cx="10932181" cy="526176"/>
          </a:xfrm>
        </p:spPr>
        <p:txBody>
          <a:bodyPr anchor="b">
            <a:spAutoFit/>
          </a:bodyPr>
          <a:lstStyle>
            <a:lvl1pPr marL="0" indent="0" algn="l" defTabSz="1087871" rtl="0" eaLnBrk="1" latinLnBrk="0" hangingPunct="1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3598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CorpoS" pitchFamily="2" charset="0"/>
              </a:defRPr>
            </a:lvl1pPr>
          </a:lstStyle>
          <a:p>
            <a:pPr>
              <a:lnSpc>
                <a:spcPct val="95000"/>
              </a:lnSpc>
            </a:pPr>
            <a:r>
              <a:rPr lang="en-US" dirty="0" smtClean="0"/>
              <a:t>Title in </a:t>
            </a:r>
            <a:r>
              <a:rPr lang="en-US" dirty="0" err="1" smtClean="0"/>
              <a:t>CorpoS</a:t>
            </a:r>
            <a:r>
              <a:rPr lang="en-US" dirty="0" smtClean="0"/>
              <a:t> 35 </a:t>
            </a:r>
            <a:r>
              <a:rPr lang="en-US" dirty="0" err="1" smtClean="0"/>
              <a:t>pt</a:t>
            </a:r>
            <a:r>
              <a:rPr lang="en-US" dirty="0" smtClean="0"/>
              <a:t>, white, non-bold</a:t>
            </a:r>
            <a:endParaRPr lang="en-US" sz="2798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628326" y="6251051"/>
            <a:ext cx="10932181" cy="489060"/>
          </a:xfrm>
        </p:spPr>
        <p:txBody>
          <a:bodyPr/>
          <a:lstStyle>
            <a:lvl1pPr>
              <a:defRPr sz="1599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Date in 16 </a:t>
            </a:r>
            <a:r>
              <a:rPr lang="en-US" dirty="0" err="1" smtClean="0"/>
              <a:t>pt</a:t>
            </a:r>
            <a:r>
              <a:rPr lang="en-US" dirty="0" smtClean="0"/>
              <a:t>, black, non-bold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28326" y="2485504"/>
            <a:ext cx="10932181" cy="398371"/>
          </a:xfrm>
        </p:spPr>
        <p:txBody>
          <a:bodyPr/>
          <a:lstStyle>
            <a:lvl1pPr>
              <a:defRPr sz="2399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 smtClean="0"/>
              <a:t>Subtitle in </a:t>
            </a:r>
            <a:r>
              <a:rPr lang="en-US" dirty="0" err="1" smtClean="0"/>
              <a:t>CorposS</a:t>
            </a:r>
            <a:r>
              <a:rPr lang="en-US" dirty="0" smtClean="0"/>
              <a:t> 24 </a:t>
            </a:r>
            <a:r>
              <a:rPr lang="en-US" dirty="0" err="1" smtClean="0"/>
              <a:t>pt</a:t>
            </a:r>
            <a:r>
              <a:rPr lang="en-US" dirty="0" smtClean="0"/>
              <a:t>, white, non-bol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45107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430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98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CorpoS" pitchFamily="2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9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882856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454" name="think-cell スライド" r:id="rId5" imgW="321" imgH="325" progId="TCLayout.ActiveDocument.1">
                  <p:embed/>
                </p:oleObj>
              </mc:Choice>
              <mc:Fallback>
                <p:oleObj name="think-cell スライド" r:id="rId5" imgW="321" imgH="32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1" y="-1307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298">
                <a:solidFill>
                  <a:schemeClr val="tx2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1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  <p:sp>
        <p:nvSpPr>
          <p:cNvPr id="13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3158833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478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6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white">
          <a:xfrm>
            <a:off x="2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2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98">
                <a:solidFill>
                  <a:schemeClr val="tx2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TextBox 9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  <p:sp>
        <p:nvSpPr>
          <p:cNvPr id="11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srgbClr val="FFFFFF"/>
                </a:solidFill>
              </a:rPr>
              <a:t>2018-10-05_FORCE OpCo_No3_v03.pptx</a:t>
            </a:r>
            <a:endParaRPr lang="en-US" sz="1199" dirty="0">
              <a:solidFill>
                <a:srgbClr val="FFFFFF"/>
              </a:solidFill>
            </a:endParaRPr>
          </a:p>
        </p:txBody>
      </p:sp>
      <p:sp>
        <p:nvSpPr>
          <p:cNvPr id="14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4814704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502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98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CorpoS" pitchFamily="2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  <p:sp>
        <p:nvSpPr>
          <p:cNvPr id="11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srgbClr val="FFFFFF"/>
                </a:solidFill>
              </a:rPr>
              <a:t>2018-10-05_FORCE OpCo_No3_v03.pptx</a:t>
            </a:r>
            <a:endParaRPr lang="en-US" sz="1199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3849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. Brushing/ image 2 column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Regieanweisungen"/>
          <p:cNvGrpSpPr/>
          <p:nvPr/>
        </p:nvGrpSpPr>
        <p:grpSpPr>
          <a:xfrm>
            <a:off x="-2086913" y="-467892"/>
            <a:ext cx="13647691" cy="7792196"/>
            <a:chOff x="-2088000" y="-468000"/>
            <a:chExt cx="13654799" cy="7794000"/>
          </a:xfrm>
        </p:grpSpPr>
        <p:sp>
          <p:nvSpPr>
            <p:cNvPr id="20" name="Hilfslinien"/>
            <p:cNvSpPr txBox="1"/>
            <p:nvPr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99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how guides via menu bar: View // Show // tick Guides</a:t>
              </a:r>
            </a:p>
          </p:txBody>
        </p:sp>
        <p:sp>
          <p:nvSpPr>
            <p:cNvPr id="21" name="Fußzeile"/>
            <p:cNvSpPr txBox="1"/>
            <p:nvPr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1042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099" b="0" baseline="0" dirty="0" smtClean="0">
                  <a:solidFill>
                    <a:schemeClr val="accent5"/>
                  </a:solidFill>
                  <a:latin typeface="+mn-lt"/>
                </a:rPr>
                <a:t>Adjust footer (per slide or for several/all slides) via menu bar: Insert // Text // Header &amp; Footer</a:t>
              </a:r>
            </a:p>
          </p:txBody>
        </p:sp>
        <p:grpSp>
          <p:nvGrpSpPr>
            <p:cNvPr id="22" name="Hinweise links"/>
            <p:cNvGrpSpPr/>
            <p:nvPr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34" name="Folie Wechsel/Zurücksetzen/Textebenen"/>
              <p:cNvSpPr txBox="1"/>
              <p:nvPr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Reset the slide back to its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original form 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Slides // Rese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099" b="0" baseline="0" noProof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Change the slide layout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Slides // Layou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099" b="0" baseline="0" noProof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Change the text level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via menu bar: </a:t>
                </a:r>
                <a:b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</a:b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Paragraph // Increase/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Decrease List Level</a:t>
                </a:r>
              </a:p>
            </p:txBody>
          </p:sp>
          <p:grpSp>
            <p:nvGrpSpPr>
              <p:cNvPr id="35" name="Listenebenen"/>
              <p:cNvGrpSpPr/>
              <p:nvPr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36" name="Text // Listenebene erhöhen"/>
                <p:cNvSpPr txBox="1"/>
                <p:nvPr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38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999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Increase</a:t>
                  </a:r>
                </a:p>
                <a:p>
                  <a:pPr marL="0" marR="0" lvl="0" indent="0" algn="r" defTabSz="9138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999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sp>
              <p:nvSpPr>
                <p:cNvPr id="37" name="Text // Listenebene verringern"/>
                <p:cNvSpPr txBox="1"/>
                <p:nvPr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38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999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Decrease </a:t>
                  </a:r>
                </a:p>
                <a:p>
                  <a:pPr marL="0" marR="0" lvl="0" indent="0" algn="r" defTabSz="9138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999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pic>
              <p:nvPicPr>
                <p:cNvPr id="38" name="Listenebene erhöhen"/>
                <p:cNvPicPr>
                  <a:picLocks noChangeAspect="1"/>
                </p:cNvPicPr>
                <p:nvPr/>
              </p:nvPicPr>
              <p:blipFill>
                <a:blip r:embed="rId2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39" name="Listenebene verringern"/>
                <p:cNvPicPr>
                  <a:picLocks noChangeAspect="1"/>
                </p:cNvPicPr>
                <p:nvPr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pic>
        <p:nvPicPr>
          <p:cNvPr id="2" name="Buerstung O_S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white">
          <a:xfrm>
            <a:off x="0" y="1"/>
            <a:ext cx="12190450" cy="6490342"/>
          </a:xfrm>
          <a:prstGeom prst="rect">
            <a:avLst/>
          </a:prstGeom>
        </p:spPr>
      </p:pic>
      <p:sp>
        <p:nvSpPr>
          <p:cNvPr id="23" name="Daimler AG (Wortmarke)"/>
          <p:cNvSpPr>
            <a:spLocks noChangeArrowheads="1"/>
          </p:cNvSpPr>
          <p:nvPr/>
        </p:nvSpPr>
        <p:spPr bwMode="auto">
          <a:xfrm>
            <a:off x="629672" y="6564880"/>
            <a:ext cx="2086913" cy="2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r>
              <a:rPr lang="en-GB" sz="1199" dirty="0" smtClean="0">
                <a:latin typeface="+mn-lt"/>
                <a:cs typeface="Daimler CS"/>
              </a:rPr>
              <a:t>Daimler AG</a:t>
            </a:r>
            <a:endParaRPr lang="en-GB" sz="1199" dirty="0">
              <a:latin typeface="+mn-lt"/>
              <a:cs typeface="Daimler CS"/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1688656"/>
            <a:ext cx="6059507" cy="4797954"/>
          </a:xfrm>
          <a:custGeom>
            <a:avLst/>
            <a:gdLst>
              <a:gd name="connsiteX0" fmla="*/ 0 w 6060500"/>
              <a:gd name="connsiteY0" fmla="*/ 0 h 4799065"/>
              <a:gd name="connsiteX1" fmla="*/ 6060500 w 6060500"/>
              <a:gd name="connsiteY1" fmla="*/ 0 h 4799065"/>
              <a:gd name="connsiteX2" fmla="*/ 6060500 w 6060500"/>
              <a:gd name="connsiteY2" fmla="*/ 4799065 h 4799065"/>
              <a:gd name="connsiteX3" fmla="*/ 0 w 6060500"/>
              <a:gd name="connsiteY3" fmla="*/ 4799065 h 4799065"/>
              <a:gd name="connsiteX4" fmla="*/ 0 w 6060500"/>
              <a:gd name="connsiteY4" fmla="*/ 0 h 4799065"/>
              <a:gd name="connsiteX0" fmla="*/ 2382 w 6062882"/>
              <a:gd name="connsiteY0" fmla="*/ 0 h 4799065"/>
              <a:gd name="connsiteX1" fmla="*/ 6062882 w 6062882"/>
              <a:gd name="connsiteY1" fmla="*/ 0 h 4799065"/>
              <a:gd name="connsiteX2" fmla="*/ 6062882 w 6062882"/>
              <a:gd name="connsiteY2" fmla="*/ 4799065 h 4799065"/>
              <a:gd name="connsiteX3" fmla="*/ 2382 w 6062882"/>
              <a:gd name="connsiteY3" fmla="*/ 4799065 h 4799065"/>
              <a:gd name="connsiteX4" fmla="*/ 0 w 6062882"/>
              <a:gd name="connsiteY4" fmla="*/ 532659 h 4799065"/>
              <a:gd name="connsiteX5" fmla="*/ 2382 w 6062882"/>
              <a:gd name="connsiteY5" fmla="*/ 0 h 4799065"/>
              <a:gd name="connsiteX0" fmla="*/ 0 w 6062882"/>
              <a:gd name="connsiteY0" fmla="*/ 532659 h 4799065"/>
              <a:gd name="connsiteX1" fmla="*/ 6062882 w 6062882"/>
              <a:gd name="connsiteY1" fmla="*/ 0 h 4799065"/>
              <a:gd name="connsiteX2" fmla="*/ 6062882 w 6062882"/>
              <a:gd name="connsiteY2" fmla="*/ 4799065 h 4799065"/>
              <a:gd name="connsiteX3" fmla="*/ 2382 w 6062882"/>
              <a:gd name="connsiteY3" fmla="*/ 4799065 h 4799065"/>
              <a:gd name="connsiteX4" fmla="*/ 0 w 6062882"/>
              <a:gd name="connsiteY4" fmla="*/ 532659 h 47990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2882" h="4799065">
                <a:moveTo>
                  <a:pt x="0" y="532659"/>
                </a:moveTo>
                <a:lnTo>
                  <a:pt x="6062882" y="0"/>
                </a:lnTo>
                <a:lnTo>
                  <a:pt x="6062882" y="4799065"/>
                </a:lnTo>
                <a:lnTo>
                  <a:pt x="2382" y="4799065"/>
                </a:lnTo>
                <a:lnTo>
                  <a:pt x="0" y="532659"/>
                </a:lnTo>
                <a:close/>
              </a:path>
            </a:pathLst>
          </a:cu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117" y="288858"/>
            <a:ext cx="10931023" cy="1115742"/>
          </a:xfrm>
          <a:custGeom>
            <a:avLst/>
            <a:gdLst>
              <a:gd name="connsiteX0" fmla="*/ 0 w 10936355"/>
              <a:gd name="connsiteY0" fmla="*/ 0 h 1116000"/>
              <a:gd name="connsiteX1" fmla="*/ 10936355 w 10936355"/>
              <a:gd name="connsiteY1" fmla="*/ 0 h 1116000"/>
              <a:gd name="connsiteX2" fmla="*/ 10936355 w 10936355"/>
              <a:gd name="connsiteY2" fmla="*/ 1116000 h 1116000"/>
              <a:gd name="connsiteX3" fmla="*/ 0 w 10936355"/>
              <a:gd name="connsiteY3" fmla="*/ 1116000 h 1116000"/>
              <a:gd name="connsiteX4" fmla="*/ 0 w 10936355"/>
              <a:gd name="connsiteY4" fmla="*/ 0 h 1116000"/>
              <a:gd name="connsiteX0" fmla="*/ 0 w 10936355"/>
              <a:gd name="connsiteY0" fmla="*/ 0 h 1116000"/>
              <a:gd name="connsiteX1" fmla="*/ 10936355 w 10936355"/>
              <a:gd name="connsiteY1" fmla="*/ 0 h 1116000"/>
              <a:gd name="connsiteX2" fmla="*/ 10936355 w 10936355"/>
              <a:gd name="connsiteY2" fmla="*/ 1116000 h 1116000"/>
              <a:gd name="connsiteX3" fmla="*/ 5793216 w 10936355"/>
              <a:gd name="connsiteY3" fmla="*/ 1113155 h 1116000"/>
              <a:gd name="connsiteX4" fmla="*/ 0 w 10936355"/>
              <a:gd name="connsiteY4" fmla="*/ 1116000 h 1116000"/>
              <a:gd name="connsiteX5" fmla="*/ 0 w 10936355"/>
              <a:gd name="connsiteY5" fmla="*/ 0 h 1116000"/>
              <a:gd name="connsiteX0" fmla="*/ 0 w 10936716"/>
              <a:gd name="connsiteY0" fmla="*/ 0 h 1116000"/>
              <a:gd name="connsiteX1" fmla="*/ 10936355 w 10936716"/>
              <a:gd name="connsiteY1" fmla="*/ 0 h 1116000"/>
              <a:gd name="connsiteX2" fmla="*/ 10936716 w 10936716"/>
              <a:gd name="connsiteY2" fmla="*/ 678815 h 1116000"/>
              <a:gd name="connsiteX3" fmla="*/ 10936355 w 10936716"/>
              <a:gd name="connsiteY3" fmla="*/ 1116000 h 1116000"/>
              <a:gd name="connsiteX4" fmla="*/ 5793216 w 10936716"/>
              <a:gd name="connsiteY4" fmla="*/ 1113155 h 1116000"/>
              <a:gd name="connsiteX5" fmla="*/ 0 w 10936716"/>
              <a:gd name="connsiteY5" fmla="*/ 1116000 h 1116000"/>
              <a:gd name="connsiteX6" fmla="*/ 0 w 10936716"/>
              <a:gd name="connsiteY6" fmla="*/ 0 h 1116000"/>
              <a:gd name="connsiteX0" fmla="*/ 0 w 10936716"/>
              <a:gd name="connsiteY0" fmla="*/ 0 h 1116000"/>
              <a:gd name="connsiteX1" fmla="*/ 10936355 w 10936716"/>
              <a:gd name="connsiteY1" fmla="*/ 0 h 1116000"/>
              <a:gd name="connsiteX2" fmla="*/ 10936716 w 10936716"/>
              <a:gd name="connsiteY2" fmla="*/ 678815 h 1116000"/>
              <a:gd name="connsiteX3" fmla="*/ 5793216 w 10936716"/>
              <a:gd name="connsiteY3" fmla="*/ 1113155 h 1116000"/>
              <a:gd name="connsiteX4" fmla="*/ 0 w 10936716"/>
              <a:gd name="connsiteY4" fmla="*/ 1116000 h 1116000"/>
              <a:gd name="connsiteX5" fmla="*/ 0 w 10936716"/>
              <a:gd name="connsiteY5" fmla="*/ 0 h 1116000"/>
              <a:gd name="connsiteX0" fmla="*/ 0 w 10936716"/>
              <a:gd name="connsiteY0" fmla="*/ 0 h 1116000"/>
              <a:gd name="connsiteX1" fmla="*/ 10936355 w 10936716"/>
              <a:gd name="connsiteY1" fmla="*/ 0 h 1116000"/>
              <a:gd name="connsiteX2" fmla="*/ 10936716 w 10936716"/>
              <a:gd name="connsiteY2" fmla="*/ 678815 h 1116000"/>
              <a:gd name="connsiteX3" fmla="*/ 5793216 w 10936716"/>
              <a:gd name="connsiteY3" fmla="*/ 1113155 h 1116000"/>
              <a:gd name="connsiteX4" fmla="*/ 0 w 10936716"/>
              <a:gd name="connsiteY4" fmla="*/ 1116000 h 1116000"/>
              <a:gd name="connsiteX5" fmla="*/ 0 w 10936716"/>
              <a:gd name="connsiteY5" fmla="*/ 0 h 11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936716" h="1116000">
                <a:moveTo>
                  <a:pt x="0" y="0"/>
                </a:moveTo>
                <a:lnTo>
                  <a:pt x="10936355" y="0"/>
                </a:lnTo>
                <a:cubicBezTo>
                  <a:pt x="10936475" y="226272"/>
                  <a:pt x="10936596" y="452543"/>
                  <a:pt x="10936716" y="678815"/>
                </a:cubicBezTo>
                <a:lnTo>
                  <a:pt x="5793216" y="1113155"/>
                </a:lnTo>
                <a:lnTo>
                  <a:pt x="0" y="1116000"/>
                </a:lnTo>
                <a:lnTo>
                  <a:pt x="0" y="0"/>
                </a:lnTo>
                <a:close/>
              </a:path>
            </a:pathLst>
          </a:cu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Image-chart, Headline </a:t>
            </a:r>
            <a:r>
              <a:rPr lang="en-GB" noProof="0" dirty="0" smtClean="0"/>
              <a:t>CorpoS </a:t>
            </a:r>
            <a:r>
              <a:rPr lang="en-GB" dirty="0" smtClean="0"/>
              <a:t>(Body) 35 pt. </a:t>
            </a:r>
            <a:br>
              <a:rPr lang="en-GB" dirty="0" smtClean="0"/>
            </a:br>
            <a:r>
              <a:rPr lang="en-GB" dirty="0" smtClean="0"/>
              <a:t>in two lines of text</a:t>
            </a:r>
            <a:endParaRPr lang="en-GB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178478-C14F-4056-BC7B-D4A0322B8D6E}" type="slidenum">
              <a:rPr lang="en-US" smtClean="0"/>
              <a:t>‹#›</a:t>
            </a:fld>
            <a:endParaRPr lang="en-US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132494" y="1149011"/>
            <a:ext cx="6057656" cy="5337600"/>
          </a:xfrm>
          <a:custGeom>
            <a:avLst/>
            <a:gdLst>
              <a:gd name="connsiteX0" fmla="*/ 0 w 6063460"/>
              <a:gd name="connsiteY0" fmla="*/ 0 h 5338836"/>
              <a:gd name="connsiteX1" fmla="*/ 6063460 w 6063460"/>
              <a:gd name="connsiteY1" fmla="*/ 0 h 5338836"/>
              <a:gd name="connsiteX2" fmla="*/ 6063460 w 6063460"/>
              <a:gd name="connsiteY2" fmla="*/ 5338836 h 5338836"/>
              <a:gd name="connsiteX3" fmla="*/ 0 w 6063460"/>
              <a:gd name="connsiteY3" fmla="*/ 5338836 h 5338836"/>
              <a:gd name="connsiteX4" fmla="*/ 0 w 6063460"/>
              <a:gd name="connsiteY4" fmla="*/ 0 h 5338836"/>
              <a:gd name="connsiteX0" fmla="*/ 790 w 6064250"/>
              <a:gd name="connsiteY0" fmla="*/ 0 h 5338836"/>
              <a:gd name="connsiteX1" fmla="*/ 6064250 w 6064250"/>
              <a:gd name="connsiteY1" fmla="*/ 0 h 5338836"/>
              <a:gd name="connsiteX2" fmla="*/ 6064250 w 6064250"/>
              <a:gd name="connsiteY2" fmla="*/ 5338836 h 5338836"/>
              <a:gd name="connsiteX3" fmla="*/ 790 w 6064250"/>
              <a:gd name="connsiteY3" fmla="*/ 5338836 h 5338836"/>
              <a:gd name="connsiteX4" fmla="*/ 0 w 6064250"/>
              <a:gd name="connsiteY4" fmla="*/ 531886 h 5338836"/>
              <a:gd name="connsiteX5" fmla="*/ 790 w 6064250"/>
              <a:gd name="connsiteY5" fmla="*/ 0 h 5338836"/>
              <a:gd name="connsiteX0" fmla="*/ 0 w 6064250"/>
              <a:gd name="connsiteY0" fmla="*/ 950596 h 5757546"/>
              <a:gd name="connsiteX1" fmla="*/ 6064250 w 6064250"/>
              <a:gd name="connsiteY1" fmla="*/ 418710 h 5757546"/>
              <a:gd name="connsiteX2" fmla="*/ 6064250 w 6064250"/>
              <a:gd name="connsiteY2" fmla="*/ 5757546 h 5757546"/>
              <a:gd name="connsiteX3" fmla="*/ 790 w 6064250"/>
              <a:gd name="connsiteY3" fmla="*/ 5757546 h 5757546"/>
              <a:gd name="connsiteX4" fmla="*/ 0 w 6064250"/>
              <a:gd name="connsiteY4" fmla="*/ 950596 h 5757546"/>
              <a:gd name="connsiteX0" fmla="*/ 0 w 6064250"/>
              <a:gd name="connsiteY0" fmla="*/ 531886 h 5338836"/>
              <a:gd name="connsiteX1" fmla="*/ 6064250 w 6064250"/>
              <a:gd name="connsiteY1" fmla="*/ 0 h 5338836"/>
              <a:gd name="connsiteX2" fmla="*/ 6064250 w 6064250"/>
              <a:gd name="connsiteY2" fmla="*/ 5338836 h 5338836"/>
              <a:gd name="connsiteX3" fmla="*/ 790 w 6064250"/>
              <a:gd name="connsiteY3" fmla="*/ 5338836 h 5338836"/>
              <a:gd name="connsiteX4" fmla="*/ 0 w 6064250"/>
              <a:gd name="connsiteY4" fmla="*/ 531886 h 53388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4250" h="5338836">
                <a:moveTo>
                  <a:pt x="0" y="531886"/>
                </a:moveTo>
                <a:lnTo>
                  <a:pt x="6064250" y="0"/>
                </a:lnTo>
                <a:lnTo>
                  <a:pt x="6064250" y="5338836"/>
                </a:lnTo>
                <a:lnTo>
                  <a:pt x="790" y="5338836"/>
                </a:lnTo>
                <a:cubicBezTo>
                  <a:pt x="527" y="3736519"/>
                  <a:pt x="263" y="2134203"/>
                  <a:pt x="0" y="531886"/>
                </a:cubicBezTo>
                <a:close/>
              </a:path>
            </a:pathLst>
          </a:cu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0384977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  <p15:guide id="2" orient="horz" pos="182">
          <p15:clr>
            <a:srgbClr val="FBAE40"/>
          </p15:clr>
        </p15:guide>
        <p15:guide id="3" pos="3819">
          <p15:clr>
            <a:srgbClr val="FBAE40"/>
          </p15:clr>
        </p15:guide>
        <p15:guide id="4" pos="3865">
          <p15:clr>
            <a:srgbClr val="FBAE40"/>
          </p15:clr>
        </p15:guide>
      </p15:sldGuideLst>
    </p:ext>
  </p:extLs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526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70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2" y="2681103"/>
            <a:ext cx="2940678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98">
                <a:solidFill>
                  <a:schemeClr val="bg1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8021" y="-1307"/>
            <a:ext cx="8103981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000000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000000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000000"/>
              </a:solidFill>
            </a:endParaRPr>
          </a:p>
        </p:txBody>
      </p:sp>
      <p:sp>
        <p:nvSpPr>
          <p:cNvPr id="12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959814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550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2"/>
          <p:cNvPicPr>
            <a:picLocks noChangeAspect="1" noChangeArrowheads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9436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reeform 14"/>
          <p:cNvSpPr/>
          <p:nvPr userDrawn="1"/>
        </p:nvSpPr>
        <p:spPr bwMode="ltGray">
          <a:xfrm>
            <a:off x="1526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5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98" baseline="0">
                <a:solidFill>
                  <a:schemeClr val="tx2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</a:t>
            </a:r>
            <a:r>
              <a:rPr lang="en-US" dirty="0" smtClean="0">
                <a:solidFill>
                  <a:schemeClr val="tx2"/>
                </a:solidFill>
              </a:rPr>
              <a:t>add title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  <p:sp>
        <p:nvSpPr>
          <p:cNvPr id="10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srgbClr val="FFFFFF"/>
                </a:solidFill>
              </a:rPr>
              <a:t>2018-10-05_FORCE OpCo_No3_v03.pptx</a:t>
            </a:r>
            <a:endParaRPr lang="en-US" sz="1199" dirty="0">
              <a:solidFill>
                <a:srgbClr val="FFFFFF"/>
              </a:solidFill>
            </a:endParaRPr>
          </a:p>
        </p:txBody>
      </p:sp>
      <p:sp>
        <p:nvSpPr>
          <p:cNvPr id="14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0636342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574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5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98" baseline="0">
                <a:solidFill>
                  <a:srgbClr val="FFFFFF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41310" y="3402830"/>
            <a:ext cx="2694666" cy="3461745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000000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000000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000000"/>
              </a:solidFill>
            </a:endParaRPr>
          </a:p>
        </p:txBody>
      </p:sp>
      <p:sp>
        <p:nvSpPr>
          <p:cNvPr id="11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  <p:sp>
        <p:nvSpPr>
          <p:cNvPr id="14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045393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98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33902" y="3395664"/>
            <a:ext cx="1298575" cy="3571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Pentagon 3"/>
          <p:cNvSpPr/>
          <p:nvPr userDrawn="1"/>
        </p:nvSpPr>
        <p:spPr bwMode="white">
          <a:xfrm>
            <a:off x="3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32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2" y="1785602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98" b="0">
                <a:solidFill>
                  <a:schemeClr val="tx2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  <p:sp>
        <p:nvSpPr>
          <p:cNvPr id="10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srgbClr val="FFFFFF"/>
                </a:solidFill>
              </a:rPr>
              <a:t>2018-10-05_FORCE OpCo_No3_v03.pptx</a:t>
            </a:r>
            <a:endParaRPr lang="en-US" sz="1199" dirty="0">
              <a:solidFill>
                <a:srgbClr val="FFFFFF"/>
              </a:solidFill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2326445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622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3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2" y="1785602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98" b="0">
                <a:solidFill>
                  <a:srgbClr val="FFFFFF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49483" y="3416300"/>
            <a:ext cx="2694666" cy="3441700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000000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000000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000000"/>
              </a:solidFill>
            </a:endParaRPr>
          </a:p>
        </p:txBody>
      </p:sp>
      <p:sp>
        <p:nvSpPr>
          <p:cNvPr id="11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239064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646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8758" y="3589606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98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CorpoS" pitchFamily="2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  <p:sp>
        <p:nvSpPr>
          <p:cNvPr id="10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srgbClr val="FFFFFF"/>
                </a:solidFill>
              </a:rPr>
              <a:t>2018-10-05_FORCE OpCo_No3_v03.pptx</a:t>
            </a:r>
            <a:endParaRPr lang="en-US" sz="1199" dirty="0">
              <a:solidFill>
                <a:srgbClr val="FFFFFF"/>
              </a:solidFill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015343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670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98" b="0" i="0" u="none" kern="1200" spc="0">
                <a:solidFill>
                  <a:srgbClr val="FFFFFF"/>
                </a:solidFill>
                <a:latin typeface="+mj-lt"/>
                <a:sym typeface="CorpoS" pitchFamily="2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28424" y="3407805"/>
            <a:ext cx="2694666" cy="3456551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000000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000000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000000"/>
              </a:solidFill>
            </a:endParaRPr>
          </a:p>
        </p:txBody>
      </p:sp>
      <p:sp>
        <p:nvSpPr>
          <p:cNvPr id="11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150290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694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41" y="3589606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reeform 18"/>
          <p:cNvSpPr/>
          <p:nvPr userDrawn="1"/>
        </p:nvSpPr>
        <p:spPr bwMode="white">
          <a:xfrm>
            <a:off x="-675056" y="0"/>
            <a:ext cx="9147670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98" b="0" i="0" u="none" kern="1200" spc="0">
                <a:solidFill>
                  <a:schemeClr val="tx2">
                    <a:lumMod val="100000"/>
                  </a:schemeClr>
                </a:solidFill>
                <a:latin typeface="CorpoS" pitchFamily="2" charset="0"/>
                <a:sym typeface="CorpoS" pitchFamily="2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29951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718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2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98" b="0" i="0" u="none" kern="1200" spc="0">
                <a:solidFill>
                  <a:srgbClr val="FFFFFF"/>
                </a:solidFill>
                <a:latin typeface="+mj-lt"/>
                <a:sym typeface="CorpoS" pitchFamily="2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24772" y="3407805"/>
            <a:ext cx="2694666" cy="3456551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000000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000000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82724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742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3486" rtl="0" eaLnBrk="1" fontAlgn="auto" latinLnBrk="0" hangingPunct="1">
              <a:lnSpc>
                <a:spcPts val="5994"/>
              </a:lnSpc>
              <a:spcBef>
                <a:spcPts val="0"/>
              </a:spcBef>
              <a:spcAft>
                <a:spcPts val="0"/>
              </a:spcAft>
              <a:defRPr lang="en-US" sz="5394" kern="1200" baseline="0" dirty="0">
                <a:solidFill>
                  <a:schemeClr val="bg1"/>
                </a:solidFill>
                <a:latin typeface="+mj-lt"/>
                <a:ea typeface="+mn-ea"/>
                <a:cs typeface="+mj-cs"/>
                <a:sym typeface="CorpoS" pitchFamily="2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big statement text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  <p:sp>
        <p:nvSpPr>
          <p:cNvPr id="6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srgbClr val="FFFFFF"/>
                </a:solidFill>
              </a:rPr>
              <a:t>2018-10-05_FORCE OpCo_No3_v03.pptx</a:t>
            </a:r>
            <a:endParaRPr lang="en-US" sz="1199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27070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. Brushing/ image 2 column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Regieanweisungen"/>
          <p:cNvGrpSpPr/>
          <p:nvPr/>
        </p:nvGrpSpPr>
        <p:grpSpPr>
          <a:xfrm>
            <a:off x="-2086913" y="-467892"/>
            <a:ext cx="13647691" cy="7792196"/>
            <a:chOff x="-2088000" y="-468000"/>
            <a:chExt cx="13654799" cy="7794000"/>
          </a:xfrm>
        </p:grpSpPr>
        <p:sp>
          <p:nvSpPr>
            <p:cNvPr id="19" name="Hilfslinien"/>
            <p:cNvSpPr txBox="1"/>
            <p:nvPr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99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how guides via menu bar: View // Show // tick Guides</a:t>
              </a:r>
            </a:p>
          </p:txBody>
        </p:sp>
        <p:sp>
          <p:nvSpPr>
            <p:cNvPr id="20" name="Fußzeile"/>
            <p:cNvSpPr txBox="1"/>
            <p:nvPr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1042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099" b="0" baseline="0" dirty="0" smtClean="0">
                  <a:solidFill>
                    <a:schemeClr val="accent5"/>
                  </a:solidFill>
                  <a:latin typeface="+mn-lt"/>
                </a:rPr>
                <a:t>Adjust footer (per slide or for several/all slides) via menu bar: Insert // Text // Header &amp; Footer</a:t>
              </a:r>
            </a:p>
          </p:txBody>
        </p:sp>
        <p:grpSp>
          <p:nvGrpSpPr>
            <p:cNvPr id="21" name="Hinweise links"/>
            <p:cNvGrpSpPr/>
            <p:nvPr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22" name="Folie Wechsel/Zurücksetzen/Textebenen"/>
              <p:cNvSpPr txBox="1"/>
              <p:nvPr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Reset the slide back to its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original form 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Slides // Rese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099" b="0" baseline="0" noProof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Change the slide layout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Slides // Layou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099" b="0" baseline="0" noProof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Change the text level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via menu bar: </a:t>
                </a:r>
                <a:b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</a:b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Paragraph // Increase/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Decrease List Level</a:t>
                </a:r>
              </a:p>
            </p:txBody>
          </p:sp>
          <p:grpSp>
            <p:nvGrpSpPr>
              <p:cNvPr id="35" name="Listenebenen"/>
              <p:cNvGrpSpPr/>
              <p:nvPr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36" name="Text // Listenebene erhöhen"/>
                <p:cNvSpPr txBox="1"/>
                <p:nvPr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38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999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Increase</a:t>
                  </a:r>
                </a:p>
                <a:p>
                  <a:pPr marL="0" marR="0" lvl="0" indent="0" algn="r" defTabSz="9138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999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sp>
              <p:nvSpPr>
                <p:cNvPr id="37" name="Text // Listenebene verringern"/>
                <p:cNvSpPr txBox="1"/>
                <p:nvPr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38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999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Decrease </a:t>
                  </a:r>
                </a:p>
                <a:p>
                  <a:pPr marL="0" marR="0" lvl="0" indent="0" algn="r" defTabSz="9138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999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pic>
              <p:nvPicPr>
                <p:cNvPr id="38" name="Listenebene erhöhen"/>
                <p:cNvPicPr>
                  <a:picLocks noChangeAspect="1"/>
                </p:cNvPicPr>
                <p:nvPr/>
              </p:nvPicPr>
              <p:blipFill>
                <a:blip r:embed="rId2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39" name="Listenebene verringern"/>
                <p:cNvPicPr>
                  <a:picLocks noChangeAspect="1"/>
                </p:cNvPicPr>
                <p:nvPr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pic>
        <p:nvPicPr>
          <p:cNvPr id="3" name="Buerstung U_S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white">
          <a:xfrm>
            <a:off x="0" y="0"/>
            <a:ext cx="12190451" cy="6487838"/>
          </a:xfrm>
          <a:prstGeom prst="rect">
            <a:avLst/>
          </a:prstGeom>
        </p:spPr>
      </p:pic>
      <p:sp>
        <p:nvSpPr>
          <p:cNvPr id="23" name="Daimler AG (Wortmarke)"/>
          <p:cNvSpPr>
            <a:spLocks noChangeArrowheads="1"/>
          </p:cNvSpPr>
          <p:nvPr/>
        </p:nvSpPr>
        <p:spPr bwMode="auto">
          <a:xfrm>
            <a:off x="629672" y="6564880"/>
            <a:ext cx="2086913" cy="2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r>
              <a:rPr lang="en-GB" sz="1199" dirty="0" smtClean="0">
                <a:latin typeface="+mn-lt"/>
                <a:cs typeface="Daimler CS"/>
              </a:rPr>
              <a:t>Daimler AG</a:t>
            </a:r>
            <a:endParaRPr lang="en-GB" sz="1199" dirty="0">
              <a:latin typeface="+mn-lt"/>
              <a:cs typeface="Daimler CS"/>
            </a:endParaRP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178478-C14F-4056-BC7B-D4A0322B8D6E}" type="slidenum">
              <a:rPr lang="en-US" smtClean="0"/>
              <a:t>‹#›</a:t>
            </a:fld>
            <a:endParaRPr lang="en-US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614087" y="1"/>
            <a:ext cx="5576364" cy="5066126"/>
          </a:xfrm>
          <a:custGeom>
            <a:avLst/>
            <a:gdLst>
              <a:gd name="connsiteX0" fmla="*/ 0 w 5579268"/>
              <a:gd name="connsiteY0" fmla="*/ 0 h 5067299"/>
              <a:gd name="connsiteX1" fmla="*/ 5579268 w 5579268"/>
              <a:gd name="connsiteY1" fmla="*/ 0 h 5067299"/>
              <a:gd name="connsiteX2" fmla="*/ 5579268 w 5579268"/>
              <a:gd name="connsiteY2" fmla="*/ 5067299 h 5067299"/>
              <a:gd name="connsiteX3" fmla="*/ 0 w 5579268"/>
              <a:gd name="connsiteY3" fmla="*/ 5067299 h 5067299"/>
              <a:gd name="connsiteX4" fmla="*/ 0 w 5579268"/>
              <a:gd name="connsiteY4" fmla="*/ 0 h 5067299"/>
              <a:gd name="connsiteX0" fmla="*/ 0 w 5579268"/>
              <a:gd name="connsiteY0" fmla="*/ 0 h 5067299"/>
              <a:gd name="connsiteX1" fmla="*/ 5579268 w 5579268"/>
              <a:gd name="connsiteY1" fmla="*/ 0 h 5067299"/>
              <a:gd name="connsiteX2" fmla="*/ 5579231 w 5579268"/>
              <a:gd name="connsiteY2" fmla="*/ 4581524 h 5067299"/>
              <a:gd name="connsiteX3" fmla="*/ 5579268 w 5579268"/>
              <a:gd name="connsiteY3" fmla="*/ 5067299 h 5067299"/>
              <a:gd name="connsiteX4" fmla="*/ 0 w 5579268"/>
              <a:gd name="connsiteY4" fmla="*/ 5067299 h 5067299"/>
              <a:gd name="connsiteX5" fmla="*/ 0 w 5579268"/>
              <a:gd name="connsiteY5" fmla="*/ 0 h 5067299"/>
              <a:gd name="connsiteX0" fmla="*/ 0 w 5579268"/>
              <a:gd name="connsiteY0" fmla="*/ 0 h 5471929"/>
              <a:gd name="connsiteX1" fmla="*/ 5579268 w 5579268"/>
              <a:gd name="connsiteY1" fmla="*/ 0 h 5471929"/>
              <a:gd name="connsiteX2" fmla="*/ 5579231 w 5579268"/>
              <a:gd name="connsiteY2" fmla="*/ 4581524 h 5471929"/>
              <a:gd name="connsiteX3" fmla="*/ 0 w 5579268"/>
              <a:gd name="connsiteY3" fmla="*/ 5067299 h 5471929"/>
              <a:gd name="connsiteX4" fmla="*/ 0 w 5579268"/>
              <a:gd name="connsiteY4" fmla="*/ 0 h 5471929"/>
              <a:gd name="connsiteX0" fmla="*/ 0 w 5579268"/>
              <a:gd name="connsiteY0" fmla="*/ 0 h 5067299"/>
              <a:gd name="connsiteX1" fmla="*/ 5579268 w 5579268"/>
              <a:gd name="connsiteY1" fmla="*/ 0 h 5067299"/>
              <a:gd name="connsiteX2" fmla="*/ 5579231 w 5579268"/>
              <a:gd name="connsiteY2" fmla="*/ 4581524 h 5067299"/>
              <a:gd name="connsiteX3" fmla="*/ 0 w 5579268"/>
              <a:gd name="connsiteY3" fmla="*/ 5067299 h 5067299"/>
              <a:gd name="connsiteX4" fmla="*/ 0 w 5579268"/>
              <a:gd name="connsiteY4" fmla="*/ 0 h 5067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79268" h="5067299">
                <a:moveTo>
                  <a:pt x="0" y="0"/>
                </a:moveTo>
                <a:lnTo>
                  <a:pt x="5579268" y="0"/>
                </a:lnTo>
                <a:cubicBezTo>
                  <a:pt x="5579256" y="1527175"/>
                  <a:pt x="5579243" y="3054349"/>
                  <a:pt x="5579231" y="4581524"/>
                </a:cubicBezTo>
                <a:lnTo>
                  <a:pt x="0" y="5067299"/>
                </a:lnTo>
                <a:lnTo>
                  <a:pt x="0" y="0"/>
                </a:lnTo>
                <a:close/>
              </a:path>
            </a:pathLst>
          </a:cu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  <p:sp>
        <p:nvSpPr>
          <p:cNvPr id="34" name="Picture Placehold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1" y="1"/>
            <a:ext cx="6546631" cy="5651097"/>
          </a:xfrm>
          <a:custGeom>
            <a:avLst/>
            <a:gdLst>
              <a:gd name="connsiteX0" fmla="*/ 0 w 6550041"/>
              <a:gd name="connsiteY0" fmla="*/ 0 h 5652406"/>
              <a:gd name="connsiteX1" fmla="*/ 6550041 w 6550041"/>
              <a:gd name="connsiteY1" fmla="*/ 0 h 5652406"/>
              <a:gd name="connsiteX2" fmla="*/ 6550041 w 6550041"/>
              <a:gd name="connsiteY2" fmla="*/ 5652406 h 5652406"/>
              <a:gd name="connsiteX3" fmla="*/ 0 w 6550041"/>
              <a:gd name="connsiteY3" fmla="*/ 5652406 h 5652406"/>
              <a:gd name="connsiteX4" fmla="*/ 0 w 6550041"/>
              <a:gd name="connsiteY4" fmla="*/ 0 h 5652406"/>
              <a:gd name="connsiteX0" fmla="*/ 0 w 6550041"/>
              <a:gd name="connsiteY0" fmla="*/ 0 h 5652406"/>
              <a:gd name="connsiteX1" fmla="*/ 6550041 w 6550041"/>
              <a:gd name="connsiteY1" fmla="*/ 0 h 5652406"/>
              <a:gd name="connsiteX2" fmla="*/ 6548438 w 6550041"/>
              <a:gd name="connsiteY2" fmla="*/ 5074443 h 5652406"/>
              <a:gd name="connsiteX3" fmla="*/ 6550041 w 6550041"/>
              <a:gd name="connsiteY3" fmla="*/ 5652406 h 5652406"/>
              <a:gd name="connsiteX4" fmla="*/ 0 w 6550041"/>
              <a:gd name="connsiteY4" fmla="*/ 5652406 h 5652406"/>
              <a:gd name="connsiteX5" fmla="*/ 0 w 6550041"/>
              <a:gd name="connsiteY5" fmla="*/ 0 h 5652406"/>
              <a:gd name="connsiteX0" fmla="*/ 0 w 6550041"/>
              <a:gd name="connsiteY0" fmla="*/ 0 h 6090174"/>
              <a:gd name="connsiteX1" fmla="*/ 6550041 w 6550041"/>
              <a:gd name="connsiteY1" fmla="*/ 0 h 6090174"/>
              <a:gd name="connsiteX2" fmla="*/ 6548438 w 6550041"/>
              <a:gd name="connsiteY2" fmla="*/ 5074443 h 6090174"/>
              <a:gd name="connsiteX3" fmla="*/ 0 w 6550041"/>
              <a:gd name="connsiteY3" fmla="*/ 5652406 h 6090174"/>
              <a:gd name="connsiteX4" fmla="*/ 0 w 6550041"/>
              <a:gd name="connsiteY4" fmla="*/ 0 h 6090174"/>
              <a:gd name="connsiteX0" fmla="*/ 0 w 6550041"/>
              <a:gd name="connsiteY0" fmla="*/ 0 h 5652406"/>
              <a:gd name="connsiteX1" fmla="*/ 6550041 w 6550041"/>
              <a:gd name="connsiteY1" fmla="*/ 0 h 5652406"/>
              <a:gd name="connsiteX2" fmla="*/ 6548438 w 6550041"/>
              <a:gd name="connsiteY2" fmla="*/ 5074443 h 5652406"/>
              <a:gd name="connsiteX3" fmla="*/ 0 w 6550041"/>
              <a:gd name="connsiteY3" fmla="*/ 5652406 h 5652406"/>
              <a:gd name="connsiteX4" fmla="*/ 0 w 6550041"/>
              <a:gd name="connsiteY4" fmla="*/ 0 h 5652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50041" h="5652406">
                <a:moveTo>
                  <a:pt x="0" y="0"/>
                </a:moveTo>
                <a:lnTo>
                  <a:pt x="6550041" y="0"/>
                </a:lnTo>
                <a:cubicBezTo>
                  <a:pt x="6549507" y="1691481"/>
                  <a:pt x="6548972" y="3382962"/>
                  <a:pt x="6548438" y="5074443"/>
                </a:cubicBezTo>
                <a:lnTo>
                  <a:pt x="0" y="5652406"/>
                </a:lnTo>
                <a:lnTo>
                  <a:pt x="0" y="0"/>
                </a:lnTo>
                <a:close/>
              </a:path>
            </a:pathLst>
          </a:cu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2000127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4125">
          <p15:clr>
            <a:srgbClr val="FBAE40"/>
          </p15:clr>
        </p15:guide>
        <p15:guide id="2" pos="4170">
          <p15:clr>
            <a:srgbClr val="FBAE40"/>
          </p15:clr>
        </p15:guide>
      </p15:sldGuideLst>
    </p:ext>
  </p:extLs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766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3486" rtl="0" eaLnBrk="1" fontAlgn="auto" latinLnBrk="0" hangingPunct="1">
              <a:lnSpc>
                <a:spcPts val="5994"/>
              </a:lnSpc>
              <a:spcBef>
                <a:spcPts val="0"/>
              </a:spcBef>
              <a:spcAft>
                <a:spcPts val="0"/>
              </a:spcAft>
              <a:defRPr lang="en-US" sz="5394" kern="1200" baseline="0" dirty="0">
                <a:solidFill>
                  <a:schemeClr val="accent4"/>
                </a:solidFill>
                <a:latin typeface="+mj-lt"/>
                <a:ea typeface="+mn-ea"/>
                <a:cs typeface="+mj-cs"/>
                <a:sym typeface="CorpoS" pitchFamily="2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big statement text</a:t>
            </a:r>
          </a:p>
        </p:txBody>
      </p:sp>
      <p:sp>
        <p:nvSpPr>
          <p:cNvPr id="8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7078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790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0089773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814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Box 9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  <p:sp>
        <p:nvSpPr>
          <p:cNvPr id="7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srgbClr val="FFFFFF"/>
                </a:solidFill>
              </a:rPr>
              <a:t>2018-10-05_FORCE OpCo_No3_v03.pptx</a:t>
            </a:r>
            <a:endParaRPr lang="en-US" sz="1199" dirty="0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9719966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38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  <p:sp>
        <p:nvSpPr>
          <p:cNvPr id="8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4283094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862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lowchart: Manual Input 7"/>
          <p:cNvSpPr/>
          <p:nvPr userDrawn="1"/>
        </p:nvSpPr>
        <p:spPr>
          <a:xfrm>
            <a:off x="0" y="3610066"/>
            <a:ext cx="12192000" cy="3247934"/>
          </a:xfrm>
          <a:prstGeom prst="flowChartManualInput">
            <a:avLst/>
          </a:prstGeom>
          <a:solidFill>
            <a:srgbClr val="E6E6E6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9E9E9E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99" dirty="0" err="1" smtClean="0">
              <a:solidFill>
                <a:prstClr val="white"/>
              </a:solidFill>
            </a:endParaRPr>
          </a:p>
        </p:txBody>
      </p:sp>
      <p:sp>
        <p:nvSpPr>
          <p:cNvPr id="9" name="Flowchart: Manual Input 8"/>
          <p:cNvSpPr/>
          <p:nvPr userDrawn="1"/>
        </p:nvSpPr>
        <p:spPr>
          <a:xfrm flipH="1" flipV="1">
            <a:off x="0" y="0"/>
            <a:ext cx="12192000" cy="4532850"/>
          </a:xfrm>
          <a:prstGeom prst="flowChartManualInput">
            <a:avLst/>
          </a:prstGeom>
          <a:solidFill>
            <a:srgbClr val="00566D"/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99" dirty="0" err="1" smtClean="0">
              <a:solidFill>
                <a:prstClr val="white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804" t="9756" r="6727" b="4972"/>
          <a:stretch/>
        </p:blipFill>
        <p:spPr>
          <a:xfrm>
            <a:off x="131974" y="3490768"/>
            <a:ext cx="3789529" cy="2442689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956" r="13359"/>
          <a:stretch>
            <a:fillRect/>
          </a:stretch>
        </p:blipFill>
        <p:spPr>
          <a:xfrm>
            <a:off x="9405114" y="3500651"/>
            <a:ext cx="2691445" cy="2418386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8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6741655" y="3672592"/>
            <a:ext cx="2935899" cy="2320471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40885" y="3474457"/>
            <a:ext cx="3570966" cy="2833362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10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04555" y="3766182"/>
            <a:ext cx="2312483" cy="2541637"/>
          </a:xfrm>
          <a:prstGeom prst="rect">
            <a:avLst/>
          </a:prstGeom>
        </p:spPr>
      </p:pic>
      <p:pic>
        <p:nvPicPr>
          <p:cNvPr id="17" name="Wortmarke DAIMLER" descr="Daimler_RGB_100mm.png"/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1254" y="791617"/>
            <a:ext cx="3417231" cy="462594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4648" y="613010"/>
            <a:ext cx="786654" cy="786882"/>
          </a:xfrm>
          <a:prstGeom prst="rect">
            <a:avLst/>
          </a:prstGeom>
        </p:spPr>
      </p:pic>
      <p:pic>
        <p:nvPicPr>
          <p:cNvPr id="20" name="Picture 3" descr="C:\Users\rajarrv\AppData\Local\Microsoft\Windows\Temporary Internet Files\Content.Outlook\3CY2KM7L\B-No Background FORCE LOGO.png"/>
          <p:cNvPicPr>
            <a:picLocks noChangeAspect="1" noChangeArrowheads="1"/>
          </p:cNvPicPr>
          <p:nvPr userDrawn="1"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419611" y="692628"/>
            <a:ext cx="2166326" cy="6188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94326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886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 userDrawn="1"/>
        </p:nvGrpSpPr>
        <p:grpSpPr>
          <a:xfrm>
            <a:off x="-598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>
                <a:solidFill>
                  <a:prstClr val="black"/>
                </a:solidFill>
                <a:sym typeface="CorpoS" pitchFamily="2" charset="0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486">
                <a:defRPr/>
              </a:pPr>
              <a:endParaRPr lang="en-US" sz="1798" dirty="0">
                <a:solidFill>
                  <a:srgbClr val="575757"/>
                </a:solidFill>
                <a:sym typeface="CorpoS" pitchFamily="2" charset="0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>
                <a:solidFill>
                  <a:prstClr val="black"/>
                </a:solidFill>
                <a:sym typeface="CorpoS" pitchFamily="2" charset="0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>
                <a:solidFill>
                  <a:prstClr val="black"/>
                </a:solidFill>
                <a:sym typeface="CorpoS" pitchFamily="2" charset="0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999"/>
                </a:spcAft>
              </a:pPr>
              <a:endParaRPr lang="en-US" sz="1198" dirty="0">
                <a:solidFill>
                  <a:prstClr val="white"/>
                </a:solidFill>
                <a:sym typeface="CorpoS" pitchFamily="2" charset="0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defTabSz="913486">
                <a:lnSpc>
                  <a:spcPct val="90000"/>
                </a:lnSpc>
                <a:defRPr/>
              </a:pPr>
              <a:r>
                <a:rPr lang="en-US" sz="999" dirty="0">
                  <a:solidFill>
                    <a:prstClr val="white">
                      <a:lumMod val="50000"/>
                    </a:prstClr>
                  </a:solidFill>
                  <a:sym typeface="CorpoS" pitchFamily="2" charset="0"/>
                </a:rPr>
                <a:t>1. xxxx  2. xxxx  3. xxxx</a:t>
              </a:r>
            </a:p>
            <a:p>
              <a:pPr defTabSz="913486">
                <a:lnSpc>
                  <a:spcPct val="90000"/>
                </a:lnSpc>
                <a:defRPr/>
              </a:pPr>
              <a:r>
                <a:rPr lang="en-US" sz="999" dirty="0">
                  <a:solidFill>
                    <a:prstClr val="white">
                      <a:lumMod val="50000"/>
                    </a:prstClr>
                  </a:solidFill>
                  <a:sym typeface="CorpoS" pitchFamily="2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 defTabSz="913486">
                <a:lnSpc>
                  <a:spcPct val="90000"/>
                </a:lnSpc>
                <a:defRPr/>
              </a:pPr>
              <a:r>
                <a:rPr lang="en-US" sz="999" dirty="0">
                  <a:solidFill>
                    <a:prstClr val="white">
                      <a:lumMod val="50000"/>
                    </a:prstClr>
                  </a:solidFill>
                  <a:sym typeface="CorpoS" pitchFamily="2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94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9981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910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lowchart: Manual Input 7"/>
          <p:cNvSpPr/>
          <p:nvPr userDrawn="1"/>
        </p:nvSpPr>
        <p:spPr>
          <a:xfrm>
            <a:off x="0" y="3610066"/>
            <a:ext cx="12192000" cy="3247934"/>
          </a:xfrm>
          <a:prstGeom prst="flowChartManualInput">
            <a:avLst/>
          </a:prstGeom>
          <a:solidFill>
            <a:srgbClr val="E6E6E6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9E9E9E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99" dirty="0" err="1" smtClean="0">
              <a:solidFill>
                <a:prstClr val="white"/>
              </a:solidFill>
            </a:endParaRPr>
          </a:p>
        </p:txBody>
      </p:sp>
      <p:sp>
        <p:nvSpPr>
          <p:cNvPr id="9" name="Flowchart: Manual Input 8"/>
          <p:cNvSpPr/>
          <p:nvPr userDrawn="1"/>
        </p:nvSpPr>
        <p:spPr>
          <a:xfrm flipH="1" flipV="1">
            <a:off x="0" y="0"/>
            <a:ext cx="12192000" cy="4532850"/>
          </a:xfrm>
          <a:prstGeom prst="flowChartManualInput">
            <a:avLst/>
          </a:prstGeom>
          <a:solidFill>
            <a:srgbClr val="00566D"/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99" dirty="0" err="1" smtClean="0">
              <a:solidFill>
                <a:prstClr val="white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804" t="9756" r="6727" b="4972"/>
          <a:stretch/>
        </p:blipFill>
        <p:spPr>
          <a:xfrm>
            <a:off x="131974" y="3490768"/>
            <a:ext cx="3789529" cy="2442689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956" r="13359"/>
          <a:stretch>
            <a:fillRect/>
          </a:stretch>
        </p:blipFill>
        <p:spPr>
          <a:xfrm>
            <a:off x="9405114" y="3500651"/>
            <a:ext cx="2691445" cy="2418386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8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6741655" y="3672592"/>
            <a:ext cx="2935899" cy="2320471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40885" y="3474457"/>
            <a:ext cx="3570966" cy="2833362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10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04555" y="3766182"/>
            <a:ext cx="2312483" cy="2541637"/>
          </a:xfrm>
          <a:prstGeom prst="rect">
            <a:avLst/>
          </a:prstGeom>
        </p:spPr>
      </p:pic>
      <p:pic>
        <p:nvPicPr>
          <p:cNvPr id="17" name="Wortmarke DAIMLER" descr="Daimler_RGB_100mm.png"/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1254" y="791617"/>
            <a:ext cx="3417231" cy="462594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4648" y="613010"/>
            <a:ext cx="786654" cy="786882"/>
          </a:xfrm>
          <a:prstGeom prst="rect">
            <a:avLst/>
          </a:prstGeom>
        </p:spPr>
      </p:pic>
      <p:pic>
        <p:nvPicPr>
          <p:cNvPr id="20" name="Picture 3" descr="C:\Users\rajarrv\AppData\Local\Microsoft\Windows\Temporary Internet Files\Content.Outlook\3CY2KM7L\B-No Background FORCE LOGO.png"/>
          <p:cNvPicPr>
            <a:picLocks noChangeAspect="1" noChangeArrowheads="1"/>
          </p:cNvPicPr>
          <p:nvPr userDrawn="1"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419611" y="692628"/>
            <a:ext cx="2166326" cy="6188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itle 1"/>
          <p:cNvSpPr>
            <a:spLocks noGrp="1"/>
          </p:cNvSpPr>
          <p:nvPr>
            <p:ph type="title" hasCustomPrompt="1"/>
          </p:nvPr>
        </p:nvSpPr>
        <p:spPr>
          <a:xfrm>
            <a:off x="628326" y="2001480"/>
            <a:ext cx="10932181" cy="526176"/>
          </a:xfrm>
        </p:spPr>
        <p:txBody>
          <a:bodyPr anchor="b">
            <a:spAutoFit/>
          </a:bodyPr>
          <a:lstStyle>
            <a:lvl1pPr marL="0" indent="0" algn="l" defTabSz="1087871" rtl="0" eaLnBrk="1" latinLnBrk="0" hangingPunct="1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3598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CorpoS" pitchFamily="2" charset="0"/>
              </a:defRPr>
            </a:lvl1pPr>
          </a:lstStyle>
          <a:p>
            <a:pPr>
              <a:lnSpc>
                <a:spcPct val="95000"/>
              </a:lnSpc>
            </a:pPr>
            <a:r>
              <a:rPr lang="en-US" dirty="0" smtClean="0"/>
              <a:t>Title in </a:t>
            </a:r>
            <a:r>
              <a:rPr lang="en-US" dirty="0" err="1" smtClean="0"/>
              <a:t>CorpoS</a:t>
            </a:r>
            <a:r>
              <a:rPr lang="en-US" dirty="0" smtClean="0"/>
              <a:t> 35 </a:t>
            </a:r>
            <a:r>
              <a:rPr lang="en-US" dirty="0" err="1" smtClean="0"/>
              <a:t>pt</a:t>
            </a:r>
            <a:r>
              <a:rPr lang="en-US" dirty="0" smtClean="0"/>
              <a:t>, white, non-bold</a:t>
            </a:r>
            <a:endParaRPr lang="en-US" sz="2798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628326" y="6251051"/>
            <a:ext cx="10932181" cy="489060"/>
          </a:xfrm>
        </p:spPr>
        <p:txBody>
          <a:bodyPr/>
          <a:lstStyle>
            <a:lvl1pPr>
              <a:defRPr sz="1599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Date in 16 </a:t>
            </a:r>
            <a:r>
              <a:rPr lang="en-US" dirty="0" err="1" smtClean="0"/>
              <a:t>pt</a:t>
            </a:r>
            <a:r>
              <a:rPr lang="en-US" dirty="0" smtClean="0"/>
              <a:t>, black, non-bold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28326" y="2485504"/>
            <a:ext cx="10932181" cy="398371"/>
          </a:xfrm>
        </p:spPr>
        <p:txBody>
          <a:bodyPr/>
          <a:lstStyle>
            <a:lvl1pPr>
              <a:defRPr sz="2399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 smtClean="0"/>
              <a:t>Subtitle in </a:t>
            </a:r>
            <a:r>
              <a:rPr lang="en-US" dirty="0" err="1" smtClean="0"/>
              <a:t>CorposS</a:t>
            </a:r>
            <a:r>
              <a:rPr lang="en-US" dirty="0" smtClean="0"/>
              <a:t> 24 </a:t>
            </a:r>
            <a:r>
              <a:rPr lang="en-US" dirty="0" err="1" smtClean="0"/>
              <a:t>pt</a:t>
            </a:r>
            <a:r>
              <a:rPr lang="en-US" dirty="0" smtClean="0"/>
              <a:t>, white, non-bol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4667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934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10933350" cy="456942"/>
          </a:xfrm>
        </p:spPr>
        <p:txBody>
          <a:bodyPr/>
          <a:lstStyle>
            <a:lvl1pPr>
              <a:defRPr sz="3298">
                <a:solidFill>
                  <a:schemeClr val="tx2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6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5236095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322">
          <p15:clr>
            <a:srgbClr val="FBAE40"/>
          </p15:clr>
        </p15:guide>
      </p15:sldGuideLst>
    </p:ext>
  </p:extLs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958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white">
          <a:xfrm>
            <a:off x="1" y="-1307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9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598">
                <a:solidFill>
                  <a:schemeClr val="tx2"/>
                </a:solidFill>
                <a:latin typeface="+mn-lt"/>
                <a:sym typeface="CorpoS" pitchFamily="2" charset="0"/>
              </a:defRPr>
            </a:lvl1pPr>
            <a:lvl2pPr marL="456743" indent="0" algn="ctr">
              <a:buNone/>
              <a:defRPr sz="1998"/>
            </a:lvl2pPr>
            <a:lvl3pPr marL="913486" indent="0" algn="ctr">
              <a:buNone/>
              <a:defRPr sz="1798"/>
            </a:lvl3pPr>
            <a:lvl4pPr marL="1370229" indent="0" algn="ctr">
              <a:buNone/>
              <a:defRPr sz="1598"/>
            </a:lvl4pPr>
            <a:lvl5pPr marL="1826972" indent="0" algn="ctr">
              <a:buNone/>
              <a:defRPr sz="1598"/>
            </a:lvl5pPr>
            <a:lvl6pPr marL="2283715" indent="0" algn="ctr">
              <a:buNone/>
              <a:defRPr sz="1598"/>
            </a:lvl6pPr>
            <a:lvl7pPr marL="2740457" indent="0" algn="ctr">
              <a:buNone/>
              <a:defRPr sz="1598"/>
            </a:lvl7pPr>
            <a:lvl8pPr marL="3197201" indent="0" algn="ctr">
              <a:buNone/>
              <a:defRPr sz="1598"/>
            </a:lvl8pPr>
            <a:lvl9pPr marL="3653943" indent="0" algn="ctr">
              <a:buNone/>
              <a:defRPr sz="1598"/>
            </a:lvl9pPr>
          </a:lstStyle>
          <a:p>
            <a:r>
              <a:rPr lang="en-US" dirty="0" smtClean="0"/>
              <a:t>Click to add subtitle</a:t>
            </a:r>
            <a:endParaRPr lang="en-US" dirty="0"/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50"/>
            <a:ext cx="3744000" cy="664797"/>
          </a:xfrm>
        </p:spPr>
        <p:txBody>
          <a:bodyPr anchor="t">
            <a:noAutofit/>
          </a:bodyPr>
          <a:lstStyle>
            <a:lvl1pPr>
              <a:defRPr sz="3298">
                <a:solidFill>
                  <a:schemeClr val="tx2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2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965257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2">
          <p15:clr>
            <a:srgbClr val="FBAE40"/>
          </p15:clr>
        </p15:guide>
        <p15:guide id="2" pos="3844">
          <p15:clr>
            <a:srgbClr val="FBAE40"/>
          </p15:clr>
        </p15:guide>
      </p15:sldGuideLst>
    </p:ext>
  </p:extLs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982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3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3486" rtl="0" eaLnBrk="1" fontAlgn="auto" latinLnBrk="0" hangingPunct="1">
              <a:lnSpc>
                <a:spcPts val="5994"/>
              </a:lnSpc>
              <a:spcBef>
                <a:spcPts val="0"/>
              </a:spcBef>
              <a:spcAft>
                <a:spcPts val="0"/>
              </a:spcAft>
              <a:defRPr lang="en-US" sz="5394" kern="1200" baseline="0" dirty="0">
                <a:solidFill>
                  <a:schemeClr val="tx2"/>
                </a:solidFill>
                <a:latin typeface="+mj-lt"/>
                <a:ea typeface="+mn-ea"/>
                <a:cs typeface="+mj-cs"/>
                <a:sym typeface="CorpoS" pitchFamily="2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5" y="1424083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13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0782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. Brushing/ image 2 column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Regieanweisungen"/>
          <p:cNvGrpSpPr/>
          <p:nvPr/>
        </p:nvGrpSpPr>
        <p:grpSpPr>
          <a:xfrm>
            <a:off x="-2086913" y="-467892"/>
            <a:ext cx="13647691" cy="7792196"/>
            <a:chOff x="-2088000" y="-468000"/>
            <a:chExt cx="13654799" cy="7794000"/>
          </a:xfrm>
        </p:grpSpPr>
        <p:sp>
          <p:nvSpPr>
            <p:cNvPr id="20" name="Hilfslinien"/>
            <p:cNvSpPr txBox="1"/>
            <p:nvPr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99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how guides via menu bar: View // Show // tick Guides</a:t>
              </a:r>
            </a:p>
          </p:txBody>
        </p:sp>
        <p:sp>
          <p:nvSpPr>
            <p:cNvPr id="21" name="Fußzeile"/>
            <p:cNvSpPr txBox="1"/>
            <p:nvPr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1042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099" b="0" baseline="0" dirty="0" smtClean="0">
                  <a:solidFill>
                    <a:schemeClr val="accent5"/>
                  </a:solidFill>
                  <a:latin typeface="+mn-lt"/>
                </a:rPr>
                <a:t>Adjust footer (per slide or for several/all slides) via menu bar: Insert // Text // Header &amp; Footer</a:t>
              </a:r>
            </a:p>
          </p:txBody>
        </p:sp>
        <p:grpSp>
          <p:nvGrpSpPr>
            <p:cNvPr id="22" name="Hinweise links"/>
            <p:cNvGrpSpPr/>
            <p:nvPr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23" name="Folie Wechsel/Zurücksetzen/Textebenen"/>
              <p:cNvSpPr txBox="1"/>
              <p:nvPr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Reset the slide back to its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original form 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Slides // Rese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099" b="0" baseline="0" noProof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Change the slide layout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Slides // Layou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099" b="0" baseline="0" noProof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Change the text level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via menu bar: </a:t>
                </a:r>
                <a:b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</a:b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Paragraph // Increase/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Decrease List Level</a:t>
                </a:r>
              </a:p>
            </p:txBody>
          </p:sp>
          <p:grpSp>
            <p:nvGrpSpPr>
              <p:cNvPr id="24" name="Listenebenen"/>
              <p:cNvGrpSpPr/>
              <p:nvPr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25" name="Text // Listenebene erhöhen"/>
                <p:cNvSpPr txBox="1"/>
                <p:nvPr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38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999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Increase</a:t>
                  </a:r>
                </a:p>
                <a:p>
                  <a:pPr marL="0" marR="0" lvl="0" indent="0" algn="r" defTabSz="9138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999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sp>
              <p:nvSpPr>
                <p:cNvPr id="37" name="Text // Listenebene verringern"/>
                <p:cNvSpPr txBox="1"/>
                <p:nvPr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38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999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Decrease </a:t>
                  </a:r>
                </a:p>
                <a:p>
                  <a:pPr marL="0" marR="0" lvl="0" indent="0" algn="r" defTabSz="9138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999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pic>
              <p:nvPicPr>
                <p:cNvPr id="38" name="Listenebene erhöhen"/>
                <p:cNvPicPr>
                  <a:picLocks noChangeAspect="1"/>
                </p:cNvPicPr>
                <p:nvPr/>
              </p:nvPicPr>
              <p:blipFill>
                <a:blip r:embed="rId2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39" name="Listenebene verringern"/>
                <p:cNvPicPr>
                  <a:picLocks noChangeAspect="1"/>
                </p:cNvPicPr>
                <p:nvPr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pic>
        <p:nvPicPr>
          <p:cNvPr id="3" name="Buerstung U_M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white">
          <a:xfrm>
            <a:off x="0" y="0"/>
            <a:ext cx="12190451" cy="6487838"/>
          </a:xfrm>
          <a:prstGeom prst="rect">
            <a:avLst/>
          </a:prstGeom>
        </p:spPr>
      </p:pic>
      <p:sp>
        <p:nvSpPr>
          <p:cNvPr id="26" name="Daimler AG (Wortmarke)"/>
          <p:cNvSpPr>
            <a:spLocks noChangeArrowheads="1"/>
          </p:cNvSpPr>
          <p:nvPr/>
        </p:nvSpPr>
        <p:spPr bwMode="auto">
          <a:xfrm>
            <a:off x="629672" y="6564880"/>
            <a:ext cx="2086913" cy="2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r>
              <a:rPr lang="en-GB" sz="1199" dirty="0" smtClean="0">
                <a:latin typeface="+mn-lt"/>
                <a:cs typeface="Daimler CS"/>
              </a:rPr>
              <a:t>Daimler AG</a:t>
            </a:r>
            <a:endParaRPr lang="en-GB" sz="1199" dirty="0">
              <a:latin typeface="+mn-lt"/>
              <a:cs typeface="Daimler CS"/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1"/>
            <a:ext cx="4944075" cy="4530469"/>
          </a:xfrm>
          <a:custGeom>
            <a:avLst/>
            <a:gdLst>
              <a:gd name="connsiteX0" fmla="*/ 0 w 4946650"/>
              <a:gd name="connsiteY0" fmla="*/ 0 h 4531518"/>
              <a:gd name="connsiteX1" fmla="*/ 4946650 w 4946650"/>
              <a:gd name="connsiteY1" fmla="*/ 0 h 4531518"/>
              <a:gd name="connsiteX2" fmla="*/ 4946650 w 4946650"/>
              <a:gd name="connsiteY2" fmla="*/ 4531518 h 4531518"/>
              <a:gd name="connsiteX3" fmla="*/ 0 w 4946650"/>
              <a:gd name="connsiteY3" fmla="*/ 4531518 h 4531518"/>
              <a:gd name="connsiteX4" fmla="*/ 0 w 4946650"/>
              <a:gd name="connsiteY4" fmla="*/ 0 h 4531518"/>
              <a:gd name="connsiteX0" fmla="*/ 0 w 4946650"/>
              <a:gd name="connsiteY0" fmla="*/ 0 h 4531518"/>
              <a:gd name="connsiteX1" fmla="*/ 4946650 w 4946650"/>
              <a:gd name="connsiteY1" fmla="*/ 0 h 4531518"/>
              <a:gd name="connsiteX2" fmla="*/ 4945856 w 4946650"/>
              <a:gd name="connsiteY2" fmla="*/ 4093368 h 4531518"/>
              <a:gd name="connsiteX3" fmla="*/ 4946650 w 4946650"/>
              <a:gd name="connsiteY3" fmla="*/ 4531518 h 4531518"/>
              <a:gd name="connsiteX4" fmla="*/ 0 w 4946650"/>
              <a:gd name="connsiteY4" fmla="*/ 4531518 h 4531518"/>
              <a:gd name="connsiteX5" fmla="*/ 0 w 4946650"/>
              <a:gd name="connsiteY5" fmla="*/ 0 h 4531518"/>
              <a:gd name="connsiteX0" fmla="*/ 0 w 4946650"/>
              <a:gd name="connsiteY0" fmla="*/ 0 h 4891941"/>
              <a:gd name="connsiteX1" fmla="*/ 4946650 w 4946650"/>
              <a:gd name="connsiteY1" fmla="*/ 0 h 4891941"/>
              <a:gd name="connsiteX2" fmla="*/ 4945856 w 4946650"/>
              <a:gd name="connsiteY2" fmla="*/ 4093368 h 4891941"/>
              <a:gd name="connsiteX3" fmla="*/ 0 w 4946650"/>
              <a:gd name="connsiteY3" fmla="*/ 4531518 h 4891941"/>
              <a:gd name="connsiteX4" fmla="*/ 0 w 4946650"/>
              <a:gd name="connsiteY4" fmla="*/ 0 h 4891941"/>
              <a:gd name="connsiteX0" fmla="*/ 0 w 4946650"/>
              <a:gd name="connsiteY0" fmla="*/ 0 h 4531518"/>
              <a:gd name="connsiteX1" fmla="*/ 4946650 w 4946650"/>
              <a:gd name="connsiteY1" fmla="*/ 0 h 4531518"/>
              <a:gd name="connsiteX2" fmla="*/ 4945856 w 4946650"/>
              <a:gd name="connsiteY2" fmla="*/ 4093368 h 4531518"/>
              <a:gd name="connsiteX3" fmla="*/ 0 w 4946650"/>
              <a:gd name="connsiteY3" fmla="*/ 4531518 h 4531518"/>
              <a:gd name="connsiteX4" fmla="*/ 0 w 4946650"/>
              <a:gd name="connsiteY4" fmla="*/ 0 h 45315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46650" h="4531518">
                <a:moveTo>
                  <a:pt x="0" y="0"/>
                </a:moveTo>
                <a:lnTo>
                  <a:pt x="4946650" y="0"/>
                </a:lnTo>
                <a:cubicBezTo>
                  <a:pt x="4946385" y="1364456"/>
                  <a:pt x="4946121" y="2728912"/>
                  <a:pt x="4945856" y="4093368"/>
                </a:cubicBezTo>
                <a:lnTo>
                  <a:pt x="0" y="4531518"/>
                </a:lnTo>
                <a:lnTo>
                  <a:pt x="0" y="0"/>
                </a:lnTo>
                <a:close/>
              </a:path>
            </a:pathLst>
          </a:cu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178478-C14F-4056-BC7B-D4A0322B8D6E}" type="slidenum">
              <a:rPr lang="en-US" smtClean="0"/>
              <a:t>‹#›</a:t>
            </a:fld>
            <a:endParaRPr lang="en-US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5017063" y="0"/>
            <a:ext cx="7175731" cy="4085054"/>
          </a:xfrm>
          <a:custGeom>
            <a:avLst/>
            <a:gdLst>
              <a:gd name="connsiteX0" fmla="*/ 0 w 7178674"/>
              <a:gd name="connsiteY0" fmla="*/ 0 h 4086000"/>
              <a:gd name="connsiteX1" fmla="*/ 7178674 w 7178674"/>
              <a:gd name="connsiteY1" fmla="*/ 0 h 4086000"/>
              <a:gd name="connsiteX2" fmla="*/ 7178674 w 7178674"/>
              <a:gd name="connsiteY2" fmla="*/ 4086000 h 4086000"/>
              <a:gd name="connsiteX3" fmla="*/ 0 w 7178674"/>
              <a:gd name="connsiteY3" fmla="*/ 4086000 h 4086000"/>
              <a:gd name="connsiteX4" fmla="*/ 0 w 7178674"/>
              <a:gd name="connsiteY4" fmla="*/ 0 h 4086000"/>
              <a:gd name="connsiteX0" fmla="*/ 0 w 7179468"/>
              <a:gd name="connsiteY0" fmla="*/ 0 h 4086000"/>
              <a:gd name="connsiteX1" fmla="*/ 7178674 w 7179468"/>
              <a:gd name="connsiteY1" fmla="*/ 0 h 4086000"/>
              <a:gd name="connsiteX2" fmla="*/ 7179468 w 7179468"/>
              <a:gd name="connsiteY2" fmla="*/ 3455194 h 4086000"/>
              <a:gd name="connsiteX3" fmla="*/ 7178674 w 7179468"/>
              <a:gd name="connsiteY3" fmla="*/ 4086000 h 4086000"/>
              <a:gd name="connsiteX4" fmla="*/ 0 w 7179468"/>
              <a:gd name="connsiteY4" fmla="*/ 4086000 h 4086000"/>
              <a:gd name="connsiteX5" fmla="*/ 0 w 7179468"/>
              <a:gd name="connsiteY5" fmla="*/ 0 h 4086000"/>
              <a:gd name="connsiteX0" fmla="*/ 0 w 7179468"/>
              <a:gd name="connsiteY0" fmla="*/ 0 h 4332411"/>
              <a:gd name="connsiteX1" fmla="*/ 7178674 w 7179468"/>
              <a:gd name="connsiteY1" fmla="*/ 0 h 4332411"/>
              <a:gd name="connsiteX2" fmla="*/ 7179468 w 7179468"/>
              <a:gd name="connsiteY2" fmla="*/ 3455194 h 4332411"/>
              <a:gd name="connsiteX3" fmla="*/ 0 w 7179468"/>
              <a:gd name="connsiteY3" fmla="*/ 4086000 h 4332411"/>
              <a:gd name="connsiteX4" fmla="*/ 0 w 7179468"/>
              <a:gd name="connsiteY4" fmla="*/ 0 h 4332411"/>
              <a:gd name="connsiteX0" fmla="*/ 0 w 7179468"/>
              <a:gd name="connsiteY0" fmla="*/ 0 h 4086000"/>
              <a:gd name="connsiteX1" fmla="*/ 7178674 w 7179468"/>
              <a:gd name="connsiteY1" fmla="*/ 0 h 4086000"/>
              <a:gd name="connsiteX2" fmla="*/ 7179468 w 7179468"/>
              <a:gd name="connsiteY2" fmla="*/ 3455194 h 4086000"/>
              <a:gd name="connsiteX3" fmla="*/ 0 w 7179468"/>
              <a:gd name="connsiteY3" fmla="*/ 4086000 h 4086000"/>
              <a:gd name="connsiteX4" fmla="*/ 0 w 7179468"/>
              <a:gd name="connsiteY4" fmla="*/ 0 h 408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179468" h="4086000">
                <a:moveTo>
                  <a:pt x="0" y="0"/>
                </a:moveTo>
                <a:lnTo>
                  <a:pt x="7178674" y="0"/>
                </a:lnTo>
                <a:cubicBezTo>
                  <a:pt x="7178939" y="1151731"/>
                  <a:pt x="7179203" y="2303463"/>
                  <a:pt x="7179468" y="3455194"/>
                </a:cubicBezTo>
                <a:lnTo>
                  <a:pt x="0" y="4086000"/>
                </a:lnTo>
                <a:lnTo>
                  <a:pt x="0" y="0"/>
                </a:lnTo>
                <a:close/>
              </a:path>
            </a:pathLst>
          </a:cu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630116" y="4745527"/>
            <a:ext cx="10930388" cy="163474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 smtClean="0"/>
              <a:t>Insert text in </a:t>
            </a:r>
            <a:r>
              <a:rPr lang="en-GB" noProof="0" dirty="0" smtClean="0"/>
              <a:t>CorpoS (Body) 24 pt. (Mark-ups in Bold) </a:t>
            </a:r>
            <a:r>
              <a:rPr lang="en-GB" dirty="0" smtClean="0"/>
              <a:t>// for Body text: Home // Paragraph// Increase List Level</a:t>
            </a:r>
          </a:p>
          <a:p>
            <a:pPr lvl="1"/>
            <a:r>
              <a:rPr lang="en-GB" dirty="0" smtClean="0"/>
              <a:t>Second level (Body text)</a:t>
            </a:r>
          </a:p>
        </p:txBody>
      </p:sp>
    </p:spTree>
    <p:extLst>
      <p:ext uri="{BB962C8B-B14F-4D97-AF65-F5344CB8AC3E}">
        <p14:creationId xmlns:p14="http://schemas.microsoft.com/office/powerpoint/2010/main" val="29820867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116">
          <p15:clr>
            <a:srgbClr val="FBAE40"/>
          </p15:clr>
        </p15:guide>
        <p15:guide id="2" pos="3162">
          <p15:clr>
            <a:srgbClr val="FBAE40"/>
          </p15:clr>
        </p15:guide>
        <p15:guide id="3" orient="horz" pos="2990">
          <p15:clr>
            <a:srgbClr val="FBAE40"/>
          </p15:clr>
        </p15:guide>
        <p15:guide id="4" orient="horz" pos="4020">
          <p15:clr>
            <a:srgbClr val="FBAE40"/>
          </p15:clr>
        </p15:guide>
      </p15:sldGuideLst>
    </p:ext>
  </p:extLs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006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2"/>
            <a:ext cx="10936800" cy="2041200"/>
          </a:xfrm>
        </p:spPr>
        <p:txBody>
          <a:bodyPr anchor="t">
            <a:noAutofit/>
          </a:bodyPr>
          <a:lstStyle>
            <a:lvl1pPr>
              <a:defRPr sz="5394">
                <a:solidFill>
                  <a:schemeClr val="tx2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2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9285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030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6" y="0"/>
            <a:ext cx="416951" cy="6858000"/>
          </a:xfrm>
          <a:prstGeom prst="rect">
            <a:avLst/>
          </a:prstGeom>
        </p:spPr>
      </p:pic>
      <p:sp>
        <p:nvSpPr>
          <p:cNvPr id="24" name="Rectangle 23"/>
          <p:cNvSpPr/>
          <p:nvPr userDrawn="1"/>
        </p:nvSpPr>
        <p:spPr bwMode="white">
          <a:xfrm>
            <a:off x="2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2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98">
                <a:solidFill>
                  <a:schemeClr val="tx2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26" name="TextBox 25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  <p:sp>
        <p:nvSpPr>
          <p:cNvPr id="13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srgbClr val="FFFFFF"/>
                </a:solidFill>
              </a:rPr>
              <a:t>2018-10-05_FORCE OpCo_No3_v03.pptx</a:t>
            </a:r>
            <a:endParaRPr lang="en-US" sz="1199" dirty="0">
              <a:solidFill>
                <a:srgbClr val="FFFFFF"/>
              </a:solidFill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801657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054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8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2" y="622802"/>
            <a:ext cx="6276529" cy="456942"/>
          </a:xfrm>
          <a:prstGeom prst="rect">
            <a:avLst/>
          </a:prstGeom>
        </p:spPr>
        <p:txBody>
          <a:bodyPr/>
          <a:lstStyle>
            <a:lvl1pPr>
              <a:defRPr sz="3298">
                <a:solidFill>
                  <a:schemeClr val="tx2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  <p:sp>
        <p:nvSpPr>
          <p:cNvPr id="18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srgbClr val="FFFFFF"/>
                </a:solidFill>
              </a:rPr>
              <a:t>2018-10-05_FORCE OpCo_No3_v03.pptx</a:t>
            </a:r>
            <a:endParaRPr lang="en-US" sz="1199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0781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78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8101584" cy="456942"/>
          </a:xfrm>
          <a:prstGeom prst="rect">
            <a:avLst/>
          </a:prstGeom>
        </p:spPr>
        <p:txBody>
          <a:bodyPr/>
          <a:lstStyle>
            <a:lvl1pPr>
              <a:defRPr sz="3298">
                <a:solidFill>
                  <a:schemeClr val="tx2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97859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102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70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2" y="2681103"/>
            <a:ext cx="1659160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98">
                <a:solidFill>
                  <a:schemeClr val="bg1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3037709" y="-1307"/>
            <a:ext cx="9154293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000000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000000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000000"/>
              </a:solidFill>
            </a:endParaRPr>
          </a:p>
        </p:txBody>
      </p:sp>
      <p:sp>
        <p:nvSpPr>
          <p:cNvPr id="17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  <p:sp>
        <p:nvSpPr>
          <p:cNvPr id="13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586108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126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4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798" baseline="0">
                <a:latin typeface="CorpoS" pitchFamily="2" charset="0"/>
                <a:sym typeface="CorpoS" pitchFamily="2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2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3298">
                <a:solidFill>
                  <a:schemeClr val="bg1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23" name="TextBox 22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000000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000000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000000"/>
              </a:solidFill>
            </a:endParaRPr>
          </a:p>
        </p:txBody>
      </p:sp>
      <p:sp>
        <p:nvSpPr>
          <p:cNvPr id="14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7653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150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51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598">
                <a:solidFill>
                  <a:schemeClr val="tx1"/>
                </a:solidFill>
                <a:latin typeface="CorpoS" pitchFamily="2" charset="0"/>
                <a:sym typeface="CorpoS" pitchFamily="2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2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98">
                <a:solidFill>
                  <a:schemeClr val="bg1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22" name="TextBox 21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000000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000000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6837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174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8020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reeform 14"/>
          <p:cNvSpPr/>
          <p:nvPr userDrawn="1"/>
        </p:nvSpPr>
        <p:spPr bwMode="ltGray">
          <a:xfrm>
            <a:off x="1526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1" y="2764205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98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title</a:t>
            </a:r>
            <a:endParaRPr lang="en-US"/>
          </a:p>
        </p:txBody>
      </p:sp>
      <p:sp>
        <p:nvSpPr>
          <p:cNvPr id="21" name="TextBox 20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  <p:sp>
        <p:nvSpPr>
          <p:cNvPr id="13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srgbClr val="FFFFFF"/>
                </a:solidFill>
              </a:rPr>
              <a:t>2018-10-05_FORCE OpCo_No3_v03.pptx</a:t>
            </a:r>
            <a:endParaRPr lang="en-US" sz="1199" dirty="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0881351" y="6506837"/>
            <a:ext cx="64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endParaRPr lang="en-US" sz="1199" dirty="0" smtClean="0">
              <a:solidFill>
                <a:srgbClr val="FFFFFF"/>
              </a:solidFill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9284827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198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6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5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98">
                <a:solidFill>
                  <a:srgbClr val="FFFFFF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41310" y="3402830"/>
            <a:ext cx="2694666" cy="3461745"/>
          </a:xfrm>
          <a:prstGeom prst="rect">
            <a:avLst/>
          </a:prstGeom>
        </p:spPr>
      </p:pic>
      <p:sp>
        <p:nvSpPr>
          <p:cNvPr id="21" name="TextBox 20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000000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000000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000000"/>
              </a:solidFill>
            </a:endParaRPr>
          </a:p>
        </p:txBody>
      </p:sp>
      <p:sp>
        <p:nvSpPr>
          <p:cNvPr id="15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  <p:sp>
        <p:nvSpPr>
          <p:cNvPr id="14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850295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222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41" y="3588020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reeform 18"/>
          <p:cNvSpPr/>
          <p:nvPr userDrawn="1"/>
        </p:nvSpPr>
        <p:spPr bwMode="white">
          <a:xfrm>
            <a:off x="2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6476627" cy="456942"/>
          </a:xfrm>
          <a:prstGeom prst="rect">
            <a:avLst/>
          </a:prstGeom>
        </p:spPr>
        <p:txBody>
          <a:bodyPr/>
          <a:lstStyle>
            <a:lvl1pPr>
              <a:defRPr sz="3298">
                <a:solidFill>
                  <a:schemeClr val="tx2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  <p:sp>
        <p:nvSpPr>
          <p:cNvPr id="13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srgbClr val="FFFFFF"/>
                </a:solidFill>
              </a:rPr>
              <a:t>2018-10-05_FORCE OpCo_No3_v03.pptx</a:t>
            </a:r>
            <a:endParaRPr lang="en-US" sz="1199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1263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. Brushing/ image 3 column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Regieanweisungen"/>
          <p:cNvGrpSpPr/>
          <p:nvPr/>
        </p:nvGrpSpPr>
        <p:grpSpPr>
          <a:xfrm>
            <a:off x="-2086913" y="-467892"/>
            <a:ext cx="13647691" cy="7792196"/>
            <a:chOff x="-2088000" y="-468000"/>
            <a:chExt cx="13654799" cy="7794000"/>
          </a:xfrm>
        </p:grpSpPr>
        <p:sp>
          <p:nvSpPr>
            <p:cNvPr id="21" name="Hilfslinien"/>
            <p:cNvSpPr txBox="1"/>
            <p:nvPr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99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how guides via menu bar: View // Show // tick Guides</a:t>
              </a:r>
            </a:p>
          </p:txBody>
        </p:sp>
        <p:sp>
          <p:nvSpPr>
            <p:cNvPr id="22" name="Fußzeile"/>
            <p:cNvSpPr txBox="1"/>
            <p:nvPr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1042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099" b="0" baseline="0" dirty="0" smtClean="0">
                  <a:solidFill>
                    <a:schemeClr val="accent5"/>
                  </a:solidFill>
                  <a:latin typeface="+mn-lt"/>
                </a:rPr>
                <a:t>Adjust footer (per slide or for several/all slides) via menu bar: Insert // Text // Header &amp; Footer</a:t>
              </a:r>
            </a:p>
          </p:txBody>
        </p:sp>
        <p:grpSp>
          <p:nvGrpSpPr>
            <p:cNvPr id="23" name="Hinweise links"/>
            <p:cNvGrpSpPr/>
            <p:nvPr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24" name="Folie Wechsel/Zurücksetzen/Textebenen"/>
              <p:cNvSpPr txBox="1"/>
              <p:nvPr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Reset the slide back to its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original form 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Slides // Rese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099" b="0" baseline="0" noProof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Change the slide layout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Slides // Layou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099" b="0" baseline="0" noProof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Change the text level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via menu bar: </a:t>
                </a:r>
                <a:b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</a:b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Paragraph // Increase/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Decrease List Level</a:t>
                </a:r>
              </a:p>
            </p:txBody>
          </p:sp>
          <p:grpSp>
            <p:nvGrpSpPr>
              <p:cNvPr id="36" name="Listenebenen"/>
              <p:cNvGrpSpPr/>
              <p:nvPr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37" name="Text // Listenebene erhöhen"/>
                <p:cNvSpPr txBox="1"/>
                <p:nvPr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38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999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Increase</a:t>
                  </a:r>
                </a:p>
                <a:p>
                  <a:pPr marL="0" marR="0" lvl="0" indent="0" algn="r" defTabSz="9138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999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sp>
              <p:nvSpPr>
                <p:cNvPr id="38" name="Text // Listenebene verringern"/>
                <p:cNvSpPr txBox="1"/>
                <p:nvPr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38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999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Decrease </a:t>
                  </a:r>
                </a:p>
                <a:p>
                  <a:pPr marL="0" marR="0" lvl="0" indent="0" algn="r" defTabSz="9138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999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pic>
              <p:nvPicPr>
                <p:cNvPr id="39" name="Listenebene erhöhen"/>
                <p:cNvPicPr>
                  <a:picLocks noChangeAspect="1"/>
                </p:cNvPicPr>
                <p:nvPr/>
              </p:nvPicPr>
              <p:blipFill>
                <a:blip r:embed="rId2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40" name="Listenebene verringern"/>
                <p:cNvPicPr>
                  <a:picLocks noChangeAspect="1"/>
                </p:cNvPicPr>
                <p:nvPr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pic>
        <p:nvPicPr>
          <p:cNvPr id="2" name="Buerstung U_L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white">
          <a:xfrm>
            <a:off x="0" y="0"/>
            <a:ext cx="12190451" cy="6487838"/>
          </a:xfrm>
          <a:prstGeom prst="rect">
            <a:avLst/>
          </a:prstGeom>
        </p:spPr>
      </p:pic>
      <p:sp>
        <p:nvSpPr>
          <p:cNvPr id="25" name="Daimler AG (Wortmarke)"/>
          <p:cNvSpPr>
            <a:spLocks noChangeArrowheads="1"/>
          </p:cNvSpPr>
          <p:nvPr/>
        </p:nvSpPr>
        <p:spPr bwMode="auto">
          <a:xfrm>
            <a:off x="629672" y="6564880"/>
            <a:ext cx="2086913" cy="2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r>
              <a:rPr lang="en-GB" sz="1199" dirty="0" smtClean="0">
                <a:latin typeface="+mn-lt"/>
                <a:cs typeface="Daimler CS"/>
              </a:rPr>
              <a:t>Daimler AG</a:t>
            </a:r>
            <a:endParaRPr lang="en-GB" sz="1199" dirty="0">
              <a:latin typeface="+mn-lt"/>
              <a:cs typeface="Daimler CS"/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-1"/>
            <a:ext cx="4598180" cy="3373450"/>
          </a:xfrm>
          <a:custGeom>
            <a:avLst/>
            <a:gdLst>
              <a:gd name="connsiteX0" fmla="*/ 0 w 4600575"/>
              <a:gd name="connsiteY0" fmla="*/ 0 h 3374231"/>
              <a:gd name="connsiteX1" fmla="*/ 4600575 w 4600575"/>
              <a:gd name="connsiteY1" fmla="*/ 0 h 3374231"/>
              <a:gd name="connsiteX2" fmla="*/ 4600575 w 4600575"/>
              <a:gd name="connsiteY2" fmla="*/ 3374231 h 3374231"/>
              <a:gd name="connsiteX3" fmla="*/ 0 w 4600575"/>
              <a:gd name="connsiteY3" fmla="*/ 3374231 h 3374231"/>
              <a:gd name="connsiteX4" fmla="*/ 0 w 4600575"/>
              <a:gd name="connsiteY4" fmla="*/ 0 h 3374231"/>
              <a:gd name="connsiteX0" fmla="*/ 0 w 4600575"/>
              <a:gd name="connsiteY0" fmla="*/ 0 h 3374231"/>
              <a:gd name="connsiteX1" fmla="*/ 4600575 w 4600575"/>
              <a:gd name="connsiteY1" fmla="*/ 0 h 3374231"/>
              <a:gd name="connsiteX2" fmla="*/ 4598194 w 4600575"/>
              <a:gd name="connsiteY2" fmla="*/ 2967039 h 3374231"/>
              <a:gd name="connsiteX3" fmla="*/ 4600575 w 4600575"/>
              <a:gd name="connsiteY3" fmla="*/ 3374231 h 3374231"/>
              <a:gd name="connsiteX4" fmla="*/ 0 w 4600575"/>
              <a:gd name="connsiteY4" fmla="*/ 3374231 h 3374231"/>
              <a:gd name="connsiteX5" fmla="*/ 0 w 4600575"/>
              <a:gd name="connsiteY5" fmla="*/ 0 h 3374231"/>
              <a:gd name="connsiteX0" fmla="*/ 0 w 4600575"/>
              <a:gd name="connsiteY0" fmla="*/ 0 h 3613464"/>
              <a:gd name="connsiteX1" fmla="*/ 4600575 w 4600575"/>
              <a:gd name="connsiteY1" fmla="*/ 0 h 3613464"/>
              <a:gd name="connsiteX2" fmla="*/ 4598194 w 4600575"/>
              <a:gd name="connsiteY2" fmla="*/ 2967039 h 3613464"/>
              <a:gd name="connsiteX3" fmla="*/ 0 w 4600575"/>
              <a:gd name="connsiteY3" fmla="*/ 3374231 h 3613464"/>
              <a:gd name="connsiteX4" fmla="*/ 0 w 4600575"/>
              <a:gd name="connsiteY4" fmla="*/ 0 h 3613464"/>
              <a:gd name="connsiteX0" fmla="*/ 0 w 4600575"/>
              <a:gd name="connsiteY0" fmla="*/ 0 h 3374231"/>
              <a:gd name="connsiteX1" fmla="*/ 4600575 w 4600575"/>
              <a:gd name="connsiteY1" fmla="*/ 0 h 3374231"/>
              <a:gd name="connsiteX2" fmla="*/ 4598194 w 4600575"/>
              <a:gd name="connsiteY2" fmla="*/ 2967039 h 3374231"/>
              <a:gd name="connsiteX3" fmla="*/ 0 w 4600575"/>
              <a:gd name="connsiteY3" fmla="*/ 3374231 h 3374231"/>
              <a:gd name="connsiteX4" fmla="*/ 0 w 4600575"/>
              <a:gd name="connsiteY4" fmla="*/ 0 h 33742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00575" h="3374231">
                <a:moveTo>
                  <a:pt x="0" y="0"/>
                </a:moveTo>
                <a:lnTo>
                  <a:pt x="4600575" y="0"/>
                </a:lnTo>
                <a:cubicBezTo>
                  <a:pt x="4599781" y="989013"/>
                  <a:pt x="4598988" y="1978026"/>
                  <a:pt x="4598194" y="2967039"/>
                </a:cubicBezTo>
                <a:lnTo>
                  <a:pt x="0" y="3374231"/>
                </a:lnTo>
                <a:lnTo>
                  <a:pt x="0" y="0"/>
                </a:lnTo>
                <a:close/>
              </a:path>
            </a:pathLst>
          </a:cu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178478-C14F-4056-BC7B-D4A0322B8D6E}" type="slidenum">
              <a:rPr lang="en-US" smtClean="0"/>
              <a:t>‹#›</a:t>
            </a:fld>
            <a:endParaRPr lang="en-US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4669582" y="0"/>
            <a:ext cx="3308213" cy="2961589"/>
          </a:xfrm>
          <a:custGeom>
            <a:avLst/>
            <a:gdLst>
              <a:gd name="connsiteX0" fmla="*/ 0 w 3309936"/>
              <a:gd name="connsiteY0" fmla="*/ 0 h 2962275"/>
              <a:gd name="connsiteX1" fmla="*/ 3309936 w 3309936"/>
              <a:gd name="connsiteY1" fmla="*/ 0 h 2962275"/>
              <a:gd name="connsiteX2" fmla="*/ 3309936 w 3309936"/>
              <a:gd name="connsiteY2" fmla="*/ 2962275 h 2962275"/>
              <a:gd name="connsiteX3" fmla="*/ 0 w 3309936"/>
              <a:gd name="connsiteY3" fmla="*/ 2962275 h 2962275"/>
              <a:gd name="connsiteX4" fmla="*/ 0 w 3309936"/>
              <a:gd name="connsiteY4" fmla="*/ 0 h 2962275"/>
              <a:gd name="connsiteX0" fmla="*/ 0 w 3309936"/>
              <a:gd name="connsiteY0" fmla="*/ 0 h 2962275"/>
              <a:gd name="connsiteX1" fmla="*/ 3309936 w 3309936"/>
              <a:gd name="connsiteY1" fmla="*/ 0 h 2962275"/>
              <a:gd name="connsiteX2" fmla="*/ 3307555 w 3309936"/>
              <a:gd name="connsiteY2" fmla="*/ 2669382 h 2962275"/>
              <a:gd name="connsiteX3" fmla="*/ 3309936 w 3309936"/>
              <a:gd name="connsiteY3" fmla="*/ 2962275 h 2962275"/>
              <a:gd name="connsiteX4" fmla="*/ 0 w 3309936"/>
              <a:gd name="connsiteY4" fmla="*/ 2962275 h 2962275"/>
              <a:gd name="connsiteX5" fmla="*/ 0 w 3309936"/>
              <a:gd name="connsiteY5" fmla="*/ 0 h 2962275"/>
              <a:gd name="connsiteX0" fmla="*/ 0 w 3309936"/>
              <a:gd name="connsiteY0" fmla="*/ 0 h 3195435"/>
              <a:gd name="connsiteX1" fmla="*/ 3309936 w 3309936"/>
              <a:gd name="connsiteY1" fmla="*/ 0 h 3195435"/>
              <a:gd name="connsiteX2" fmla="*/ 3307555 w 3309936"/>
              <a:gd name="connsiteY2" fmla="*/ 2669382 h 3195435"/>
              <a:gd name="connsiteX3" fmla="*/ 0 w 3309936"/>
              <a:gd name="connsiteY3" fmla="*/ 2962275 h 3195435"/>
              <a:gd name="connsiteX4" fmla="*/ 0 w 3309936"/>
              <a:gd name="connsiteY4" fmla="*/ 0 h 3195435"/>
              <a:gd name="connsiteX0" fmla="*/ 0 w 3309936"/>
              <a:gd name="connsiteY0" fmla="*/ 0 h 2962275"/>
              <a:gd name="connsiteX1" fmla="*/ 3309936 w 3309936"/>
              <a:gd name="connsiteY1" fmla="*/ 0 h 2962275"/>
              <a:gd name="connsiteX2" fmla="*/ 3307555 w 3309936"/>
              <a:gd name="connsiteY2" fmla="*/ 2669382 h 2962275"/>
              <a:gd name="connsiteX3" fmla="*/ 0 w 3309936"/>
              <a:gd name="connsiteY3" fmla="*/ 2962275 h 2962275"/>
              <a:gd name="connsiteX4" fmla="*/ 0 w 3309936"/>
              <a:gd name="connsiteY4" fmla="*/ 0 h 2962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09936" h="2962275">
                <a:moveTo>
                  <a:pt x="0" y="0"/>
                </a:moveTo>
                <a:lnTo>
                  <a:pt x="3309936" y="0"/>
                </a:lnTo>
                <a:cubicBezTo>
                  <a:pt x="3309142" y="889794"/>
                  <a:pt x="3308349" y="1779588"/>
                  <a:pt x="3307555" y="2669382"/>
                </a:cubicBezTo>
                <a:lnTo>
                  <a:pt x="0" y="2962275"/>
                </a:lnTo>
                <a:lnTo>
                  <a:pt x="0" y="0"/>
                </a:lnTo>
                <a:close/>
              </a:path>
            </a:pathLst>
          </a:cu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053955" y="0"/>
            <a:ext cx="4136496" cy="2664002"/>
          </a:xfrm>
          <a:custGeom>
            <a:avLst/>
            <a:gdLst>
              <a:gd name="connsiteX0" fmla="*/ 0 w 4138650"/>
              <a:gd name="connsiteY0" fmla="*/ 0 h 2664619"/>
              <a:gd name="connsiteX1" fmla="*/ 4138650 w 4138650"/>
              <a:gd name="connsiteY1" fmla="*/ 0 h 2664619"/>
              <a:gd name="connsiteX2" fmla="*/ 4138650 w 4138650"/>
              <a:gd name="connsiteY2" fmla="*/ 2664619 h 2664619"/>
              <a:gd name="connsiteX3" fmla="*/ 0 w 4138650"/>
              <a:gd name="connsiteY3" fmla="*/ 2664619 h 2664619"/>
              <a:gd name="connsiteX4" fmla="*/ 0 w 4138650"/>
              <a:gd name="connsiteY4" fmla="*/ 0 h 2664619"/>
              <a:gd name="connsiteX0" fmla="*/ 0 w 4138650"/>
              <a:gd name="connsiteY0" fmla="*/ 0 h 2664619"/>
              <a:gd name="connsiteX1" fmla="*/ 4138650 w 4138650"/>
              <a:gd name="connsiteY1" fmla="*/ 0 h 2664619"/>
              <a:gd name="connsiteX2" fmla="*/ 4138613 w 4138650"/>
              <a:gd name="connsiteY2" fmla="*/ 2300289 h 2664619"/>
              <a:gd name="connsiteX3" fmla="*/ 4138650 w 4138650"/>
              <a:gd name="connsiteY3" fmla="*/ 2664619 h 2664619"/>
              <a:gd name="connsiteX4" fmla="*/ 0 w 4138650"/>
              <a:gd name="connsiteY4" fmla="*/ 2664619 h 2664619"/>
              <a:gd name="connsiteX5" fmla="*/ 0 w 4138650"/>
              <a:gd name="connsiteY5" fmla="*/ 0 h 2664619"/>
              <a:gd name="connsiteX0" fmla="*/ 0 w 4138650"/>
              <a:gd name="connsiteY0" fmla="*/ 0 h 2839529"/>
              <a:gd name="connsiteX1" fmla="*/ 4138650 w 4138650"/>
              <a:gd name="connsiteY1" fmla="*/ 0 h 2839529"/>
              <a:gd name="connsiteX2" fmla="*/ 4138613 w 4138650"/>
              <a:gd name="connsiteY2" fmla="*/ 2300289 h 2839529"/>
              <a:gd name="connsiteX3" fmla="*/ 0 w 4138650"/>
              <a:gd name="connsiteY3" fmla="*/ 2664619 h 2839529"/>
              <a:gd name="connsiteX4" fmla="*/ 0 w 4138650"/>
              <a:gd name="connsiteY4" fmla="*/ 0 h 2839529"/>
              <a:gd name="connsiteX0" fmla="*/ 0 w 4138650"/>
              <a:gd name="connsiteY0" fmla="*/ 0 h 2664619"/>
              <a:gd name="connsiteX1" fmla="*/ 4138650 w 4138650"/>
              <a:gd name="connsiteY1" fmla="*/ 0 h 2664619"/>
              <a:gd name="connsiteX2" fmla="*/ 4138613 w 4138650"/>
              <a:gd name="connsiteY2" fmla="*/ 2300289 h 2664619"/>
              <a:gd name="connsiteX3" fmla="*/ 0 w 4138650"/>
              <a:gd name="connsiteY3" fmla="*/ 2664619 h 2664619"/>
              <a:gd name="connsiteX4" fmla="*/ 0 w 4138650"/>
              <a:gd name="connsiteY4" fmla="*/ 0 h 26646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38650" h="2664619">
                <a:moveTo>
                  <a:pt x="0" y="0"/>
                </a:moveTo>
                <a:lnTo>
                  <a:pt x="4138650" y="0"/>
                </a:lnTo>
                <a:cubicBezTo>
                  <a:pt x="4138638" y="766763"/>
                  <a:pt x="4138625" y="1533526"/>
                  <a:pt x="4138613" y="2300289"/>
                </a:cubicBezTo>
                <a:lnTo>
                  <a:pt x="0" y="2664619"/>
                </a:lnTo>
                <a:lnTo>
                  <a:pt x="0" y="0"/>
                </a:lnTo>
                <a:close/>
              </a:path>
            </a:pathLst>
          </a:cu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628323" y="3526609"/>
            <a:ext cx="10932181" cy="285366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baseline="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 smtClean="0"/>
              <a:t>Insert text in </a:t>
            </a:r>
            <a:r>
              <a:rPr lang="en-GB" noProof="0" dirty="0" smtClean="0"/>
              <a:t>CorpoS (Body) 24 pt. (Mark-ups in Bold) </a:t>
            </a:r>
            <a:r>
              <a:rPr lang="en-GB" dirty="0" smtClean="0"/>
              <a:t>// for Body text: Home // Paragraph// Increase List Level</a:t>
            </a:r>
          </a:p>
          <a:p>
            <a:pPr lvl="1"/>
            <a:r>
              <a:rPr lang="en-GB" dirty="0" smtClean="0"/>
              <a:t>Second level (Body text)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</a:p>
          <a:p>
            <a:pPr lvl="5"/>
            <a:r>
              <a:rPr lang="en-GB" dirty="0" smtClean="0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25746258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2" pos="5028">
          <p15:clr>
            <a:srgbClr val="FBAE40"/>
          </p15:clr>
        </p15:guide>
        <p15:guide id="3" pos="5076">
          <p15:clr>
            <a:srgbClr val="FBAE40"/>
          </p15:clr>
        </p15:guide>
        <p15:guide id="4" pos="2943">
          <p15:clr>
            <a:srgbClr val="FBAE40"/>
          </p15:clr>
        </p15:guide>
        <p15:guide id="5" pos="2898">
          <p15:clr>
            <a:srgbClr val="FBAE40"/>
          </p15:clr>
        </p15:guide>
        <p15:guide id="6" orient="horz" pos="2222">
          <p15:clr>
            <a:srgbClr val="FBAE40"/>
          </p15:clr>
        </p15:guide>
        <p15:guide id="7" orient="horz" pos="4020">
          <p15:clr>
            <a:srgbClr val="FBAE40"/>
          </p15:clr>
        </p15:guide>
      </p15:sldGuideLst>
    </p:ext>
  </p:extLs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246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2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6476627" cy="456942"/>
          </a:xfrm>
          <a:prstGeom prst="rect">
            <a:avLst/>
          </a:prstGeom>
        </p:spPr>
        <p:txBody>
          <a:bodyPr/>
          <a:lstStyle>
            <a:lvl1pPr>
              <a:defRPr sz="3298">
                <a:solidFill>
                  <a:srgbClr val="FFFFFF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24772" y="3407805"/>
            <a:ext cx="2694666" cy="3456551"/>
          </a:xfrm>
          <a:prstGeom prst="rect">
            <a:avLst/>
          </a:prstGeom>
        </p:spPr>
      </p:pic>
      <p:sp>
        <p:nvSpPr>
          <p:cNvPr id="25" name="TextBox 24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000000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000000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000000"/>
              </a:solidFill>
            </a:endParaRPr>
          </a:p>
        </p:txBody>
      </p:sp>
      <p:sp>
        <p:nvSpPr>
          <p:cNvPr id="13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10530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270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3486" rtl="0" eaLnBrk="1" fontAlgn="auto" latinLnBrk="0" hangingPunct="1">
              <a:lnSpc>
                <a:spcPts val="5994"/>
              </a:lnSpc>
              <a:spcBef>
                <a:spcPts val="0"/>
              </a:spcBef>
              <a:spcAft>
                <a:spcPts val="0"/>
              </a:spcAft>
              <a:defRPr lang="en-US" sz="5394" kern="1200" baseline="0" dirty="0">
                <a:solidFill>
                  <a:schemeClr val="bg1"/>
                </a:solidFill>
                <a:latin typeface="+mj-lt"/>
                <a:ea typeface="+mn-ea"/>
                <a:cs typeface="+mj-cs"/>
                <a:sym typeface="CorpoS" pitchFamily="2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big statement text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  <p:sp>
        <p:nvSpPr>
          <p:cNvPr id="13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srgbClr val="FFFFFF"/>
                </a:solidFill>
              </a:rPr>
              <a:t>2018-10-05_FORCE OpCo_No3_v03.pptx</a:t>
            </a:r>
            <a:endParaRPr lang="en-US" sz="1199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392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294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3486" rtl="0" eaLnBrk="1" fontAlgn="auto" latinLnBrk="0" hangingPunct="1">
              <a:lnSpc>
                <a:spcPts val="5994"/>
              </a:lnSpc>
              <a:spcBef>
                <a:spcPts val="0"/>
              </a:spcBef>
              <a:spcAft>
                <a:spcPts val="0"/>
              </a:spcAft>
              <a:defRPr lang="en-US" sz="5394" kern="1200" baseline="0" dirty="0">
                <a:solidFill>
                  <a:schemeClr val="accent4"/>
                </a:solidFill>
                <a:latin typeface="+mj-lt"/>
                <a:ea typeface="+mn-ea"/>
                <a:cs typeface="+mj-cs"/>
                <a:sym typeface="CorpoS" pitchFamily="2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big statement text</a:t>
            </a:r>
          </a:p>
        </p:txBody>
      </p:sp>
      <p:sp>
        <p:nvSpPr>
          <p:cNvPr id="8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98738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318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3" y="110970"/>
            <a:ext cx="769257" cy="10019821"/>
          </a:xfrm>
          <a:prstGeom prst="rect">
            <a:avLst/>
          </a:pr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344" tIns="45672" rIns="91344" bIns="45672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799" dirty="0">
              <a:solidFill>
                <a:prstClr val="black"/>
              </a:solidFill>
              <a:sym typeface="CorpoS" pitchFamily="2" charset="0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  <p:sp>
        <p:nvSpPr>
          <p:cNvPr id="9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srgbClr val="FFFFFF"/>
                </a:solidFill>
              </a:rPr>
              <a:t>2018-10-05_FORCE OpCo_No3_v03.pptx</a:t>
            </a:r>
            <a:endParaRPr lang="en-US" sz="1199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4127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342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9436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06000"/>
              </a:lnSpc>
              <a:spcAft>
                <a:spcPts val="700"/>
              </a:spcAft>
            </a:pPr>
            <a:r>
              <a:rPr lang="en-US" sz="5394" dirty="0">
                <a:solidFill>
                  <a:srgbClr val="00647F"/>
                </a:solidFill>
                <a:sym typeface="CorpoS" pitchFamily="2" charset="0"/>
              </a:rPr>
              <a:t>Table of Contents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  <p:sp>
        <p:nvSpPr>
          <p:cNvPr id="9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srgbClr val="FFFFFF"/>
                </a:solidFill>
              </a:rPr>
              <a:t>2018-10-05_FORCE OpCo_No3_v03.pptx</a:t>
            </a:r>
            <a:endParaRPr lang="en-US" sz="1199" dirty="0">
              <a:solidFill>
                <a:srgbClr val="FFFFFF"/>
              </a:solidFill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6106548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366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  <p:sp>
        <p:nvSpPr>
          <p:cNvPr id="8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srgbClr val="FFFFFF"/>
                </a:solidFill>
              </a:rPr>
              <a:t>2018-10-05_FORCE OpCo_No3_v03.pptx</a:t>
            </a:r>
            <a:endParaRPr lang="en-US" sz="1199" dirty="0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098226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390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029594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414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  <p:sp>
        <p:nvSpPr>
          <p:cNvPr id="8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5244169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E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438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lowchart: Manual Input 7"/>
          <p:cNvSpPr/>
          <p:nvPr userDrawn="1"/>
        </p:nvSpPr>
        <p:spPr>
          <a:xfrm>
            <a:off x="0" y="3610066"/>
            <a:ext cx="12192000" cy="3247934"/>
          </a:xfrm>
          <a:prstGeom prst="flowChartManualInput">
            <a:avLst/>
          </a:prstGeom>
          <a:solidFill>
            <a:srgbClr val="E6E6E6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9E9E9E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99" dirty="0" err="1" smtClean="0">
              <a:solidFill>
                <a:prstClr val="white"/>
              </a:solidFill>
            </a:endParaRPr>
          </a:p>
        </p:txBody>
      </p:sp>
      <p:sp>
        <p:nvSpPr>
          <p:cNvPr id="9" name="Flowchart: Manual Input 8"/>
          <p:cNvSpPr/>
          <p:nvPr userDrawn="1"/>
        </p:nvSpPr>
        <p:spPr>
          <a:xfrm flipH="1" flipV="1">
            <a:off x="0" y="0"/>
            <a:ext cx="12192000" cy="4532850"/>
          </a:xfrm>
          <a:prstGeom prst="flowChartManualInput">
            <a:avLst/>
          </a:prstGeom>
          <a:solidFill>
            <a:srgbClr val="00566D"/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99" dirty="0" err="1" smtClean="0">
              <a:solidFill>
                <a:prstClr val="white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804" t="9756" r="6727" b="4972"/>
          <a:stretch/>
        </p:blipFill>
        <p:spPr>
          <a:xfrm>
            <a:off x="131974" y="3490768"/>
            <a:ext cx="3789529" cy="2442689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956" r="13359"/>
          <a:stretch>
            <a:fillRect/>
          </a:stretch>
        </p:blipFill>
        <p:spPr>
          <a:xfrm>
            <a:off x="9405114" y="3500651"/>
            <a:ext cx="2691445" cy="2418386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8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6741655" y="3672592"/>
            <a:ext cx="2935899" cy="2320471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40885" y="3474457"/>
            <a:ext cx="3570966" cy="2833362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10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04555" y="3766182"/>
            <a:ext cx="2312483" cy="2541637"/>
          </a:xfrm>
          <a:prstGeom prst="rect">
            <a:avLst/>
          </a:prstGeom>
        </p:spPr>
      </p:pic>
      <p:pic>
        <p:nvPicPr>
          <p:cNvPr id="17" name="Wortmarke DAIMLER" descr="Daimler_RGB_100mm.png"/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1254" y="791617"/>
            <a:ext cx="3417231" cy="462594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4648" y="613010"/>
            <a:ext cx="786654" cy="786882"/>
          </a:xfrm>
          <a:prstGeom prst="rect">
            <a:avLst/>
          </a:prstGeom>
        </p:spPr>
      </p:pic>
      <p:pic>
        <p:nvPicPr>
          <p:cNvPr id="20" name="Picture 3" descr="C:\Users\rajarrv\AppData\Local\Microsoft\Windows\Temporary Internet Files\Content.Outlook\3CY2KM7L\B-No Background FORCE LOGO.png"/>
          <p:cNvPicPr>
            <a:picLocks noChangeAspect="1" noChangeArrowheads="1"/>
          </p:cNvPicPr>
          <p:nvPr userDrawn="1"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419611" y="692628"/>
            <a:ext cx="2166326" cy="6188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58383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462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4" name="Group 143"/>
          <p:cNvGrpSpPr/>
          <p:nvPr userDrawn="1"/>
        </p:nvGrpSpPr>
        <p:grpSpPr>
          <a:xfrm>
            <a:off x="-598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>
                <a:solidFill>
                  <a:prstClr val="black"/>
                </a:solidFill>
                <a:sym typeface="CorpoS" pitchFamily="2" charset="0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486">
                <a:defRPr/>
              </a:pPr>
              <a:endParaRPr lang="en-US" sz="1798" dirty="0">
                <a:solidFill>
                  <a:srgbClr val="575757"/>
                </a:solidFill>
                <a:sym typeface="CorpoS" pitchFamily="2" charset="0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>
                <a:solidFill>
                  <a:prstClr val="black"/>
                </a:solidFill>
                <a:sym typeface="CorpoS" pitchFamily="2" charset="0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>
                <a:solidFill>
                  <a:prstClr val="black"/>
                </a:solidFill>
                <a:sym typeface="CorpoS" pitchFamily="2" charset="0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999"/>
                </a:spcAft>
              </a:pPr>
              <a:endParaRPr lang="en-US" sz="1198" dirty="0">
                <a:solidFill>
                  <a:prstClr val="white"/>
                </a:solidFill>
                <a:sym typeface="CorpoS" pitchFamily="2" charset="0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defTabSz="913486">
                <a:lnSpc>
                  <a:spcPct val="90000"/>
                </a:lnSpc>
                <a:defRPr/>
              </a:pPr>
              <a:r>
                <a:rPr lang="en-US" sz="999" dirty="0">
                  <a:solidFill>
                    <a:prstClr val="white">
                      <a:lumMod val="50000"/>
                    </a:prstClr>
                  </a:solidFill>
                  <a:sym typeface="CorpoS" pitchFamily="2" charset="0"/>
                </a:rPr>
                <a:t>1. xxxx  2. xxxx  3. xxxx</a:t>
              </a:r>
            </a:p>
            <a:p>
              <a:pPr defTabSz="913486">
                <a:lnSpc>
                  <a:spcPct val="90000"/>
                </a:lnSpc>
                <a:defRPr/>
              </a:pPr>
              <a:r>
                <a:rPr lang="en-US" sz="999" dirty="0">
                  <a:solidFill>
                    <a:prstClr val="white">
                      <a:lumMod val="50000"/>
                    </a:prstClr>
                  </a:solidFill>
                  <a:sym typeface="CorpoS" pitchFamily="2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 defTabSz="913486">
                <a:lnSpc>
                  <a:spcPct val="90000"/>
                </a:lnSpc>
                <a:defRPr/>
              </a:pPr>
              <a:r>
                <a:rPr lang="en-US" sz="999" dirty="0">
                  <a:solidFill>
                    <a:prstClr val="white">
                      <a:lumMod val="50000"/>
                    </a:prstClr>
                  </a:solidFill>
                  <a:sym typeface="CorpoS" pitchFamily="2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52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30430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Regieanweisungen"/>
          <p:cNvGrpSpPr/>
          <p:nvPr/>
        </p:nvGrpSpPr>
        <p:grpSpPr>
          <a:xfrm>
            <a:off x="-2086913" y="-467892"/>
            <a:ext cx="13647691" cy="7792196"/>
            <a:chOff x="-2088000" y="-468000"/>
            <a:chExt cx="13654799" cy="7794000"/>
          </a:xfrm>
        </p:grpSpPr>
        <p:sp>
          <p:nvSpPr>
            <p:cNvPr id="17" name="Hilfslinien"/>
            <p:cNvSpPr txBox="1"/>
            <p:nvPr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99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how guides via menu bar: View // Show // tick Guides</a:t>
              </a:r>
            </a:p>
          </p:txBody>
        </p:sp>
        <p:sp>
          <p:nvSpPr>
            <p:cNvPr id="18" name="Fußzeile"/>
            <p:cNvSpPr txBox="1"/>
            <p:nvPr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1042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099" b="0" baseline="0" dirty="0" smtClean="0">
                  <a:solidFill>
                    <a:schemeClr val="accent5"/>
                  </a:solidFill>
                  <a:latin typeface="+mn-lt"/>
                </a:rPr>
                <a:t>Adjust footer (per slide or for several/all slides) via menu bar: Insert // Text // Header &amp; Footer</a:t>
              </a:r>
            </a:p>
          </p:txBody>
        </p:sp>
        <p:grpSp>
          <p:nvGrpSpPr>
            <p:cNvPr id="19" name="Hinweise links"/>
            <p:cNvGrpSpPr/>
            <p:nvPr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31" name="Folie Wechsel/Zurücksetzen/Textebenen"/>
              <p:cNvSpPr txBox="1"/>
              <p:nvPr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Reset the slide back to its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original form 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Slides // Rese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099" b="0" baseline="0" noProof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Change the slide layout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Slides // Layou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099" b="0" baseline="0" noProof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Change the text level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via menu bar: </a:t>
                </a:r>
                <a:b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</a:b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Paragraph // Increase/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Decrease List Level</a:t>
                </a:r>
              </a:p>
            </p:txBody>
          </p:sp>
          <p:grpSp>
            <p:nvGrpSpPr>
              <p:cNvPr id="32" name="Listenebenen"/>
              <p:cNvGrpSpPr/>
              <p:nvPr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33" name="Text // Listenebene erhöhen"/>
                <p:cNvSpPr txBox="1"/>
                <p:nvPr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38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999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Increase</a:t>
                  </a:r>
                </a:p>
                <a:p>
                  <a:pPr marL="0" marR="0" lvl="0" indent="0" algn="r" defTabSz="9138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999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sp>
              <p:nvSpPr>
                <p:cNvPr id="34" name="Text // Listenebene verringern"/>
                <p:cNvSpPr txBox="1"/>
                <p:nvPr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38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999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Decrease </a:t>
                  </a:r>
                </a:p>
                <a:p>
                  <a:pPr marL="0" marR="0" lvl="0" indent="0" algn="r" defTabSz="9138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999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pic>
              <p:nvPicPr>
                <p:cNvPr id="35" name="Listenebene erhöhen"/>
                <p:cNvPicPr>
                  <a:picLocks noChangeAspect="1"/>
                </p:cNvPicPr>
                <p:nvPr/>
              </p:nvPicPr>
              <p:blipFill>
                <a:blip r:embed="rId2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36" name="Listenebene verringern"/>
                <p:cNvPicPr>
                  <a:picLocks noChangeAspect="1"/>
                </p:cNvPicPr>
                <p:nvPr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20" name="Daimler AG (Wortmarke)"/>
          <p:cNvSpPr>
            <a:spLocks noChangeArrowheads="1"/>
          </p:cNvSpPr>
          <p:nvPr/>
        </p:nvSpPr>
        <p:spPr bwMode="auto">
          <a:xfrm>
            <a:off x="629672" y="6564880"/>
            <a:ext cx="2086913" cy="2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r>
              <a:rPr lang="en-GB" sz="1199" dirty="0" smtClean="0">
                <a:latin typeface="+mn-lt"/>
                <a:cs typeface="Daimler CS"/>
              </a:rPr>
              <a:t>Daimler AG</a:t>
            </a:r>
            <a:endParaRPr lang="en-GB" sz="1199" dirty="0">
              <a:latin typeface="+mn-lt"/>
              <a:cs typeface="Daimler CS"/>
            </a:endParaRP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178478-C14F-4056-BC7B-D4A0322B8D6E}" type="slidenum">
              <a:rPr lang="en-US" smtClean="0"/>
              <a:t>‹#›</a:t>
            </a:fld>
            <a:endParaRPr lang="en-US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0451" cy="6486611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8411066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/ content/ Headline 2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10933350" cy="664284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Headline in CorpoS (Body) 35 pt.</a:t>
            </a:r>
            <a:br>
              <a:rPr lang="en-GB" noProof="0" dirty="0" smtClean="0"/>
            </a:br>
            <a:r>
              <a:rPr lang="en-GB" noProof="0" dirty="0" smtClean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FORCE “Touch and Feel” for SC Minami Kanto and Koshin / FORCE WS 2.0 /16/10/2018</a:t>
            </a:r>
            <a:endParaRPr lang="en-GB" dirty="0" smtClean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629909" y="1504602"/>
            <a:ext cx="10930594" cy="4983236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noProof="0" dirty="0" smtClean="0"/>
              <a:t>Insert content or text in CorpoS (Body) 24 pt. (Mark-ups in Bold) // for conclusion, summary or short highlight: Home // Paragraph// Increase Li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 (Conclusion, summary or short highlight)</a:t>
            </a:r>
          </a:p>
          <a:p>
            <a:pPr lvl="4"/>
            <a:r>
              <a:rPr lang="en-GB" dirty="0" smtClean="0"/>
              <a:t>Fifth level</a:t>
            </a:r>
          </a:p>
          <a:p>
            <a:pPr lvl="5"/>
            <a:r>
              <a:rPr lang="en-GB" dirty="0" smtClean="0"/>
              <a:t>Sixth level</a:t>
            </a:r>
          </a:p>
          <a:p>
            <a:pPr lvl="6"/>
            <a:r>
              <a:rPr lang="en-GB" dirty="0" smtClean="0"/>
              <a:t>Sevens level</a:t>
            </a:r>
          </a:p>
          <a:p>
            <a:pPr lvl="7"/>
            <a:r>
              <a:rPr lang="en-GB" dirty="0" smtClean="0"/>
              <a:t>Eight level</a:t>
            </a:r>
          </a:p>
          <a:p>
            <a:pPr lvl="8"/>
            <a:r>
              <a:rPr lang="en-GB" dirty="0" smtClean="0"/>
              <a:t>Ninth level</a:t>
            </a: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 smtClean="0"/>
              <a:t> </a:t>
            </a:r>
            <a:fld id="{52531704-8F80-415D-BD2B-6B9991AE822F}" type="slidenum">
              <a:rPr lang="en-GB" smtClean="0"/>
              <a:pPr algn="r"/>
              <a:t>‹#›</a:t>
            </a:fld>
            <a:endParaRPr lang="en-GB" dirty="0"/>
          </a:p>
        </p:txBody>
      </p:sp>
      <p:sp>
        <p:nvSpPr>
          <p:cNvPr id="8" name="Oval 1"/>
          <p:cNvSpPr>
            <a:spLocks noChangeArrowheads="1"/>
          </p:cNvSpPr>
          <p:nvPr userDrawn="1"/>
        </p:nvSpPr>
        <p:spPr bwMode="gray">
          <a:xfrm>
            <a:off x="125107" y="76358"/>
            <a:ext cx="226226" cy="226292"/>
          </a:xfrm>
          <a:prstGeom prst="ellipse">
            <a:avLst/>
          </a:prstGeom>
          <a:solidFill>
            <a:srgbClr val="00677F"/>
          </a:solidFill>
          <a:ln w="9525" algn="ctr">
            <a:solidFill>
              <a:srgbClr val="00677F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endParaRPr lang="en-US" sz="1099" b="1" dirty="0">
              <a:solidFill>
                <a:srgbClr val="FFFFFF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137800" y="76359"/>
            <a:ext cx="200839" cy="223003"/>
          </a:xfrm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 sz="1199" b="1">
                <a:solidFill>
                  <a:schemeClr val="bg1"/>
                </a:solidFill>
              </a:defRPr>
            </a:lvl1pPr>
            <a:lvl2pPr marL="237481" indent="0">
              <a:buNone/>
              <a:defRPr sz="1199" b="1">
                <a:solidFill>
                  <a:schemeClr val="bg1"/>
                </a:solidFill>
              </a:defRPr>
            </a:lvl2pPr>
            <a:lvl3pPr marL="474962" indent="0">
              <a:buNone/>
              <a:defRPr sz="1199" b="1"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1199" b="1"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1199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418337" y="-56045"/>
            <a:ext cx="2132489" cy="380118"/>
          </a:xfrm>
        </p:spPr>
        <p:txBody>
          <a:bodyPr anchor="ctr"/>
          <a:lstStyle>
            <a:lvl1pPr marL="0" indent="0">
              <a:buNone/>
              <a:defRPr lang="en-US" sz="1199" kern="1200" dirty="0" smtClean="0">
                <a:solidFill>
                  <a:srgbClr val="707070"/>
                </a:solidFill>
                <a:latin typeface="+mn-lt"/>
                <a:ea typeface="+mn-ea"/>
                <a:cs typeface="Daimler CS"/>
              </a:defRPr>
            </a:lvl1pPr>
            <a:lvl2pPr marL="237481" indent="0">
              <a:buNone/>
              <a:defRPr lang="en-US" sz="1199" kern="1200" dirty="0" smtClean="0">
                <a:solidFill>
                  <a:srgbClr val="707070"/>
                </a:solidFill>
                <a:latin typeface="+mn-lt"/>
                <a:ea typeface="+mn-ea"/>
                <a:cs typeface="Daimler CS"/>
              </a:defRPr>
            </a:lvl2pPr>
            <a:lvl3pPr marL="474962" indent="0">
              <a:buNone/>
              <a:defRPr lang="en-US" sz="1199" kern="1200" dirty="0" smtClean="0">
                <a:solidFill>
                  <a:srgbClr val="707070"/>
                </a:solidFill>
                <a:latin typeface="+mn-lt"/>
                <a:ea typeface="+mn-ea"/>
                <a:cs typeface="Daimler CS"/>
              </a:defRPr>
            </a:lvl3pPr>
            <a:lvl4pPr marL="0" indent="0">
              <a:buFont typeface="Arial" panose="020B0604020202020204" pitchFamily="34" charset="0"/>
              <a:buNone/>
              <a:defRPr lang="en-US" sz="1199" kern="1200" dirty="0" smtClean="0">
                <a:solidFill>
                  <a:srgbClr val="707070"/>
                </a:solidFill>
                <a:latin typeface="+mn-lt"/>
                <a:ea typeface="+mn-ea"/>
                <a:cs typeface="Daimler CS"/>
              </a:defRPr>
            </a:lvl4pPr>
            <a:lvl5pPr marL="0" indent="0">
              <a:buFont typeface="Arial" panose="020B0604020202020204" pitchFamily="34" charset="0"/>
              <a:buNone/>
              <a:defRPr lang="en-US" sz="1199" kern="1200" dirty="0">
                <a:solidFill>
                  <a:srgbClr val="707070"/>
                </a:solidFill>
                <a:latin typeface="+mn-lt"/>
                <a:ea typeface="+mn-ea"/>
                <a:cs typeface="Daimler 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5728850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  <p15:guide id="3" orient="horz" pos="950">
          <p15:clr>
            <a:srgbClr val="FBAE40"/>
          </p15:clr>
        </p15:guide>
      </p15:sldGuideLst>
    </p:ext>
  </p:extLst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/ Headline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486" name="think-cell スライド" r:id="rId4" imgW="216" imgH="216" progId="TCLayout.ActiveDocument.1">
                  <p:embed/>
                </p:oleObj>
              </mc:Choice>
              <mc:Fallback>
                <p:oleObj name="think-cell スライド" r:id="rId4" imgW="216" imgH="216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10933350" cy="664284"/>
          </a:xfrm>
        </p:spPr>
        <p:txBody>
          <a:bodyPr/>
          <a:lstStyle/>
          <a:p>
            <a:r>
              <a:rPr lang="en-GB" noProof="0" dirty="0" smtClean="0"/>
              <a:t>Headline in CorpoS (Body) 35 pt.</a:t>
            </a:r>
            <a:br>
              <a:rPr lang="en-GB" noProof="0" dirty="0" smtClean="0"/>
            </a:br>
            <a:r>
              <a:rPr lang="en-GB" noProof="0" dirty="0" smtClean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FORCE “Touch and Feel” for SC Minami Kanto and Koshin / FORCE WS 2.0 /16/10/2018</a:t>
            </a:r>
            <a:endParaRPr lang="en-GB" dirty="0" smtClean="0"/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 smtClean="0"/>
              <a:t> </a:t>
            </a:r>
            <a:fld id="{52531704-8F80-415D-BD2B-6B9991AE822F}" type="slidenum">
              <a:rPr lang="en-GB" smtClean="0"/>
              <a:pPr algn="r"/>
              <a:t>‹#›</a:t>
            </a:fld>
            <a:endParaRPr lang="en-GB" dirty="0"/>
          </a:p>
        </p:txBody>
      </p:sp>
      <p:sp>
        <p:nvSpPr>
          <p:cNvPr id="6" name="Oval 1"/>
          <p:cNvSpPr>
            <a:spLocks noChangeArrowheads="1"/>
          </p:cNvSpPr>
          <p:nvPr userDrawn="1"/>
        </p:nvSpPr>
        <p:spPr bwMode="gray">
          <a:xfrm>
            <a:off x="137799" y="76358"/>
            <a:ext cx="226226" cy="226292"/>
          </a:xfrm>
          <a:prstGeom prst="ellipse">
            <a:avLst/>
          </a:prstGeom>
          <a:solidFill>
            <a:srgbClr val="00677F"/>
          </a:solidFill>
          <a:ln w="9525" algn="ctr">
            <a:solidFill>
              <a:srgbClr val="00677F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endParaRPr lang="en-US" sz="1099" b="1" dirty="0">
              <a:solidFill>
                <a:srgbClr val="FFFFFF"/>
              </a:solidFill>
            </a:endParaRP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154580" y="40220"/>
            <a:ext cx="192665" cy="298568"/>
          </a:xfrm>
        </p:spPr>
        <p:txBody>
          <a:bodyPr anchor="ctr"/>
          <a:lstStyle>
            <a:lvl1pPr marL="0" indent="0" algn="ctr">
              <a:lnSpc>
                <a:spcPts val="1399"/>
              </a:lnSpc>
              <a:buNone/>
              <a:defRPr sz="1199" b="1">
                <a:solidFill>
                  <a:schemeClr val="bg1"/>
                </a:solidFill>
              </a:defRPr>
            </a:lvl1pPr>
            <a:lvl2pPr marL="237481" indent="0">
              <a:buNone/>
              <a:defRPr sz="1199" b="1">
                <a:solidFill>
                  <a:schemeClr val="bg1"/>
                </a:solidFill>
              </a:defRPr>
            </a:lvl2pPr>
            <a:lvl3pPr marL="474962" indent="0">
              <a:buNone/>
              <a:defRPr sz="1199" b="1"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1199" b="1"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1199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</a:t>
            </a:r>
            <a:endParaRPr lang="en-US" dirty="0"/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418337" y="-56045"/>
            <a:ext cx="2132489" cy="380118"/>
          </a:xfrm>
        </p:spPr>
        <p:txBody>
          <a:bodyPr anchor="ctr"/>
          <a:lstStyle>
            <a:lvl1pPr marL="0" indent="0">
              <a:buNone/>
              <a:defRPr lang="en-US" sz="1199" kern="1200" dirty="0" smtClean="0">
                <a:solidFill>
                  <a:srgbClr val="707070"/>
                </a:solidFill>
                <a:latin typeface="+mn-lt"/>
                <a:ea typeface="+mn-ea"/>
                <a:cs typeface="Daimler CS"/>
              </a:defRPr>
            </a:lvl1pPr>
            <a:lvl2pPr marL="237481" indent="0">
              <a:buNone/>
              <a:defRPr lang="en-US" sz="1199" kern="1200" dirty="0" smtClean="0">
                <a:solidFill>
                  <a:srgbClr val="707070"/>
                </a:solidFill>
                <a:latin typeface="+mn-lt"/>
                <a:ea typeface="+mn-ea"/>
                <a:cs typeface="Daimler CS"/>
              </a:defRPr>
            </a:lvl2pPr>
            <a:lvl3pPr marL="474962" indent="0">
              <a:buNone/>
              <a:defRPr lang="en-US" sz="1199" kern="1200" dirty="0" smtClean="0">
                <a:solidFill>
                  <a:srgbClr val="707070"/>
                </a:solidFill>
                <a:latin typeface="+mn-lt"/>
                <a:ea typeface="+mn-ea"/>
                <a:cs typeface="Daimler CS"/>
              </a:defRPr>
            </a:lvl3pPr>
            <a:lvl4pPr marL="0" indent="0">
              <a:buFont typeface="Arial" panose="020B0604020202020204" pitchFamily="34" charset="0"/>
              <a:buNone/>
              <a:defRPr lang="en-US" sz="1199" kern="1200" dirty="0" smtClean="0">
                <a:solidFill>
                  <a:srgbClr val="707070"/>
                </a:solidFill>
                <a:latin typeface="+mn-lt"/>
                <a:ea typeface="+mn-ea"/>
                <a:cs typeface="Daimler CS"/>
              </a:defRPr>
            </a:lvl4pPr>
            <a:lvl5pPr marL="0" indent="0">
              <a:buFont typeface="Arial" panose="020B0604020202020204" pitchFamily="34" charset="0"/>
              <a:buNone/>
              <a:defRPr lang="en-US" sz="1199" kern="1200" dirty="0">
                <a:solidFill>
                  <a:srgbClr val="707070"/>
                </a:solidFill>
                <a:latin typeface="+mn-lt"/>
                <a:ea typeface="+mn-ea"/>
                <a:cs typeface="Daimler 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915727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</p15:sldGuideLst>
    </p:ext>
  </p:extLst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lank/ Headline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510" name="think-cell スライド" r:id="rId4" imgW="216" imgH="216" progId="TCLayout.ActiveDocument.1">
                  <p:embed/>
                </p:oleObj>
              </mc:Choice>
              <mc:Fallback>
                <p:oleObj name="think-cell スライド" r:id="rId4" imgW="216" imgH="216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10933350" cy="664284"/>
          </a:xfrm>
        </p:spPr>
        <p:txBody>
          <a:bodyPr/>
          <a:lstStyle/>
          <a:p>
            <a:r>
              <a:rPr lang="en-GB" noProof="0" dirty="0" smtClean="0"/>
              <a:t>Headline in CorpoS (Body) 35 pt.</a:t>
            </a:r>
            <a:br>
              <a:rPr lang="en-GB" noProof="0" dirty="0" smtClean="0"/>
            </a:br>
            <a:r>
              <a:rPr lang="en-GB" noProof="0" dirty="0" smtClean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FORCE Rollout comprehensive plan / FORCE WS 2.0 / 12/7/2018</a:t>
            </a:r>
            <a:endParaRPr lang="en-GB" dirty="0" smtClean="0"/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 smtClean="0"/>
              <a:t> </a:t>
            </a:r>
            <a:fld id="{52531704-8F80-415D-BD2B-6B9991AE822F}" type="slidenum">
              <a:rPr lang="en-GB" smtClean="0"/>
              <a:pPr algn="r"/>
              <a:t>‹#›</a:t>
            </a:fld>
            <a:endParaRPr lang="en-GB" dirty="0"/>
          </a:p>
        </p:txBody>
      </p:sp>
      <p:sp>
        <p:nvSpPr>
          <p:cNvPr id="6" name="Oval 1"/>
          <p:cNvSpPr>
            <a:spLocks noChangeArrowheads="1"/>
          </p:cNvSpPr>
          <p:nvPr userDrawn="1"/>
        </p:nvSpPr>
        <p:spPr bwMode="gray">
          <a:xfrm>
            <a:off x="137799" y="76358"/>
            <a:ext cx="226226" cy="226292"/>
          </a:xfrm>
          <a:prstGeom prst="ellipse">
            <a:avLst/>
          </a:prstGeom>
          <a:solidFill>
            <a:srgbClr val="00677F"/>
          </a:solidFill>
          <a:ln w="9525" algn="ctr">
            <a:solidFill>
              <a:srgbClr val="00677F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endParaRPr lang="en-US" sz="1099" b="1" dirty="0">
              <a:solidFill>
                <a:srgbClr val="FFFFFF"/>
              </a:solidFill>
            </a:endParaRP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154580" y="40220"/>
            <a:ext cx="192665" cy="298568"/>
          </a:xfrm>
        </p:spPr>
        <p:txBody>
          <a:bodyPr anchor="ctr"/>
          <a:lstStyle>
            <a:lvl1pPr marL="0" indent="0" algn="ctr">
              <a:lnSpc>
                <a:spcPts val="1399"/>
              </a:lnSpc>
              <a:buNone/>
              <a:defRPr sz="1199" b="1">
                <a:solidFill>
                  <a:schemeClr val="bg1"/>
                </a:solidFill>
              </a:defRPr>
            </a:lvl1pPr>
            <a:lvl2pPr marL="237481" indent="0">
              <a:buNone/>
              <a:defRPr sz="1199" b="1">
                <a:solidFill>
                  <a:schemeClr val="bg1"/>
                </a:solidFill>
              </a:defRPr>
            </a:lvl2pPr>
            <a:lvl3pPr marL="474962" indent="0">
              <a:buNone/>
              <a:defRPr sz="1199" b="1"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1199" b="1"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1199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</a:t>
            </a:r>
            <a:endParaRPr lang="en-US" dirty="0"/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418337" y="-56045"/>
            <a:ext cx="2132489" cy="380118"/>
          </a:xfrm>
        </p:spPr>
        <p:txBody>
          <a:bodyPr anchor="ctr"/>
          <a:lstStyle>
            <a:lvl1pPr marL="0" indent="0">
              <a:buNone/>
              <a:defRPr lang="en-US" sz="1199" kern="1200" dirty="0" smtClean="0">
                <a:solidFill>
                  <a:srgbClr val="707070"/>
                </a:solidFill>
                <a:latin typeface="+mn-lt"/>
                <a:ea typeface="+mn-ea"/>
                <a:cs typeface="Daimler CS"/>
              </a:defRPr>
            </a:lvl1pPr>
            <a:lvl2pPr marL="237481" indent="0">
              <a:buNone/>
              <a:defRPr lang="en-US" sz="1199" kern="1200" dirty="0" smtClean="0">
                <a:solidFill>
                  <a:srgbClr val="707070"/>
                </a:solidFill>
                <a:latin typeface="+mn-lt"/>
                <a:ea typeface="+mn-ea"/>
                <a:cs typeface="Daimler CS"/>
              </a:defRPr>
            </a:lvl2pPr>
            <a:lvl3pPr marL="474962" indent="0">
              <a:buNone/>
              <a:defRPr lang="en-US" sz="1199" kern="1200" dirty="0" smtClean="0">
                <a:solidFill>
                  <a:srgbClr val="707070"/>
                </a:solidFill>
                <a:latin typeface="+mn-lt"/>
                <a:ea typeface="+mn-ea"/>
                <a:cs typeface="Daimler CS"/>
              </a:defRPr>
            </a:lvl3pPr>
            <a:lvl4pPr marL="0" indent="0">
              <a:buFont typeface="Arial" panose="020B0604020202020204" pitchFamily="34" charset="0"/>
              <a:buNone/>
              <a:defRPr lang="en-US" sz="1199" kern="1200" dirty="0" smtClean="0">
                <a:solidFill>
                  <a:srgbClr val="707070"/>
                </a:solidFill>
                <a:latin typeface="+mn-lt"/>
                <a:ea typeface="+mn-ea"/>
                <a:cs typeface="Daimler CS"/>
              </a:defRPr>
            </a:lvl4pPr>
            <a:lvl5pPr marL="0" indent="0">
              <a:buFont typeface="Arial" panose="020B0604020202020204" pitchFamily="34" charset="0"/>
              <a:buNone/>
              <a:defRPr lang="en-US" sz="1199" kern="1200" dirty="0">
                <a:solidFill>
                  <a:srgbClr val="707070"/>
                </a:solidFill>
                <a:latin typeface="+mn-lt"/>
                <a:ea typeface="+mn-ea"/>
                <a:cs typeface="Daimler 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8175477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</p15:sldGuideLst>
    </p:ext>
  </p:extLst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タイトルと表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527540" y="730250"/>
            <a:ext cx="11136923" cy="332142"/>
          </a:xfrm>
        </p:spPr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表プレースホルダ 2"/>
          <p:cNvSpPr>
            <a:spLocks noGrp="1"/>
          </p:cNvSpPr>
          <p:nvPr>
            <p:ph type="tbl" idx="1"/>
          </p:nvPr>
        </p:nvSpPr>
        <p:spPr>
          <a:xfrm>
            <a:off x="527540" y="1543050"/>
            <a:ext cx="11136923" cy="4910138"/>
          </a:xfrm>
        </p:spPr>
        <p:txBody>
          <a:bodyPr/>
          <a:lstStyle/>
          <a:p>
            <a:pPr lvl="0"/>
            <a:endParaRPr lang="ja-JP" altLang="en-US" noProof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B53D32F4-536C-48C0-8C66-5B6AFA324F04}" type="slidenum">
              <a:rPr lang="en-US" altLang="ja-JP"/>
              <a:pPr>
                <a:defRPr/>
              </a:pPr>
              <a:t>‹#›</a:t>
            </a:fld>
            <a:r>
              <a:rPr lang="en-US" altLang="ja-JP"/>
              <a:t>&lt;#-1&gt;</a:t>
            </a:r>
          </a:p>
        </p:txBody>
      </p:sp>
    </p:spTree>
    <p:extLst>
      <p:ext uri="{BB962C8B-B14F-4D97-AF65-F5344CB8AC3E}">
        <p14:creationId xmlns:p14="http://schemas.microsoft.com/office/powerpoint/2010/main" val="4182532402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Blank/ Headline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10933350" cy="664284"/>
          </a:xfrm>
        </p:spPr>
        <p:txBody>
          <a:bodyPr/>
          <a:lstStyle/>
          <a:p>
            <a:r>
              <a:rPr lang="en-GB" noProof="0" dirty="0" smtClean="0"/>
              <a:t>Headline in CorpoS (Body) 35 pt.</a:t>
            </a:r>
            <a:br>
              <a:rPr lang="en-GB" noProof="0" dirty="0" smtClean="0"/>
            </a:br>
            <a:r>
              <a:rPr lang="en-GB" noProof="0" dirty="0" smtClean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WS2: TwoWorld scenarios - Summary report 2018/11/06</a:t>
            </a:r>
            <a:endParaRPr lang="en-GB" dirty="0" smtClean="0"/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 smtClean="0"/>
              <a:t> </a:t>
            </a:r>
            <a:fld id="{52531704-8F80-415D-BD2B-6B9991AE822F}" type="slidenum">
              <a:rPr lang="en-GB" smtClean="0"/>
              <a:pPr algn="r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0726749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</p15:sldGuideLst>
    </p:ext>
  </p:extLst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Blank/ Headline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10933350" cy="664284"/>
          </a:xfrm>
        </p:spPr>
        <p:txBody>
          <a:bodyPr/>
          <a:lstStyle/>
          <a:p>
            <a:r>
              <a:rPr lang="en-GB" noProof="0" dirty="0" smtClean="0"/>
              <a:t>Headline in CorpoS (Body) 35 pt.</a:t>
            </a:r>
            <a:br>
              <a:rPr lang="en-GB" noProof="0" dirty="0" smtClean="0"/>
            </a:br>
            <a:r>
              <a:rPr lang="en-GB" noProof="0" dirty="0" smtClean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WS2: TwoWorld scenarios - Summary report 2018/11/06</a:t>
            </a:r>
            <a:endParaRPr lang="en-GB" dirty="0" smtClean="0"/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 smtClean="0"/>
              <a:t> </a:t>
            </a:r>
            <a:fld id="{52531704-8F80-415D-BD2B-6B9991AE822F}" type="slidenum">
              <a:rPr lang="en-GB" smtClean="0"/>
              <a:pPr algn="r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5554139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</p15:sldGuideLst>
    </p:ext>
  </p:extLst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Blank/ Headline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10933350" cy="664284"/>
          </a:xfrm>
        </p:spPr>
        <p:txBody>
          <a:bodyPr/>
          <a:lstStyle/>
          <a:p>
            <a:r>
              <a:rPr lang="en-GB" noProof="0" dirty="0" smtClean="0"/>
              <a:t>Headline in CorpoS (Body) 35 pt.</a:t>
            </a:r>
            <a:br>
              <a:rPr lang="en-GB" noProof="0" dirty="0" smtClean="0"/>
            </a:br>
            <a:r>
              <a:rPr lang="en-GB" noProof="0" dirty="0" smtClean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WS2: TwoWorld scenarios - Summary report 2018/11/06</a:t>
            </a:r>
            <a:endParaRPr lang="en-GB" dirty="0" smtClean="0"/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 smtClean="0"/>
              <a:t> </a:t>
            </a:r>
            <a:fld id="{52531704-8F80-415D-BD2B-6B9991AE822F}" type="slidenum">
              <a:rPr lang="en-GB" smtClean="0"/>
              <a:pPr algn="r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9082647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</p15:sldGuideLst>
    </p:ext>
  </p:extLst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Blank/ Headline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10933350" cy="664284"/>
          </a:xfrm>
        </p:spPr>
        <p:txBody>
          <a:bodyPr/>
          <a:lstStyle/>
          <a:p>
            <a:r>
              <a:rPr lang="en-GB" noProof="0" dirty="0" smtClean="0"/>
              <a:t>Headline in CorpoS (Body) 35 pt.</a:t>
            </a:r>
            <a:br>
              <a:rPr lang="en-GB" noProof="0" dirty="0" smtClean="0"/>
            </a:br>
            <a:r>
              <a:rPr lang="en-GB" noProof="0" dirty="0" smtClean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WS2: TwoWorld scenarios - Summary report 2018/11/06</a:t>
            </a:r>
            <a:endParaRPr lang="en-GB" dirty="0" smtClean="0"/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 smtClean="0"/>
              <a:t> </a:t>
            </a:r>
            <a:fld id="{52531704-8F80-415D-BD2B-6B9991AE822F}" type="slidenum">
              <a:rPr lang="en-GB" smtClean="0"/>
              <a:pPr algn="r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493026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</p15:sldGuideLst>
    </p:ext>
  </p:extLst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Blank/ Headline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10933350" cy="664284"/>
          </a:xfrm>
        </p:spPr>
        <p:txBody>
          <a:bodyPr/>
          <a:lstStyle/>
          <a:p>
            <a:r>
              <a:rPr lang="en-GB" noProof="0" dirty="0" smtClean="0"/>
              <a:t>Headline in CorpoS (Body) 35 pt.</a:t>
            </a:r>
            <a:br>
              <a:rPr lang="en-GB" noProof="0" dirty="0" smtClean="0"/>
            </a:br>
            <a:r>
              <a:rPr lang="en-GB" noProof="0" dirty="0" smtClean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WS2: TwoWorld scenarios - Summary report 2018/11/06</a:t>
            </a:r>
            <a:endParaRPr lang="en-GB" dirty="0" smtClean="0"/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 smtClean="0"/>
              <a:t> </a:t>
            </a:r>
            <a:fld id="{52531704-8F80-415D-BD2B-6B9991AE822F}" type="slidenum">
              <a:rPr lang="en-GB" smtClean="0"/>
              <a:pPr algn="r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7249632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</p15:sldGuideLst>
    </p:ext>
  </p:extLst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Blank/ Headline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10933350" cy="664284"/>
          </a:xfrm>
        </p:spPr>
        <p:txBody>
          <a:bodyPr/>
          <a:lstStyle/>
          <a:p>
            <a:r>
              <a:rPr lang="en-GB" noProof="0" dirty="0" smtClean="0"/>
              <a:t>Headline in CorpoS (Body) 35 pt.</a:t>
            </a:r>
            <a:br>
              <a:rPr lang="en-GB" noProof="0" dirty="0" smtClean="0"/>
            </a:br>
            <a:r>
              <a:rPr lang="en-GB" noProof="0" dirty="0" smtClean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WS2: TwoWorld scenarios - Summary report 2018/11/06</a:t>
            </a:r>
            <a:endParaRPr lang="en-GB" dirty="0" smtClean="0"/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 smtClean="0"/>
              <a:t> </a:t>
            </a:r>
            <a:fld id="{52531704-8F80-415D-BD2B-6B9991AE822F}" type="slidenum">
              <a:rPr lang="en-GB" smtClean="0"/>
              <a:pPr algn="r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0471757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. Title tex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Regieanweisungen"/>
          <p:cNvGrpSpPr/>
          <p:nvPr/>
        </p:nvGrpSpPr>
        <p:grpSpPr>
          <a:xfrm>
            <a:off x="-2086913" y="-467892"/>
            <a:ext cx="13647691" cy="7792196"/>
            <a:chOff x="-2088000" y="-468000"/>
            <a:chExt cx="13654799" cy="7794000"/>
          </a:xfrm>
        </p:grpSpPr>
        <p:sp>
          <p:nvSpPr>
            <p:cNvPr id="15" name="Hilfslinien"/>
            <p:cNvSpPr txBox="1"/>
            <p:nvPr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99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how guides via menu bar: View // Show // tick Guides</a:t>
              </a:r>
            </a:p>
          </p:txBody>
        </p:sp>
        <p:sp>
          <p:nvSpPr>
            <p:cNvPr id="16" name="Fußzeile"/>
            <p:cNvSpPr txBox="1"/>
            <p:nvPr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1042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099" b="0" baseline="0" dirty="0" smtClean="0">
                  <a:solidFill>
                    <a:schemeClr val="accent5"/>
                  </a:solidFill>
                  <a:latin typeface="+mn-lt"/>
                </a:rPr>
                <a:t>Adjust footer (per slide or for several/all slides) via menu bar: Insert // Text // Header &amp; Footer</a:t>
              </a:r>
            </a:p>
          </p:txBody>
        </p:sp>
        <p:grpSp>
          <p:nvGrpSpPr>
            <p:cNvPr id="27" name="Hinweise links"/>
            <p:cNvGrpSpPr/>
            <p:nvPr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29" name="Folie Wechsel/Zurücksetzen/Textebenen"/>
              <p:cNvSpPr txBox="1"/>
              <p:nvPr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Reset the slide back to its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original form 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Slides // Rese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099" b="0" baseline="0" noProof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Change the slide layout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Slides // Layou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099" b="0" baseline="0" noProof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Change the text level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via menu bar: </a:t>
                </a:r>
                <a:b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</a:b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Paragraph // Increase/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Decrease List Level</a:t>
                </a:r>
              </a:p>
            </p:txBody>
          </p:sp>
          <p:grpSp>
            <p:nvGrpSpPr>
              <p:cNvPr id="30" name="Listenebenen"/>
              <p:cNvGrpSpPr/>
              <p:nvPr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31" name="Text // Listenebene erhöhen"/>
                <p:cNvSpPr txBox="1"/>
                <p:nvPr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38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999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Increase</a:t>
                  </a:r>
                </a:p>
                <a:p>
                  <a:pPr marL="0" marR="0" lvl="0" indent="0" algn="r" defTabSz="9138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999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sp>
              <p:nvSpPr>
                <p:cNvPr id="32" name="Text // Listenebene verringern"/>
                <p:cNvSpPr txBox="1"/>
                <p:nvPr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38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999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Decrease </a:t>
                  </a:r>
                </a:p>
                <a:p>
                  <a:pPr marL="0" marR="0" lvl="0" indent="0" algn="r" defTabSz="9138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999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pic>
              <p:nvPicPr>
                <p:cNvPr id="33" name="Listenebene erhöhen"/>
                <p:cNvPicPr>
                  <a:picLocks noChangeAspect="1"/>
                </p:cNvPicPr>
                <p:nvPr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34" name="Listenebene verringern"/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28323" y="5121280"/>
            <a:ext cx="10932181" cy="1025684"/>
          </a:xfrm>
        </p:spPr>
        <p:txBody>
          <a:bodyPr wrap="square" anchor="b" anchorCtr="0">
            <a:spAutoFit/>
          </a:bodyPr>
          <a:lstStyle>
            <a:lvl1pPr>
              <a:defRPr/>
            </a:lvl1pPr>
          </a:lstStyle>
          <a:p>
            <a:r>
              <a:rPr lang="en-GB" dirty="0" smtClean="0"/>
              <a:t>Referent’s name: </a:t>
            </a:r>
            <a:r>
              <a:rPr lang="en-GB" noProof="0" dirty="0" smtClean="0"/>
              <a:t>CorpoS </a:t>
            </a:r>
            <a:r>
              <a:rPr lang="en-GB" dirty="0" smtClean="0"/>
              <a:t>(Body) 35 pt. Presentation title</a:t>
            </a:r>
            <a:br>
              <a:rPr lang="en-GB" dirty="0" smtClean="0"/>
            </a:br>
            <a:r>
              <a:rPr lang="en-GB" dirty="0" smtClean="0"/>
              <a:t>in two or more lines of text, dd. </a:t>
            </a:r>
            <a:r>
              <a:rPr lang="en-GB" dirty="0" err="1" smtClean="0"/>
              <a:t>mmmm</a:t>
            </a:r>
            <a:r>
              <a:rPr lang="en-GB" dirty="0" smtClean="0"/>
              <a:t> </a:t>
            </a:r>
            <a:r>
              <a:rPr lang="en-GB" dirty="0" err="1" smtClean="0"/>
              <a:t>yyyy</a:t>
            </a:r>
            <a:endParaRPr lang="en-GB" dirty="0"/>
          </a:p>
        </p:txBody>
      </p:sp>
      <p:pic>
        <p:nvPicPr>
          <p:cNvPr id="28" name="Wortmarke DAIMLER" descr="Daimler_RGB_100mm.png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9672" y="790853"/>
            <a:ext cx="3418220" cy="462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65127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3873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image/ 2 column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Regieanweisungen"/>
          <p:cNvGrpSpPr/>
          <p:nvPr/>
        </p:nvGrpSpPr>
        <p:grpSpPr>
          <a:xfrm>
            <a:off x="-2086913" y="-467892"/>
            <a:ext cx="13647691" cy="7792196"/>
            <a:chOff x="-2088000" y="-468000"/>
            <a:chExt cx="13654799" cy="7794000"/>
          </a:xfrm>
        </p:grpSpPr>
        <p:sp>
          <p:nvSpPr>
            <p:cNvPr id="17" name="Hilfslinien"/>
            <p:cNvSpPr txBox="1"/>
            <p:nvPr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99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how guides via menu bar: View // Show // tick Guides</a:t>
              </a:r>
            </a:p>
          </p:txBody>
        </p:sp>
        <p:sp>
          <p:nvSpPr>
            <p:cNvPr id="18" name="Fußzeile"/>
            <p:cNvSpPr txBox="1"/>
            <p:nvPr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1042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099" b="0" baseline="0" dirty="0" smtClean="0">
                  <a:solidFill>
                    <a:schemeClr val="accent5"/>
                  </a:solidFill>
                  <a:latin typeface="+mn-lt"/>
                </a:rPr>
                <a:t>Adjust footer (per slide or for several/all slides) via menu bar: Insert // Text // Header &amp; Footer</a:t>
              </a:r>
            </a:p>
          </p:txBody>
        </p:sp>
        <p:grpSp>
          <p:nvGrpSpPr>
            <p:cNvPr id="19" name="Hinweise links"/>
            <p:cNvGrpSpPr/>
            <p:nvPr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31" name="Folie Wechsel/Zurücksetzen/Textebenen"/>
              <p:cNvSpPr txBox="1"/>
              <p:nvPr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Reset the slide back to its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original form 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Slides // Rese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099" b="0" baseline="0" noProof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Change the slide layout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Slides // Layou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099" b="0" baseline="0" noProof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Change the text level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via menu bar: </a:t>
                </a:r>
                <a:b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</a:b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Paragraph // Increase/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Decrease List Level</a:t>
                </a:r>
              </a:p>
            </p:txBody>
          </p:sp>
          <p:grpSp>
            <p:nvGrpSpPr>
              <p:cNvPr id="32" name="Listenebenen"/>
              <p:cNvGrpSpPr/>
              <p:nvPr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33" name="Text // Listenebene erhöhen"/>
                <p:cNvSpPr txBox="1"/>
                <p:nvPr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38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999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Increase</a:t>
                  </a:r>
                </a:p>
                <a:p>
                  <a:pPr marL="0" marR="0" lvl="0" indent="0" algn="r" defTabSz="9138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999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sp>
              <p:nvSpPr>
                <p:cNvPr id="34" name="Text // Listenebene verringern"/>
                <p:cNvSpPr txBox="1"/>
                <p:nvPr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38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999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Decrease </a:t>
                  </a:r>
                </a:p>
                <a:p>
                  <a:pPr marL="0" marR="0" lvl="0" indent="0" algn="r" defTabSz="9138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999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pic>
              <p:nvPicPr>
                <p:cNvPr id="35" name="Listenebene erhöhen"/>
                <p:cNvPicPr>
                  <a:picLocks noChangeAspect="1"/>
                </p:cNvPicPr>
                <p:nvPr/>
              </p:nvPicPr>
              <p:blipFill>
                <a:blip r:embed="rId2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36" name="Listenebene verringern"/>
                <p:cNvPicPr>
                  <a:picLocks noChangeAspect="1"/>
                </p:cNvPicPr>
                <p:nvPr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20" name="Daimler AG (Wortmarke)"/>
          <p:cNvSpPr>
            <a:spLocks noChangeArrowheads="1"/>
          </p:cNvSpPr>
          <p:nvPr/>
        </p:nvSpPr>
        <p:spPr bwMode="auto">
          <a:xfrm>
            <a:off x="629672" y="6564880"/>
            <a:ext cx="2086913" cy="2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r>
              <a:rPr lang="en-GB" sz="1199" dirty="0" smtClean="0">
                <a:latin typeface="+mn-lt"/>
                <a:cs typeface="Daimler CS"/>
              </a:rPr>
              <a:t>Daimler AG</a:t>
            </a:r>
            <a:endParaRPr lang="en-GB" sz="1199" dirty="0">
              <a:latin typeface="+mn-lt"/>
              <a:cs typeface="Daimler CS"/>
            </a:endParaRP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178478-C14F-4056-BC7B-D4A0322B8D6E}" type="slidenum">
              <a:rPr lang="en-US" smtClean="0"/>
              <a:t>‹#›</a:t>
            </a:fld>
            <a:endParaRPr lang="en-US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6059905" cy="6486611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2096" y="0"/>
            <a:ext cx="6059905" cy="6486611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3583266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Blank/ Headline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10933350" cy="664284"/>
          </a:xfrm>
        </p:spPr>
        <p:txBody>
          <a:bodyPr/>
          <a:lstStyle/>
          <a:p>
            <a:r>
              <a:rPr lang="en-GB" noProof="0" dirty="0" smtClean="0"/>
              <a:t>Headline in CorpoS (Body) 35 pt.</a:t>
            </a:r>
            <a:br>
              <a:rPr lang="en-GB" noProof="0" dirty="0" smtClean="0"/>
            </a:br>
            <a:r>
              <a:rPr lang="en-GB" noProof="0" dirty="0" smtClean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WS2: TwoWorld scenarios - Summary report 2018/11/06</a:t>
            </a:r>
            <a:endParaRPr lang="en-GB" dirty="0" smtClean="0"/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 smtClean="0"/>
              <a:t> </a:t>
            </a:r>
            <a:fld id="{52531704-8F80-415D-BD2B-6B9991AE822F}" type="slidenum">
              <a:rPr lang="en-GB" smtClean="0"/>
              <a:pPr algn="r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6924964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</p15:sldGuideLst>
    </p:ext>
  </p:extLst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Blank/ Headline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10933350" cy="664284"/>
          </a:xfrm>
        </p:spPr>
        <p:txBody>
          <a:bodyPr/>
          <a:lstStyle/>
          <a:p>
            <a:r>
              <a:rPr lang="en-GB" noProof="0" dirty="0" smtClean="0"/>
              <a:t>Headline in CorpoS (Body) 35 pt.</a:t>
            </a:r>
            <a:br>
              <a:rPr lang="en-GB" noProof="0" dirty="0" smtClean="0"/>
            </a:br>
            <a:r>
              <a:rPr lang="en-GB" noProof="0" dirty="0" smtClean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WS2: TwoWorld scenarios - Summary report 2018/11/06</a:t>
            </a:r>
            <a:endParaRPr lang="en-GB" dirty="0" smtClean="0"/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 smtClean="0"/>
              <a:t> </a:t>
            </a:r>
            <a:fld id="{52531704-8F80-415D-BD2B-6B9991AE822F}" type="slidenum">
              <a:rPr lang="en-GB" smtClean="0"/>
              <a:pPr algn="r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9890822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</p15:sldGuideLst>
    </p:ext>
  </p:extLst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Blank/ Headline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10933350" cy="664284"/>
          </a:xfrm>
        </p:spPr>
        <p:txBody>
          <a:bodyPr/>
          <a:lstStyle/>
          <a:p>
            <a:r>
              <a:rPr lang="en-GB" noProof="0" dirty="0" smtClean="0"/>
              <a:t>Headline in CorpoS (Body) 35 pt.</a:t>
            </a:r>
            <a:br>
              <a:rPr lang="en-GB" noProof="0" dirty="0" smtClean="0"/>
            </a:br>
            <a:r>
              <a:rPr lang="en-GB" noProof="0" dirty="0" smtClean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WS2: TwoWorld scenarios - Summary report 2018/11/06</a:t>
            </a:r>
            <a:endParaRPr lang="en-GB" dirty="0" smtClean="0"/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 smtClean="0"/>
              <a:t> </a:t>
            </a:r>
            <a:fld id="{52531704-8F80-415D-BD2B-6B9991AE822F}" type="slidenum">
              <a:rPr lang="en-GB" smtClean="0"/>
              <a:pPr algn="r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1620683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</p15:sldGuideLst>
    </p:ext>
  </p:extLst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Blank/ Headline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10933350" cy="664284"/>
          </a:xfrm>
        </p:spPr>
        <p:txBody>
          <a:bodyPr/>
          <a:lstStyle/>
          <a:p>
            <a:r>
              <a:rPr lang="en-GB" noProof="0" dirty="0" smtClean="0"/>
              <a:t>Headline in CorpoS (Body) 35 pt.</a:t>
            </a:r>
            <a:br>
              <a:rPr lang="en-GB" noProof="0" dirty="0" smtClean="0"/>
            </a:br>
            <a:r>
              <a:rPr lang="en-GB" noProof="0" dirty="0" smtClean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WS2: TwoWorld scenarios - Summary report 2018/11/06</a:t>
            </a:r>
            <a:endParaRPr lang="en-GB" dirty="0" smtClean="0"/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 smtClean="0"/>
              <a:t> </a:t>
            </a:r>
            <a:fld id="{52531704-8F80-415D-BD2B-6B9991AE822F}" type="slidenum">
              <a:rPr lang="en-GB" smtClean="0"/>
              <a:pPr algn="r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1880148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</p15:sldGuideLst>
    </p:ext>
  </p:extLst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Blank/ Headline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10933350" cy="664284"/>
          </a:xfrm>
        </p:spPr>
        <p:txBody>
          <a:bodyPr/>
          <a:lstStyle/>
          <a:p>
            <a:r>
              <a:rPr lang="en-GB" noProof="0" dirty="0" smtClean="0"/>
              <a:t>Headline in CorpoS (Body) 35 pt.</a:t>
            </a:r>
            <a:br>
              <a:rPr lang="en-GB" noProof="0" dirty="0" smtClean="0"/>
            </a:br>
            <a:r>
              <a:rPr lang="en-GB" noProof="0" dirty="0" smtClean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WS2: TwoWorld scenarios - Summary report 2018/11/06</a:t>
            </a:r>
            <a:endParaRPr lang="en-GB" dirty="0" smtClean="0"/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 smtClean="0"/>
              <a:t> </a:t>
            </a:r>
            <a:fld id="{52531704-8F80-415D-BD2B-6B9991AE822F}" type="slidenum">
              <a:rPr lang="en-GB" smtClean="0"/>
              <a:pPr algn="r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634210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</p15:sldGuideLst>
    </p:ext>
  </p:extLst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ext/ image/ Headline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Regieanweisungen"/>
          <p:cNvGrpSpPr/>
          <p:nvPr userDrawn="1"/>
        </p:nvGrpSpPr>
        <p:grpSpPr>
          <a:xfrm>
            <a:off x="-2086913" y="-467892"/>
            <a:ext cx="13647691" cy="7792196"/>
            <a:chOff x="-2088000" y="-468000"/>
            <a:chExt cx="13654799" cy="7794000"/>
          </a:xfrm>
        </p:grpSpPr>
        <p:sp>
          <p:nvSpPr>
            <p:cNvPr id="20" name="Hilfslinien"/>
            <p:cNvSpPr txBox="1"/>
            <p:nvPr userDrawn="1"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99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how guides via menu bar: View // Show // tick Guides</a:t>
              </a:r>
            </a:p>
          </p:txBody>
        </p:sp>
        <p:sp>
          <p:nvSpPr>
            <p:cNvPr id="21" name="Fußzeile"/>
            <p:cNvSpPr txBox="1"/>
            <p:nvPr userDrawn="1"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1042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099" b="0" baseline="0" dirty="0" smtClean="0">
                  <a:solidFill>
                    <a:schemeClr val="accent5"/>
                  </a:solidFill>
                  <a:latin typeface="+mn-lt"/>
                </a:rPr>
                <a:t>Adjust footer (per slide or for several/all slides) via menu bar: Insert // Text // Header &amp; Footer</a:t>
              </a:r>
            </a:p>
          </p:txBody>
        </p:sp>
        <p:grpSp>
          <p:nvGrpSpPr>
            <p:cNvPr id="22" name="Hinweise links"/>
            <p:cNvGrpSpPr/>
            <p:nvPr userDrawn="1"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23" name="Folie Wechsel/Zurücksetzen/Textebenen"/>
              <p:cNvSpPr txBox="1"/>
              <p:nvPr userDrawn="1"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Reset the slide back to its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original form 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Slides // Rese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099" b="0" baseline="0" noProof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Change the slide layout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Slides // Layou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099" b="0" baseline="0" noProof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Change the text level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via menu bar: </a:t>
                </a:r>
                <a:b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</a:b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Paragraph // Increase/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Decrease List Level</a:t>
                </a:r>
              </a:p>
            </p:txBody>
          </p:sp>
          <p:grpSp>
            <p:nvGrpSpPr>
              <p:cNvPr id="24" name="Listenebenen"/>
              <p:cNvGrpSpPr/>
              <p:nvPr userDrawn="1"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25" name="Text // Listenebene erhöhen"/>
                <p:cNvSpPr txBox="1"/>
                <p:nvPr userDrawn="1"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38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999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Increase</a:t>
                  </a:r>
                </a:p>
                <a:p>
                  <a:pPr marL="0" marR="0" lvl="0" indent="0" algn="r" defTabSz="9138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999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sp>
              <p:nvSpPr>
                <p:cNvPr id="26" name="Text // Listenebene verringern"/>
                <p:cNvSpPr txBox="1"/>
                <p:nvPr userDrawn="1"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38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999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Decrease </a:t>
                  </a:r>
                </a:p>
                <a:p>
                  <a:pPr marL="0" marR="0" lvl="0" indent="0" algn="r" defTabSz="9138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999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pic>
              <p:nvPicPr>
                <p:cNvPr id="27" name="Listenebene erhöhen"/>
                <p:cNvPicPr>
                  <a:picLocks noChangeAspect="1"/>
                </p:cNvPicPr>
                <p:nvPr userDrawn="1"/>
              </p:nvPicPr>
              <p:blipFill>
                <a:blip r:embed="rId2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28" name="Listenebene verringern"/>
                <p:cNvPicPr>
                  <a:picLocks noChangeAspect="1"/>
                </p:cNvPicPr>
                <p:nvPr userDrawn="1"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7" name="Daimler AG (Wortmarke)"/>
          <p:cNvSpPr>
            <a:spLocks noChangeArrowheads="1"/>
          </p:cNvSpPr>
          <p:nvPr userDrawn="1"/>
        </p:nvSpPr>
        <p:spPr bwMode="auto">
          <a:xfrm>
            <a:off x="629672" y="6564880"/>
            <a:ext cx="2086913" cy="2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r>
              <a:rPr lang="en-GB" sz="1199" dirty="0" smtClean="0">
                <a:latin typeface="+mn-lt"/>
                <a:cs typeface="Daimler CS"/>
              </a:rPr>
              <a:t>Daimler AG</a:t>
            </a:r>
            <a:endParaRPr lang="en-GB" sz="1199" dirty="0">
              <a:latin typeface="+mn-lt"/>
              <a:cs typeface="Daimler 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9671" y="285982"/>
            <a:ext cx="10931106" cy="332142"/>
          </a:xfrm>
        </p:spPr>
        <p:txBody>
          <a:bodyPr/>
          <a:lstStyle/>
          <a:p>
            <a:r>
              <a:rPr lang="en-GB" noProof="0" dirty="0" smtClean="0"/>
              <a:t>Headline in CorpoS (Body) 35 pt.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dirty="0" smtClean="0"/>
              <a:t>Title of presentation / Department / Date /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dirty="0" smtClean="0"/>
              <a:t>Page </a:t>
            </a:r>
            <a:fld id="{52531704-8F80-415D-BD2B-6B9991AE822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29909" y="1233203"/>
            <a:ext cx="10930593" cy="5254635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61785636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777">
          <p15:clr>
            <a:srgbClr val="FBAE40"/>
          </p15:clr>
        </p15:guide>
        <p15:guide id="3" orient="horz" pos="4020">
          <p15:clr>
            <a:srgbClr val="FBAE40"/>
          </p15:clr>
        </p15:guide>
      </p15:sldGuideLst>
    </p:ext>
  </p:extLst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Blank/ Headline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534" name="think-cell スライド" r:id="rId4" imgW="469" imgH="470" progId="TCLayout.ActiveDocument.1">
                  <p:embed/>
                </p:oleObj>
              </mc:Choice>
              <mc:Fallback>
                <p:oleObj name="think-cell スライド" r:id="rId4" imgW="469" imgH="470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10933350" cy="664284"/>
          </a:xfrm>
        </p:spPr>
        <p:txBody>
          <a:bodyPr/>
          <a:lstStyle/>
          <a:p>
            <a:r>
              <a:rPr lang="en-GB" noProof="0" dirty="0"/>
              <a:t>Headline in CorpoS (Body) 35 pt.</a:t>
            </a:r>
            <a:br>
              <a:rPr lang="en-GB" noProof="0" dirty="0"/>
            </a:br>
            <a:r>
              <a:rPr lang="en-GB" noProof="0" dirty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/>
              <a:t>FTC/A-A presentation for J. Goetz, 20 June 2018</a:t>
            </a:r>
            <a:endParaRPr lang="en-GB" dirty="0"/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/>
              <a:t>Page </a:t>
            </a:r>
            <a:fld id="{52531704-8F80-415D-BD2B-6B9991AE822F}" type="slidenum">
              <a:rPr lang="en-GB" smtClean="0"/>
              <a:pPr algn="r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2145754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</p15:sldGuideLst>
    </p:ext>
  </p:extLst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Blank/ Headline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558" name="think-cell スライド" r:id="rId4" imgW="469" imgH="470" progId="TCLayout.ActiveDocument.1">
                  <p:embed/>
                </p:oleObj>
              </mc:Choice>
              <mc:Fallback>
                <p:oleObj name="think-cell スライド" r:id="rId4" imgW="469" imgH="470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10933350" cy="664284"/>
          </a:xfrm>
        </p:spPr>
        <p:txBody>
          <a:bodyPr/>
          <a:lstStyle/>
          <a:p>
            <a:r>
              <a:rPr lang="en-GB" noProof="0" dirty="0"/>
              <a:t>Headline in CorpoS (Body) 35 pt.</a:t>
            </a:r>
            <a:br>
              <a:rPr lang="en-GB" noProof="0" dirty="0"/>
            </a:br>
            <a:r>
              <a:rPr lang="en-GB" noProof="0" dirty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/>
              <a:t>FTC/A-A presentation for J. Goetz, 20 June 2018</a:t>
            </a:r>
            <a:endParaRPr lang="en-GB" dirty="0"/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/>
              <a:t>Page </a:t>
            </a:r>
            <a:fld id="{52531704-8F80-415D-BD2B-6B9991AE822F}" type="slidenum">
              <a:rPr lang="en-GB" smtClean="0"/>
              <a:pPr algn="r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0758617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</p15:sldGuideLst>
    </p:ext>
  </p:extLst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Blank/ Headline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582" name="think-cell スライド" r:id="rId4" imgW="469" imgH="470" progId="TCLayout.ActiveDocument.1">
                  <p:embed/>
                </p:oleObj>
              </mc:Choice>
              <mc:Fallback>
                <p:oleObj name="think-cell スライド" r:id="rId4" imgW="469" imgH="470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10933350" cy="664284"/>
          </a:xfrm>
        </p:spPr>
        <p:txBody>
          <a:bodyPr/>
          <a:lstStyle/>
          <a:p>
            <a:r>
              <a:rPr lang="en-GB" noProof="0" dirty="0"/>
              <a:t>Headline in CorpoS (Body) 35 pt.</a:t>
            </a:r>
            <a:br>
              <a:rPr lang="en-GB" noProof="0" dirty="0"/>
            </a:br>
            <a:r>
              <a:rPr lang="en-GB" noProof="0" dirty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/>
              <a:t>FTC/A-A presentation for J. Goetz, 20 June 2018</a:t>
            </a:r>
            <a:endParaRPr lang="en-GB" dirty="0"/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/>
              <a:t>Page </a:t>
            </a:r>
            <a:fld id="{52531704-8F80-415D-BD2B-6B9991AE822F}" type="slidenum">
              <a:rPr lang="en-GB" smtClean="0"/>
              <a:pPr algn="r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4220477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</p15:sldGuideLst>
    </p:ext>
  </p:extLst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Blank/ Headline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606" name="think-cell スライド" r:id="rId4" imgW="469" imgH="470" progId="TCLayout.ActiveDocument.1">
                  <p:embed/>
                </p:oleObj>
              </mc:Choice>
              <mc:Fallback>
                <p:oleObj name="think-cell スライド" r:id="rId4" imgW="469" imgH="470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10933350" cy="664284"/>
          </a:xfrm>
        </p:spPr>
        <p:txBody>
          <a:bodyPr/>
          <a:lstStyle/>
          <a:p>
            <a:r>
              <a:rPr lang="en-GB" noProof="0" dirty="0"/>
              <a:t>Headline in CorpoS (Body) 35 pt.</a:t>
            </a:r>
            <a:br>
              <a:rPr lang="en-GB" noProof="0" dirty="0"/>
            </a:br>
            <a:r>
              <a:rPr lang="en-GB" noProof="0" dirty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/>
              <a:t>FTC/A-A presentation for J. Goetz, 20 June 2018</a:t>
            </a:r>
            <a:endParaRPr lang="en-GB" dirty="0"/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/>
              <a:t>Page </a:t>
            </a:r>
            <a:fld id="{52531704-8F80-415D-BD2B-6B9991AE822F}" type="slidenum">
              <a:rPr lang="en-GB" smtClean="0"/>
              <a:pPr algn="r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9817836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image/ 4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Regieanweisungen"/>
          <p:cNvGrpSpPr/>
          <p:nvPr/>
        </p:nvGrpSpPr>
        <p:grpSpPr>
          <a:xfrm>
            <a:off x="-2086913" y="-467892"/>
            <a:ext cx="13647691" cy="7792196"/>
            <a:chOff x="-2088000" y="-468000"/>
            <a:chExt cx="13654799" cy="7794000"/>
          </a:xfrm>
        </p:grpSpPr>
        <p:sp>
          <p:nvSpPr>
            <p:cNvPr id="17" name="Hilfslinien"/>
            <p:cNvSpPr txBox="1"/>
            <p:nvPr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99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how guides via menu bar: View // Show // tick Guides</a:t>
              </a:r>
            </a:p>
          </p:txBody>
        </p:sp>
        <p:sp>
          <p:nvSpPr>
            <p:cNvPr id="18" name="Fußzeile"/>
            <p:cNvSpPr txBox="1"/>
            <p:nvPr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1042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099" b="0" baseline="0" dirty="0" smtClean="0">
                  <a:solidFill>
                    <a:schemeClr val="accent5"/>
                  </a:solidFill>
                  <a:latin typeface="+mn-lt"/>
                </a:rPr>
                <a:t>Adjust footer (per slide or for several/all slides) via menu bar: Insert // Text // Header &amp; Footer</a:t>
              </a:r>
            </a:p>
          </p:txBody>
        </p:sp>
        <p:grpSp>
          <p:nvGrpSpPr>
            <p:cNvPr id="19" name="Hinweise links"/>
            <p:cNvGrpSpPr/>
            <p:nvPr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31" name="Folie Wechsel/Zurücksetzen/Textebenen"/>
              <p:cNvSpPr txBox="1"/>
              <p:nvPr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Reset the slide back to its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original form 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Slides // Rese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099" b="0" baseline="0" noProof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Change the slide layout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Slides // Layou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099" b="0" baseline="0" noProof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Change the text level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via menu bar: </a:t>
                </a:r>
                <a:b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</a:b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Paragraph // Increase/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Decrease List Level</a:t>
                </a:r>
              </a:p>
            </p:txBody>
          </p:sp>
          <p:grpSp>
            <p:nvGrpSpPr>
              <p:cNvPr id="32" name="Listenebenen"/>
              <p:cNvGrpSpPr/>
              <p:nvPr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33" name="Text // Listenebene erhöhen"/>
                <p:cNvSpPr txBox="1"/>
                <p:nvPr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38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999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Increase</a:t>
                  </a:r>
                </a:p>
                <a:p>
                  <a:pPr marL="0" marR="0" lvl="0" indent="0" algn="r" defTabSz="9138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999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sp>
              <p:nvSpPr>
                <p:cNvPr id="34" name="Text // Listenebene verringern"/>
                <p:cNvSpPr txBox="1"/>
                <p:nvPr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38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999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Decrease </a:t>
                  </a:r>
                </a:p>
                <a:p>
                  <a:pPr marL="0" marR="0" lvl="0" indent="0" algn="r" defTabSz="9138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999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pic>
              <p:nvPicPr>
                <p:cNvPr id="35" name="Listenebene erhöhen"/>
                <p:cNvPicPr>
                  <a:picLocks noChangeAspect="1"/>
                </p:cNvPicPr>
                <p:nvPr/>
              </p:nvPicPr>
              <p:blipFill>
                <a:blip r:embed="rId2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36" name="Listenebene verringern"/>
                <p:cNvPicPr>
                  <a:picLocks noChangeAspect="1"/>
                </p:cNvPicPr>
                <p:nvPr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20" name="Daimler AG (Wortmarke)"/>
          <p:cNvSpPr>
            <a:spLocks noChangeArrowheads="1"/>
          </p:cNvSpPr>
          <p:nvPr/>
        </p:nvSpPr>
        <p:spPr bwMode="auto">
          <a:xfrm>
            <a:off x="629672" y="6564880"/>
            <a:ext cx="2086913" cy="2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r>
              <a:rPr lang="en-GB" sz="1199" dirty="0" smtClean="0">
                <a:latin typeface="+mn-lt"/>
                <a:cs typeface="Daimler CS"/>
              </a:rPr>
              <a:t>Daimler AG</a:t>
            </a:r>
            <a:endParaRPr lang="en-GB" sz="1199" dirty="0">
              <a:latin typeface="+mn-lt"/>
              <a:cs typeface="Daimler CS"/>
            </a:endParaRP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178478-C14F-4056-BC7B-D4A0322B8D6E}" type="slidenum">
              <a:rPr lang="en-US" smtClean="0"/>
              <a:t>‹#›</a:t>
            </a:fld>
            <a:endParaRPr lang="en-US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3279297"/>
            <a:ext cx="6059905" cy="3207314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2096" y="3279297"/>
            <a:ext cx="6059905" cy="3207314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0" y="1"/>
            <a:ext cx="6059905" cy="3207314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132096" y="1"/>
            <a:ext cx="6059905" cy="3207314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6938819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Blank/ Headline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630" name="think-cell スライド" r:id="rId4" imgW="469" imgH="470" progId="TCLayout.ActiveDocument.1">
                  <p:embed/>
                </p:oleObj>
              </mc:Choice>
              <mc:Fallback>
                <p:oleObj name="think-cell スライド" r:id="rId4" imgW="469" imgH="470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10933350" cy="664284"/>
          </a:xfrm>
        </p:spPr>
        <p:txBody>
          <a:bodyPr/>
          <a:lstStyle/>
          <a:p>
            <a:r>
              <a:rPr lang="en-GB" noProof="0" dirty="0"/>
              <a:t>Headline in CorpoS (Body) 35 pt.</a:t>
            </a:r>
            <a:br>
              <a:rPr lang="en-GB" noProof="0" dirty="0"/>
            </a:br>
            <a:r>
              <a:rPr lang="en-GB" noProof="0" dirty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/>
              <a:t>FTC/A-A presentation for J. Goetz, 20 June 2018</a:t>
            </a:r>
            <a:endParaRPr lang="en-GB" dirty="0"/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/>
              <a:t>Page </a:t>
            </a:r>
            <a:fld id="{52531704-8F80-415D-BD2B-6B9991AE822F}" type="slidenum">
              <a:rPr lang="en-GB" smtClean="0"/>
              <a:pPr algn="r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30416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</p15:sldGuideLst>
    </p:ext>
  </p:extLst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4_Blank/ Headline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654" name="think-cell スライド" r:id="rId4" imgW="469" imgH="470" progId="TCLayout.ActiveDocument.1">
                  <p:embed/>
                </p:oleObj>
              </mc:Choice>
              <mc:Fallback>
                <p:oleObj name="think-cell スライド" r:id="rId4" imgW="469" imgH="470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10933350" cy="664284"/>
          </a:xfrm>
        </p:spPr>
        <p:txBody>
          <a:bodyPr/>
          <a:lstStyle/>
          <a:p>
            <a:r>
              <a:rPr lang="en-GB" noProof="0" dirty="0"/>
              <a:t>Headline in CorpoS (Body) 35 pt.</a:t>
            </a:r>
            <a:br>
              <a:rPr lang="en-GB" noProof="0" dirty="0"/>
            </a:br>
            <a:r>
              <a:rPr lang="en-GB" noProof="0" dirty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/>
              <a:t>FTC/A-A presentation for J. Goetz, 20 June 2018</a:t>
            </a:r>
            <a:endParaRPr lang="en-GB" dirty="0"/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/>
              <a:t>Page </a:t>
            </a:r>
            <a:fld id="{52531704-8F80-415D-BD2B-6B9991AE822F}" type="slidenum">
              <a:rPr lang="en-GB" smtClean="0"/>
              <a:pPr algn="r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4048078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</p15:sldGuideLst>
    </p:ext>
  </p:extLst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ext/ content/ Headline 2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10933350" cy="664284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Headline in CorpoS (Body) 35 pt.</a:t>
            </a:r>
            <a:br>
              <a:rPr lang="en-GB" noProof="0" dirty="0" smtClean="0"/>
            </a:br>
            <a:r>
              <a:rPr lang="en-GB" noProof="0" dirty="0" smtClean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Interface error revealed system interface specification issue / WS4 / 09 JAN 2019</a:t>
            </a:r>
            <a:endParaRPr lang="en-GB" dirty="0" smtClean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629909" y="1504602"/>
            <a:ext cx="10930594" cy="4983236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noProof="0" dirty="0" smtClean="0"/>
              <a:t>Insert content or text in CorpoS (Body) 24 pt. (Mark-ups in Bold) // for conclusion, summary or short highlight: Home // Paragraph// Increase Li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 (Conclusion, summary or short highlight)</a:t>
            </a:r>
          </a:p>
          <a:p>
            <a:pPr lvl="4"/>
            <a:r>
              <a:rPr lang="en-GB" dirty="0" smtClean="0"/>
              <a:t>Fifth level</a:t>
            </a:r>
          </a:p>
          <a:p>
            <a:pPr lvl="5"/>
            <a:r>
              <a:rPr lang="en-GB" dirty="0" smtClean="0"/>
              <a:t>Sixth level</a:t>
            </a:r>
          </a:p>
          <a:p>
            <a:pPr lvl="6"/>
            <a:r>
              <a:rPr lang="en-GB" dirty="0" smtClean="0"/>
              <a:t>Sevens level</a:t>
            </a:r>
          </a:p>
          <a:p>
            <a:pPr lvl="7"/>
            <a:r>
              <a:rPr lang="en-GB" dirty="0" smtClean="0"/>
              <a:t>Eight level</a:t>
            </a:r>
          </a:p>
          <a:p>
            <a:pPr lvl="8"/>
            <a:r>
              <a:rPr lang="en-GB" dirty="0" smtClean="0"/>
              <a:t>Ninth level</a:t>
            </a: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 smtClean="0"/>
              <a:t> </a:t>
            </a:r>
            <a:fld id="{52531704-8F80-415D-BD2B-6B9991AE822F}" type="slidenum">
              <a:rPr lang="en-GB" smtClean="0"/>
              <a:pPr algn="r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8016811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  <p15:guide id="3" orient="horz" pos="950">
          <p15:clr>
            <a:srgbClr val="FBAE40"/>
          </p15:clr>
        </p15:guide>
      </p15:sldGuideLst>
    </p:ext>
  </p:extLst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ext/ content/ Headline 2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10933350" cy="664284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Headline in CorpoS (Body) 35 pt.</a:t>
            </a:r>
            <a:br>
              <a:rPr lang="en-GB" noProof="0" dirty="0" smtClean="0"/>
            </a:br>
            <a:r>
              <a:rPr lang="en-GB" noProof="0" dirty="0" smtClean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Interface error revealed system interface specification issue / WS4 / 09 JAN 2019</a:t>
            </a:r>
            <a:endParaRPr lang="en-GB" dirty="0" smtClean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629909" y="1504602"/>
            <a:ext cx="10930594" cy="4983236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noProof="0" dirty="0" smtClean="0"/>
              <a:t>Insert content or text in CorpoS (Body) 24 pt. (Mark-ups in Bold) // for conclusion, summary or short highlight: Home // Paragraph// Increase Li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 (Conclusion, summary or short highlight)</a:t>
            </a:r>
          </a:p>
          <a:p>
            <a:pPr lvl="4"/>
            <a:r>
              <a:rPr lang="en-GB" dirty="0" smtClean="0"/>
              <a:t>Fifth level</a:t>
            </a:r>
          </a:p>
          <a:p>
            <a:pPr lvl="5"/>
            <a:r>
              <a:rPr lang="en-GB" dirty="0" smtClean="0"/>
              <a:t>Sixth level</a:t>
            </a:r>
          </a:p>
          <a:p>
            <a:pPr lvl="6"/>
            <a:r>
              <a:rPr lang="en-GB" dirty="0" smtClean="0"/>
              <a:t>Sevens level</a:t>
            </a:r>
          </a:p>
          <a:p>
            <a:pPr lvl="7"/>
            <a:r>
              <a:rPr lang="en-GB" dirty="0" smtClean="0"/>
              <a:t>Eight level</a:t>
            </a:r>
          </a:p>
          <a:p>
            <a:pPr lvl="8"/>
            <a:r>
              <a:rPr lang="en-GB" dirty="0" smtClean="0"/>
              <a:t>Ninth level</a:t>
            </a: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 smtClean="0"/>
              <a:t> </a:t>
            </a:r>
            <a:fld id="{52531704-8F80-415D-BD2B-6B9991AE822F}" type="slidenum">
              <a:rPr lang="en-GB" smtClean="0"/>
              <a:pPr algn="r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4750177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  <p15:guide id="3" orient="horz" pos="950">
          <p15:clr>
            <a:srgbClr val="FBAE40"/>
          </p15:clr>
        </p15:guide>
      </p15:sldGuideLst>
    </p:ext>
  </p:extLst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/ Headline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678" name="think-cell スライド" r:id="rId4" imgW="216" imgH="216" progId="TCLayout.ActiveDocument.1">
                  <p:embed/>
                </p:oleObj>
              </mc:Choice>
              <mc:Fallback>
                <p:oleObj name="think-cell スライド" r:id="rId4" imgW="216" imgH="216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10933350" cy="664284"/>
          </a:xfrm>
        </p:spPr>
        <p:txBody>
          <a:bodyPr/>
          <a:lstStyle/>
          <a:p>
            <a:r>
              <a:rPr lang="en-GB" noProof="0" dirty="0" smtClean="0"/>
              <a:t>Headline in CorpoS (Body) 35 pt.</a:t>
            </a:r>
            <a:br>
              <a:rPr lang="en-GB" noProof="0" dirty="0" smtClean="0"/>
            </a:br>
            <a:r>
              <a:rPr lang="en-GB" noProof="0" dirty="0" smtClean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dirty="0" smtClean="0"/>
              <a:t>Title of presentation / Department / Date</a:t>
            </a:r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8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8">
                <a:latin typeface="+mn-lt"/>
              </a:defRPr>
            </a:lvl2pPr>
            <a:lvl3pPr marL="0" indent="0" algn="l">
              <a:spcBef>
                <a:spcPts val="0"/>
              </a:spcBef>
              <a:defRPr sz="1198">
                <a:latin typeface="+mn-lt"/>
              </a:defRPr>
            </a:lvl3pPr>
            <a:lvl4pPr marL="0" indent="0" algn="l">
              <a:spcBef>
                <a:spcPts val="0"/>
              </a:spcBef>
              <a:defRPr sz="1198">
                <a:latin typeface="+mn-lt"/>
              </a:defRPr>
            </a:lvl4pPr>
            <a:lvl5pPr marL="0" indent="0" algn="l">
              <a:spcBef>
                <a:spcPts val="0"/>
              </a:spcBef>
              <a:defRPr sz="1198">
                <a:latin typeface="+mn-lt"/>
              </a:defRPr>
            </a:lvl5pPr>
            <a:lvl6pPr marL="0" indent="0" algn="l">
              <a:spcBef>
                <a:spcPts val="0"/>
              </a:spcBef>
              <a:defRPr sz="1198">
                <a:latin typeface="+mn-lt"/>
              </a:defRPr>
            </a:lvl6pPr>
            <a:lvl7pPr marL="0" indent="0" algn="l">
              <a:spcBef>
                <a:spcPts val="0"/>
              </a:spcBef>
              <a:defRPr sz="1198">
                <a:latin typeface="+mn-lt"/>
              </a:defRPr>
            </a:lvl7pPr>
            <a:lvl8pPr marL="0" indent="0" algn="l">
              <a:spcBef>
                <a:spcPts val="0"/>
              </a:spcBef>
              <a:defRPr sz="1198">
                <a:latin typeface="+mn-lt"/>
              </a:defRPr>
            </a:lvl8pPr>
            <a:lvl9pPr marL="0" indent="0" algn="l">
              <a:spcBef>
                <a:spcPts val="0"/>
              </a:spcBef>
              <a:defRPr sz="1198">
                <a:latin typeface="+mn-lt"/>
              </a:defRPr>
            </a:lvl9pPr>
          </a:lstStyle>
          <a:p>
            <a:pPr algn="r"/>
            <a:r>
              <a:rPr lang="en-GB" dirty="0" smtClean="0"/>
              <a:t> </a:t>
            </a:r>
            <a:fld id="{52531704-8F80-415D-BD2B-6B9991AE822F}" type="slidenum">
              <a:rPr lang="en-GB" smtClean="0"/>
              <a:pPr algn="r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4588137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</p15:sldGuideLst>
    </p:ext>
  </p:extLst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Blank/ Headline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702" name="think-cell スライド" r:id="rId4" imgW="216" imgH="216" progId="TCLayout.ActiveDocument.1">
                  <p:embed/>
                </p:oleObj>
              </mc:Choice>
              <mc:Fallback>
                <p:oleObj name="think-cell スライド" r:id="rId4" imgW="216" imgH="216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10933350" cy="664284"/>
          </a:xfrm>
        </p:spPr>
        <p:txBody>
          <a:bodyPr/>
          <a:lstStyle/>
          <a:p>
            <a:r>
              <a:rPr lang="en-GB" noProof="0" dirty="0" smtClean="0"/>
              <a:t>Headline in CorpoS (Body) 35 pt.</a:t>
            </a:r>
            <a:br>
              <a:rPr lang="en-GB" noProof="0" dirty="0" smtClean="0"/>
            </a:br>
            <a:r>
              <a:rPr lang="en-GB" noProof="0" dirty="0" smtClean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dirty="0" smtClean="0"/>
              <a:t>Title of presentation / Department / Date</a:t>
            </a:r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8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8">
                <a:latin typeface="+mn-lt"/>
              </a:defRPr>
            </a:lvl2pPr>
            <a:lvl3pPr marL="0" indent="0" algn="l">
              <a:spcBef>
                <a:spcPts val="0"/>
              </a:spcBef>
              <a:defRPr sz="1198">
                <a:latin typeface="+mn-lt"/>
              </a:defRPr>
            </a:lvl3pPr>
            <a:lvl4pPr marL="0" indent="0" algn="l">
              <a:spcBef>
                <a:spcPts val="0"/>
              </a:spcBef>
              <a:defRPr sz="1198">
                <a:latin typeface="+mn-lt"/>
              </a:defRPr>
            </a:lvl4pPr>
            <a:lvl5pPr marL="0" indent="0" algn="l">
              <a:spcBef>
                <a:spcPts val="0"/>
              </a:spcBef>
              <a:defRPr sz="1198">
                <a:latin typeface="+mn-lt"/>
              </a:defRPr>
            </a:lvl5pPr>
            <a:lvl6pPr marL="0" indent="0" algn="l">
              <a:spcBef>
                <a:spcPts val="0"/>
              </a:spcBef>
              <a:defRPr sz="1198">
                <a:latin typeface="+mn-lt"/>
              </a:defRPr>
            </a:lvl6pPr>
            <a:lvl7pPr marL="0" indent="0" algn="l">
              <a:spcBef>
                <a:spcPts val="0"/>
              </a:spcBef>
              <a:defRPr sz="1198">
                <a:latin typeface="+mn-lt"/>
              </a:defRPr>
            </a:lvl7pPr>
            <a:lvl8pPr marL="0" indent="0" algn="l">
              <a:spcBef>
                <a:spcPts val="0"/>
              </a:spcBef>
              <a:defRPr sz="1198">
                <a:latin typeface="+mn-lt"/>
              </a:defRPr>
            </a:lvl8pPr>
            <a:lvl9pPr marL="0" indent="0" algn="l">
              <a:spcBef>
                <a:spcPts val="0"/>
              </a:spcBef>
              <a:defRPr sz="1198">
                <a:latin typeface="+mn-lt"/>
              </a:defRPr>
            </a:lvl9pPr>
          </a:lstStyle>
          <a:p>
            <a:pPr algn="r"/>
            <a:r>
              <a:rPr lang="en-GB" dirty="0" smtClean="0"/>
              <a:t> </a:t>
            </a:r>
            <a:fld id="{52531704-8F80-415D-BD2B-6B9991AE822F}" type="slidenum">
              <a:rPr lang="en-GB" smtClean="0"/>
              <a:pPr algn="r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7534047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</p15:sldGuideLst>
    </p:ext>
  </p:extLst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6_Blank/ Headline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10933350" cy="664284"/>
          </a:xfrm>
        </p:spPr>
        <p:txBody>
          <a:bodyPr/>
          <a:lstStyle/>
          <a:p>
            <a:r>
              <a:rPr lang="en-GB" noProof="0" dirty="0" smtClean="0"/>
              <a:t>Headline in CorpoS (Body) 35 pt.</a:t>
            </a:r>
            <a:br>
              <a:rPr lang="en-GB" noProof="0" dirty="0" smtClean="0"/>
            </a:br>
            <a:r>
              <a:rPr lang="en-GB" noProof="0" dirty="0" smtClean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 smtClean="0"/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 smtClean="0"/>
              <a:t> </a:t>
            </a:r>
            <a:fld id="{52531704-8F80-415D-BD2B-6B9991AE822F}" type="slidenum">
              <a:rPr lang="en-GB" smtClean="0"/>
              <a:pPr algn="r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7498220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</p15:sldGuideLst>
    </p:ext>
  </p:extLst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/ Headline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726" name="think-cell スライド" r:id="rId4" imgW="216" imgH="216" progId="TCLayout.ActiveDocument.1">
                  <p:embed/>
                </p:oleObj>
              </mc:Choice>
              <mc:Fallback>
                <p:oleObj name="think-cell スライド" r:id="rId4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3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10933350" cy="664387"/>
          </a:xfrm>
        </p:spPr>
        <p:txBody>
          <a:bodyPr/>
          <a:lstStyle/>
          <a:p>
            <a:r>
              <a:rPr lang="en-GB" noProof="0" dirty="0" smtClean="0"/>
              <a:t>Headline in CorpoS (Body) 35 pt.</a:t>
            </a:r>
            <a:br>
              <a:rPr lang="en-GB" noProof="0" dirty="0" smtClean="0"/>
            </a:br>
            <a:r>
              <a:rPr lang="en-GB" noProof="0" dirty="0" smtClean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FORCE OpCom/CS Retail Excellence/February 21, 2019</a:t>
            </a:r>
            <a:endParaRPr lang="en-GB" dirty="0" smtClean="0">
              <a:solidFill>
                <a:prstClr val="black"/>
              </a:solidFill>
            </a:endParaRPr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 smtClean="0">
                <a:solidFill>
                  <a:prstClr val="black"/>
                </a:solidFill>
              </a:rPr>
              <a:t> </a:t>
            </a:r>
            <a:fld id="{52531704-8F80-415D-BD2B-6B9991AE822F}" type="slidenum">
              <a:rPr lang="en-GB" smtClean="0">
                <a:solidFill>
                  <a:prstClr val="black"/>
                </a:solidFill>
              </a:rPr>
              <a:pPr algn="r"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169655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</p15:sldGuideLst>
    </p:ext>
  </p:extLst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2/4 brushe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28323" y="5121280"/>
            <a:ext cx="10932181" cy="1025684"/>
          </a:xfrm>
        </p:spPr>
        <p:txBody>
          <a:bodyPr wrap="square" anchor="b" anchorCtr="0">
            <a:spAutoFit/>
          </a:bodyPr>
          <a:lstStyle>
            <a:lvl1pPr>
              <a:defRPr/>
            </a:lvl1pPr>
          </a:lstStyle>
          <a:p>
            <a:r>
              <a:rPr lang="en-US" dirty="0" smtClean="0"/>
              <a:t>Referent’s name: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</a:t>
            </a:r>
            <a:r>
              <a:rPr lang="en-US" dirty="0" smtClean="0"/>
              <a:t>(Body) 35 pt. Presentation title</a:t>
            </a:r>
            <a:br>
              <a:rPr lang="en-US" dirty="0" smtClean="0"/>
            </a:br>
            <a:r>
              <a:rPr lang="en-US" dirty="0" smtClean="0"/>
              <a:t>in two or more lines of text, dd. </a:t>
            </a:r>
            <a:r>
              <a:rPr lang="en-US" dirty="0" err="1" smtClean="0"/>
              <a:t>mmmm</a:t>
            </a:r>
            <a:r>
              <a:rPr lang="en-US" dirty="0" smtClean="0"/>
              <a:t> </a:t>
            </a:r>
            <a:r>
              <a:rPr lang="en-US" dirty="0" err="1" smtClean="0"/>
              <a:t>yyyy</a:t>
            </a:r>
            <a:endParaRPr lang="en-US" dirty="0"/>
          </a:p>
        </p:txBody>
      </p:sp>
      <p:pic>
        <p:nvPicPr>
          <p:cNvPr id="28" name="Wortmarke DAIMLER" descr="Daimler_RGB_100mm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9672" y="790853"/>
            <a:ext cx="3418220" cy="462728"/>
          </a:xfrm>
          <a:prstGeom prst="rect">
            <a:avLst/>
          </a:prstGeom>
        </p:spPr>
      </p:pic>
      <p:pic>
        <p:nvPicPr>
          <p:cNvPr id="4" name="Wortmarke DAIMLER" descr="Daimler_RGB_100mm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672" y="790853"/>
            <a:ext cx="3418220" cy="462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27021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130" name="think-cell スライド" r:id="rId4" imgW="395" imgH="394" progId="TCLayout.ActiveDocument.1">
                  <p:embed/>
                </p:oleObj>
              </mc:Choice>
              <mc:Fallback>
                <p:oleObj name="think-cell スライド" r:id="rId4" imgW="395" imgH="39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9671" y="285982"/>
            <a:ext cx="10931106" cy="1151733"/>
          </a:xfrm>
        </p:spPr>
        <p:txBody>
          <a:bodyPr/>
          <a:lstStyle/>
          <a:p>
            <a:r>
              <a:rPr lang="en-US" noProof="0" dirty="0" smtClean="0"/>
              <a:t>Headline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 35 pt.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29671" y="1504603"/>
            <a:ext cx="10930387" cy="4875670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907825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image/ 3 column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Regieanweisungen"/>
          <p:cNvGrpSpPr/>
          <p:nvPr/>
        </p:nvGrpSpPr>
        <p:grpSpPr>
          <a:xfrm>
            <a:off x="-2086913" y="-467892"/>
            <a:ext cx="13647691" cy="7792196"/>
            <a:chOff x="-2088000" y="-468000"/>
            <a:chExt cx="13654799" cy="7794000"/>
          </a:xfrm>
        </p:grpSpPr>
        <p:sp>
          <p:nvSpPr>
            <p:cNvPr id="19" name="Hilfslinien"/>
            <p:cNvSpPr txBox="1"/>
            <p:nvPr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99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how guides via menu bar: View // Show // tick Guides</a:t>
              </a:r>
            </a:p>
          </p:txBody>
        </p:sp>
        <p:sp>
          <p:nvSpPr>
            <p:cNvPr id="20" name="Fußzeile"/>
            <p:cNvSpPr txBox="1"/>
            <p:nvPr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1042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099" b="0" baseline="0" dirty="0" smtClean="0">
                  <a:solidFill>
                    <a:schemeClr val="accent5"/>
                  </a:solidFill>
                  <a:latin typeface="+mn-lt"/>
                </a:rPr>
                <a:t>Adjust footer (per slide or for several/all slides) via menu bar: Insert // Text // Header &amp; Footer</a:t>
              </a:r>
            </a:p>
          </p:txBody>
        </p:sp>
        <p:grpSp>
          <p:nvGrpSpPr>
            <p:cNvPr id="21" name="Hinweise links"/>
            <p:cNvGrpSpPr/>
            <p:nvPr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22" name="Folie Wechsel/Zurücksetzen/Textebenen"/>
              <p:cNvSpPr txBox="1"/>
              <p:nvPr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Reset the slide back to its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original form 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Slides // Rese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099" b="0" baseline="0" noProof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Change the slide layout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Slides // Layou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099" b="0" baseline="0" noProof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Change the text level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via menu bar: </a:t>
                </a:r>
                <a:b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</a:b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Paragraph // Increase/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Decrease List Level</a:t>
                </a:r>
              </a:p>
            </p:txBody>
          </p:sp>
          <p:grpSp>
            <p:nvGrpSpPr>
              <p:cNvPr id="23" name="Listenebenen"/>
              <p:cNvGrpSpPr/>
              <p:nvPr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35" name="Text // Listenebene erhöhen"/>
                <p:cNvSpPr txBox="1"/>
                <p:nvPr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38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999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Increase</a:t>
                  </a:r>
                </a:p>
                <a:p>
                  <a:pPr marL="0" marR="0" lvl="0" indent="0" algn="r" defTabSz="9138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999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sp>
              <p:nvSpPr>
                <p:cNvPr id="36" name="Text // Listenebene verringern"/>
                <p:cNvSpPr txBox="1"/>
                <p:nvPr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38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999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Decrease </a:t>
                  </a:r>
                </a:p>
                <a:p>
                  <a:pPr marL="0" marR="0" lvl="0" indent="0" algn="r" defTabSz="9138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999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pic>
              <p:nvPicPr>
                <p:cNvPr id="37" name="Listenebene erhöhen"/>
                <p:cNvPicPr>
                  <a:picLocks noChangeAspect="1"/>
                </p:cNvPicPr>
                <p:nvPr/>
              </p:nvPicPr>
              <p:blipFill>
                <a:blip r:embed="rId2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38" name="Listenebene verringern"/>
                <p:cNvPicPr>
                  <a:picLocks noChangeAspect="1"/>
                </p:cNvPicPr>
                <p:nvPr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24" name="Daimler AG (Wortmarke)"/>
          <p:cNvSpPr>
            <a:spLocks noChangeArrowheads="1"/>
          </p:cNvSpPr>
          <p:nvPr/>
        </p:nvSpPr>
        <p:spPr bwMode="auto">
          <a:xfrm>
            <a:off x="629672" y="6564880"/>
            <a:ext cx="2086913" cy="2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r>
              <a:rPr lang="en-GB" sz="1199" dirty="0" smtClean="0">
                <a:latin typeface="+mn-lt"/>
                <a:cs typeface="Daimler CS"/>
              </a:rPr>
              <a:t>Daimler AG</a:t>
            </a:r>
            <a:endParaRPr lang="en-GB" sz="1199" dirty="0">
              <a:latin typeface="+mn-lt"/>
              <a:cs typeface="Daimler CS"/>
            </a:endParaRP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178478-C14F-4056-BC7B-D4A0322B8D6E}" type="slidenum">
              <a:rPr lang="en-US" smtClean="0"/>
              <a:t>‹#›</a:t>
            </a:fld>
            <a:endParaRPr lang="en-US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1" y="0"/>
            <a:ext cx="3841337" cy="6486611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3913531" y="0"/>
            <a:ext cx="4199925" cy="6486611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8185649" y="0"/>
            <a:ext cx="4006350" cy="6486611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838143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  <p15:guide id="2" pos="2421">
          <p15:clr>
            <a:srgbClr val="FBAE40"/>
          </p15:clr>
        </p15:guide>
        <p15:guide id="3" pos="5159">
          <p15:clr>
            <a:srgbClr val="FBAE40"/>
          </p15:clr>
        </p15:guide>
        <p15:guide id="4" pos="2465">
          <p15:clr>
            <a:srgbClr val="FBAE40"/>
          </p15:clr>
        </p15:guide>
        <p15:guide id="5" pos="5112">
          <p15:clr>
            <a:srgbClr val="FBAE40"/>
          </p15:clr>
        </p15:guide>
      </p15:sldGuideLst>
    </p:ext>
  </p:extLst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586" name="think-cell スライド" r:id="rId5" imgW="395" imgH="394" progId="TCLayout.ActiveDocument.1">
                  <p:embed/>
                </p:oleObj>
              </mc:Choice>
              <mc:Fallback>
                <p:oleObj name="think-cell スライド" r:id="rId5" imgW="395" imgH="39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9671" y="285982"/>
            <a:ext cx="10931106" cy="1151733"/>
          </a:xfrm>
        </p:spPr>
        <p:txBody>
          <a:bodyPr/>
          <a:lstStyle/>
          <a:p>
            <a:r>
              <a:rPr lang="en-US" noProof="0" dirty="0" smtClean="0"/>
              <a:t>Headline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 35 pt.</a:t>
            </a:r>
            <a:endParaRPr lang="en-US" dirty="0"/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587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542599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020">
          <p15:clr>
            <a:srgbClr val="FBAE40"/>
          </p15:clr>
        </p15:guide>
      </p15:sldGuideLst>
    </p:ext>
  </p:extLst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9727461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Headline for Agenda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 35 pt. </a:t>
            </a:r>
            <a:br>
              <a:rPr lang="en-US" noProof="0" dirty="0" smtClean="0"/>
            </a:br>
            <a:r>
              <a:rPr lang="en-US" noProof="0" dirty="0" smtClean="0"/>
              <a:t>one or two lines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28324" y="1504602"/>
            <a:ext cx="10932180" cy="4875670"/>
          </a:xfrm>
        </p:spPr>
        <p:txBody>
          <a:bodyPr/>
          <a:lstStyle>
            <a:lvl1pPr marL="359820" indent="-359820">
              <a:lnSpc>
                <a:spcPct val="100000"/>
              </a:lnSpc>
              <a:spcBef>
                <a:spcPts val="300"/>
              </a:spcBef>
              <a:buSzPct val="100000"/>
              <a:buFont typeface="+mj-lt"/>
              <a:buAutoNum type="arabicPeriod"/>
              <a:defRPr>
                <a:solidFill>
                  <a:schemeClr val="tx1"/>
                </a:solidFill>
              </a:defRPr>
            </a:lvl1pPr>
            <a:lvl2pPr marL="359820" indent="-359820">
              <a:lnSpc>
                <a:spcPct val="100000"/>
              </a:lnSpc>
              <a:spcBef>
                <a:spcPts val="300"/>
              </a:spcBef>
              <a:buFont typeface="+mj-lt"/>
              <a:buAutoNum type="arabicPeriod"/>
              <a:defRPr>
                <a:solidFill>
                  <a:schemeClr val="tx1"/>
                </a:solidFill>
              </a:defRPr>
            </a:lvl2pPr>
            <a:lvl3pPr marL="359820" indent="-359820">
              <a:lnSpc>
                <a:spcPct val="100000"/>
              </a:lnSpc>
              <a:spcBef>
                <a:spcPts val="300"/>
              </a:spcBef>
              <a:buFont typeface="+mj-lt"/>
              <a:buAutoNum type="arabicPeriod"/>
              <a:defRPr>
                <a:solidFill>
                  <a:schemeClr val="tx1"/>
                </a:solidFill>
              </a:defRPr>
            </a:lvl3pPr>
            <a:lvl4pPr marL="359820" indent="-359820">
              <a:lnSpc>
                <a:spcPct val="100000"/>
              </a:lnSpc>
              <a:spcBef>
                <a:spcPts val="300"/>
              </a:spcBef>
              <a:buFont typeface="+mj-lt"/>
              <a:buAutoNum type="arabicPeriod"/>
              <a:defRPr>
                <a:solidFill>
                  <a:schemeClr val="tx1"/>
                </a:solidFill>
              </a:defRPr>
            </a:lvl4pPr>
            <a:lvl5pPr marL="359820" indent="-359820">
              <a:lnSpc>
                <a:spcPct val="100000"/>
              </a:lnSpc>
              <a:spcBef>
                <a:spcPts val="300"/>
              </a:spcBef>
              <a:buFont typeface="+mj-lt"/>
              <a:buAutoNum type="arabicPeriod"/>
              <a:defRPr>
                <a:solidFill>
                  <a:schemeClr val="tx1"/>
                </a:solidFill>
              </a:defRPr>
            </a:lvl5pPr>
            <a:lvl6pPr marL="359820" indent="-359820">
              <a:lnSpc>
                <a:spcPct val="100000"/>
              </a:lnSpc>
              <a:spcBef>
                <a:spcPts val="300"/>
              </a:spcBef>
              <a:buFont typeface="+mj-lt"/>
              <a:buAutoNum type="arabicPeriod"/>
              <a:defRPr>
                <a:solidFill>
                  <a:schemeClr val="tx1"/>
                </a:solidFill>
              </a:defRPr>
            </a:lvl6pPr>
            <a:lvl7pPr marL="359820" indent="-359820">
              <a:lnSpc>
                <a:spcPct val="100000"/>
              </a:lnSpc>
              <a:spcBef>
                <a:spcPts val="300"/>
              </a:spcBef>
              <a:buFont typeface="+mj-lt"/>
              <a:buAutoNum type="arabicPeriod"/>
              <a:defRPr>
                <a:solidFill>
                  <a:schemeClr val="tx1"/>
                </a:solidFill>
              </a:defRPr>
            </a:lvl7pPr>
            <a:lvl8pPr marL="359820" indent="-359820">
              <a:lnSpc>
                <a:spcPct val="100000"/>
              </a:lnSpc>
              <a:spcBef>
                <a:spcPts val="300"/>
              </a:spcBef>
              <a:buFont typeface="+mj-lt"/>
              <a:buAutoNum type="arabicPeriod"/>
              <a:defRPr>
                <a:solidFill>
                  <a:schemeClr val="tx1"/>
                </a:solidFill>
              </a:defRPr>
            </a:lvl8pPr>
            <a:lvl9pPr marL="359820" indent="-359820">
              <a:lnSpc>
                <a:spcPct val="100000"/>
              </a:lnSpc>
              <a:spcBef>
                <a:spcPts val="300"/>
              </a:spcBef>
              <a:buFont typeface="+mj-lt"/>
              <a:buAutoNum type="arabicPeriod"/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 smtClean="0"/>
              <a:t>Insert Agenda point</a:t>
            </a:r>
          </a:p>
          <a:p>
            <a:pPr lvl="1"/>
            <a:r>
              <a:rPr lang="en-US" dirty="0" smtClean="0"/>
              <a:t>Second level 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s level</a:t>
            </a:r>
          </a:p>
          <a:p>
            <a:pPr lvl="7"/>
            <a:r>
              <a:rPr lang="en-US" dirty="0" smtClean="0"/>
              <a:t>Eight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425268004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178" name="think-cell スライド" r:id="rId4" imgW="395" imgH="394" progId="TCLayout.ActiveDocument.1">
                  <p:embed/>
                </p:oleObj>
              </mc:Choice>
              <mc:Fallback>
                <p:oleObj name="think-cell スライド" r:id="rId4" imgW="395" imgH="39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9817" y="576000"/>
            <a:ext cx="10620553" cy="385200"/>
          </a:xfrm>
        </p:spPr>
        <p:txBody>
          <a:bodyPr/>
          <a:lstStyle>
            <a:lvl1pPr>
              <a:defRPr>
                <a:solidFill>
                  <a:srgbClr val="12263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779817" y="2019600"/>
            <a:ext cx="10620553" cy="4269600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779817" y="968400"/>
            <a:ext cx="10620553" cy="385200"/>
          </a:xfrm>
        </p:spPr>
        <p:txBody>
          <a:bodyPr>
            <a:norm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US" sz="1799" b="0" i="1" dirty="0">
                <a:solidFill>
                  <a:schemeClr val="tx2"/>
                </a:solidFill>
                <a:latin typeface="Georgia" pitchFamily="18" charset="0"/>
                <a:ea typeface="ＭＳ Ｐゴシック" pitchFamily="80" charset="-128"/>
                <a:cs typeface="+mj-cs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198252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226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lowchart: Manual Input 7"/>
          <p:cNvSpPr/>
          <p:nvPr userDrawn="1"/>
        </p:nvSpPr>
        <p:spPr>
          <a:xfrm>
            <a:off x="0" y="3610066"/>
            <a:ext cx="12192000" cy="3247934"/>
          </a:xfrm>
          <a:prstGeom prst="flowChartManualInput">
            <a:avLst/>
          </a:prstGeom>
          <a:solidFill>
            <a:srgbClr val="E6E6E6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9E9E9E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99" dirty="0" err="1" smtClean="0">
              <a:solidFill>
                <a:prstClr val="white"/>
              </a:solidFill>
            </a:endParaRPr>
          </a:p>
        </p:txBody>
      </p:sp>
      <p:sp>
        <p:nvSpPr>
          <p:cNvPr id="9" name="Flowchart: Manual Input 8"/>
          <p:cNvSpPr/>
          <p:nvPr userDrawn="1"/>
        </p:nvSpPr>
        <p:spPr>
          <a:xfrm flipH="1" flipV="1">
            <a:off x="0" y="0"/>
            <a:ext cx="12192000" cy="4532850"/>
          </a:xfrm>
          <a:prstGeom prst="flowChartManualInput">
            <a:avLst/>
          </a:prstGeom>
          <a:solidFill>
            <a:srgbClr val="00566D"/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99" dirty="0" err="1" smtClean="0">
              <a:solidFill>
                <a:prstClr val="white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804" t="9756" r="6727" b="4972"/>
          <a:stretch/>
        </p:blipFill>
        <p:spPr>
          <a:xfrm>
            <a:off x="131974" y="3490768"/>
            <a:ext cx="3789529" cy="2442689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956" r="13359"/>
          <a:stretch>
            <a:fillRect/>
          </a:stretch>
        </p:blipFill>
        <p:spPr>
          <a:xfrm>
            <a:off x="9405114" y="3500651"/>
            <a:ext cx="2691445" cy="2418386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8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6741655" y="3672592"/>
            <a:ext cx="2935899" cy="2320471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40885" y="3474457"/>
            <a:ext cx="3570966" cy="2833362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10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04555" y="3766182"/>
            <a:ext cx="2312483" cy="2541637"/>
          </a:xfrm>
          <a:prstGeom prst="rect">
            <a:avLst/>
          </a:prstGeom>
        </p:spPr>
      </p:pic>
      <p:pic>
        <p:nvPicPr>
          <p:cNvPr id="17" name="Wortmarke DAIMLER" descr="Daimler_RGB_100mm.png"/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1254" y="791617"/>
            <a:ext cx="3417231" cy="462594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4648" y="613010"/>
            <a:ext cx="786654" cy="786882"/>
          </a:xfrm>
          <a:prstGeom prst="rect">
            <a:avLst/>
          </a:prstGeom>
        </p:spPr>
      </p:pic>
      <p:pic>
        <p:nvPicPr>
          <p:cNvPr id="20" name="Picture 3" descr="C:\Users\rajarrv\AppData\Local\Microsoft\Windows\Temporary Internet Files\Content.Outlook\3CY2KM7L\B-No Background FORCE LOGO.png"/>
          <p:cNvPicPr>
            <a:picLocks noChangeAspect="1" noChangeArrowheads="1"/>
          </p:cNvPicPr>
          <p:nvPr userDrawn="1"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419611" y="692628"/>
            <a:ext cx="2166326" cy="6188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itle 1"/>
          <p:cNvSpPr>
            <a:spLocks noGrp="1"/>
          </p:cNvSpPr>
          <p:nvPr>
            <p:ph type="title" hasCustomPrompt="1"/>
          </p:nvPr>
        </p:nvSpPr>
        <p:spPr>
          <a:xfrm>
            <a:off x="628326" y="2001480"/>
            <a:ext cx="10932181" cy="526176"/>
          </a:xfrm>
        </p:spPr>
        <p:txBody>
          <a:bodyPr anchor="b">
            <a:spAutoFit/>
          </a:bodyPr>
          <a:lstStyle>
            <a:lvl1pPr marL="0" indent="0" algn="l" defTabSz="1087871" rtl="0" eaLnBrk="1" latinLnBrk="0" hangingPunct="1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3598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CorpoS" pitchFamily="2" charset="0"/>
              </a:defRPr>
            </a:lvl1pPr>
          </a:lstStyle>
          <a:p>
            <a:pPr>
              <a:lnSpc>
                <a:spcPct val="95000"/>
              </a:lnSpc>
            </a:pPr>
            <a:r>
              <a:rPr lang="en-US" dirty="0" smtClean="0"/>
              <a:t>Title in </a:t>
            </a:r>
            <a:r>
              <a:rPr lang="en-US" dirty="0" err="1" smtClean="0"/>
              <a:t>CorpoS</a:t>
            </a:r>
            <a:r>
              <a:rPr lang="en-US" dirty="0" smtClean="0"/>
              <a:t> 35 </a:t>
            </a:r>
            <a:r>
              <a:rPr lang="en-US" dirty="0" err="1" smtClean="0"/>
              <a:t>pt</a:t>
            </a:r>
            <a:r>
              <a:rPr lang="en-US" dirty="0" smtClean="0"/>
              <a:t>, white, non-bold</a:t>
            </a:r>
            <a:endParaRPr lang="en-US" sz="2798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628326" y="6251051"/>
            <a:ext cx="10932181" cy="489060"/>
          </a:xfrm>
        </p:spPr>
        <p:txBody>
          <a:bodyPr/>
          <a:lstStyle>
            <a:lvl1pPr>
              <a:defRPr sz="1599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Date in 16 </a:t>
            </a:r>
            <a:r>
              <a:rPr lang="en-US" dirty="0" err="1" smtClean="0"/>
              <a:t>pt</a:t>
            </a:r>
            <a:r>
              <a:rPr lang="en-US" dirty="0" smtClean="0"/>
              <a:t>, black, non-bold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28326" y="2485504"/>
            <a:ext cx="10932181" cy="398371"/>
          </a:xfrm>
        </p:spPr>
        <p:txBody>
          <a:bodyPr/>
          <a:lstStyle>
            <a:lvl1pPr>
              <a:defRPr sz="2399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 smtClean="0"/>
              <a:t>Subtitle in </a:t>
            </a:r>
            <a:r>
              <a:rPr lang="en-US" dirty="0" err="1" smtClean="0"/>
              <a:t>CorposS</a:t>
            </a:r>
            <a:r>
              <a:rPr lang="en-US" dirty="0" smtClean="0"/>
              <a:t> 24 </a:t>
            </a:r>
            <a:r>
              <a:rPr lang="en-US" dirty="0" err="1" smtClean="0"/>
              <a:t>pt</a:t>
            </a:r>
            <a:r>
              <a:rPr lang="en-US" dirty="0" smtClean="0"/>
              <a:t>, white, non-bol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993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2353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lowchart: Manual Input 7"/>
          <p:cNvSpPr/>
          <p:nvPr userDrawn="1"/>
        </p:nvSpPr>
        <p:spPr>
          <a:xfrm>
            <a:off x="0" y="3610066"/>
            <a:ext cx="12192000" cy="3247934"/>
          </a:xfrm>
          <a:prstGeom prst="flowChartManualInput">
            <a:avLst/>
          </a:prstGeom>
          <a:solidFill>
            <a:srgbClr val="E6E6E6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9E9E9E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99" dirty="0" err="1" smtClean="0"/>
          </a:p>
        </p:txBody>
      </p:sp>
      <p:sp>
        <p:nvSpPr>
          <p:cNvPr id="9" name="Flowchart: Manual Input 8"/>
          <p:cNvSpPr/>
          <p:nvPr userDrawn="1"/>
        </p:nvSpPr>
        <p:spPr>
          <a:xfrm flipH="1" flipV="1">
            <a:off x="0" y="0"/>
            <a:ext cx="12192000" cy="4532850"/>
          </a:xfrm>
          <a:prstGeom prst="flowChartManualInput">
            <a:avLst/>
          </a:prstGeom>
          <a:solidFill>
            <a:srgbClr val="00566D"/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99" dirty="0" err="1" smtClean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804" t="9756" r="6727" b="4972"/>
          <a:stretch/>
        </p:blipFill>
        <p:spPr>
          <a:xfrm>
            <a:off x="131974" y="3490768"/>
            <a:ext cx="3789529" cy="2442689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956" r="13359"/>
          <a:stretch>
            <a:fillRect/>
          </a:stretch>
        </p:blipFill>
        <p:spPr>
          <a:xfrm>
            <a:off x="9405114" y="3500651"/>
            <a:ext cx="2691445" cy="2418386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8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6741655" y="3672592"/>
            <a:ext cx="2935899" cy="2320471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40885" y="3474457"/>
            <a:ext cx="3570966" cy="2833362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10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04555" y="3766182"/>
            <a:ext cx="2312483" cy="2541637"/>
          </a:xfrm>
          <a:prstGeom prst="rect">
            <a:avLst/>
          </a:prstGeom>
        </p:spPr>
      </p:pic>
      <p:pic>
        <p:nvPicPr>
          <p:cNvPr id="17" name="Wortmarke DAIMLER" descr="Daimler_RGB_100mm.png"/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1254" y="791617"/>
            <a:ext cx="3417231" cy="462594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4648" y="613010"/>
            <a:ext cx="786654" cy="786882"/>
          </a:xfrm>
          <a:prstGeom prst="rect">
            <a:avLst/>
          </a:prstGeom>
        </p:spPr>
      </p:pic>
      <p:pic>
        <p:nvPicPr>
          <p:cNvPr id="20" name="Picture 3" descr="C:\Users\rajarrv\AppData\Local\Microsoft\Windows\Temporary Internet Files\Content.Outlook\3CY2KM7L\B-No Background FORCE LOGO.png"/>
          <p:cNvPicPr>
            <a:picLocks noChangeAspect="1" noChangeArrowheads="1"/>
          </p:cNvPicPr>
          <p:nvPr userDrawn="1"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419611" y="692628"/>
            <a:ext cx="2166326" cy="6188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itle 1"/>
          <p:cNvSpPr>
            <a:spLocks noGrp="1"/>
          </p:cNvSpPr>
          <p:nvPr>
            <p:ph type="title" hasCustomPrompt="1"/>
          </p:nvPr>
        </p:nvSpPr>
        <p:spPr>
          <a:xfrm>
            <a:off x="628326" y="2001480"/>
            <a:ext cx="10932181" cy="526176"/>
          </a:xfrm>
        </p:spPr>
        <p:txBody>
          <a:bodyPr anchor="b">
            <a:spAutoFit/>
          </a:bodyPr>
          <a:lstStyle>
            <a:lvl1pPr marL="0" indent="0" algn="l" defTabSz="1087871" rtl="0" eaLnBrk="1" latinLnBrk="0" hangingPunct="1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3598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CorpoS" pitchFamily="2" charset="0"/>
              </a:defRPr>
            </a:lvl1pPr>
          </a:lstStyle>
          <a:p>
            <a:pPr>
              <a:lnSpc>
                <a:spcPct val="95000"/>
              </a:lnSpc>
            </a:pPr>
            <a:r>
              <a:rPr lang="en-US" dirty="0" smtClean="0"/>
              <a:t>Title in </a:t>
            </a:r>
            <a:r>
              <a:rPr lang="en-US" dirty="0" err="1" smtClean="0"/>
              <a:t>CorpoS</a:t>
            </a:r>
            <a:r>
              <a:rPr lang="en-US" dirty="0" smtClean="0"/>
              <a:t> 35 </a:t>
            </a:r>
            <a:r>
              <a:rPr lang="en-US" dirty="0" err="1" smtClean="0"/>
              <a:t>pt</a:t>
            </a:r>
            <a:r>
              <a:rPr lang="en-US" dirty="0" smtClean="0"/>
              <a:t>, white, non-bold</a:t>
            </a:r>
            <a:endParaRPr lang="en-US" sz="2798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628326" y="6251051"/>
            <a:ext cx="10932181" cy="489060"/>
          </a:xfrm>
        </p:spPr>
        <p:txBody>
          <a:bodyPr/>
          <a:lstStyle>
            <a:lvl1pPr>
              <a:defRPr sz="1599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Date in 16 </a:t>
            </a:r>
            <a:r>
              <a:rPr lang="en-US" dirty="0" err="1" smtClean="0"/>
              <a:t>pt</a:t>
            </a:r>
            <a:r>
              <a:rPr lang="en-US" dirty="0" smtClean="0"/>
              <a:t>, black, non-bold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28326" y="2485504"/>
            <a:ext cx="10932181" cy="398371"/>
          </a:xfrm>
        </p:spPr>
        <p:txBody>
          <a:bodyPr/>
          <a:lstStyle>
            <a:lvl1pPr>
              <a:defRPr sz="2399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 smtClean="0"/>
              <a:t>Subtitle in </a:t>
            </a:r>
            <a:r>
              <a:rPr lang="en-US" dirty="0" err="1" smtClean="0"/>
              <a:t>CorposS</a:t>
            </a:r>
            <a:r>
              <a:rPr lang="en-US" dirty="0" smtClean="0"/>
              <a:t> 24 </a:t>
            </a:r>
            <a:r>
              <a:rPr lang="en-US" dirty="0" err="1" smtClean="0"/>
              <a:t>pt</a:t>
            </a:r>
            <a:r>
              <a:rPr lang="en-US" dirty="0" smtClean="0"/>
              <a:t>, white, non-bol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78420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3377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98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CorpoS" pitchFamily="2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9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7319320" y="6506901"/>
            <a:ext cx="3414222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noProof="0" smtClean="0">
                <a:solidFill>
                  <a:schemeClr val="tx1"/>
                </a:solidFill>
              </a:rPr>
              <a:t>2018-11-20_FORCE_Issues in data cleansing_v03.pptx</a:t>
            </a:r>
            <a:endParaRPr lang="en-US" sz="1199" noProof="0" dirty="0">
              <a:solidFill>
                <a:schemeClr val="tx1"/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452155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401" name="think-cell スライド" r:id="rId5" imgW="321" imgH="325" progId="TCLayout.ActiveDocument.1">
                  <p:embed/>
                </p:oleObj>
              </mc:Choice>
              <mc:Fallback>
                <p:oleObj name="think-cell スライド" r:id="rId5" imgW="321" imgH="32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1" y="-1307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schemeClr val="bg1"/>
              </a:solidFill>
              <a:latin typeface="CorpoS" pitchFamily="2" charset="0"/>
              <a:sym typeface="CorpoS" pitchFamily="2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298">
                <a:solidFill>
                  <a:schemeClr val="tx2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1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7319320" y="6506901"/>
            <a:ext cx="3414222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noProof="0" smtClean="0">
                <a:solidFill>
                  <a:schemeClr val="tx1"/>
                </a:solidFill>
              </a:rPr>
              <a:t>2018-11-20_FORCE_Issues in data cleansing_v03.pptx</a:t>
            </a:r>
            <a:endParaRPr lang="en-US" sz="1199" noProof="0" dirty="0">
              <a:solidFill>
                <a:schemeClr val="tx1"/>
              </a:solidFill>
            </a:endParaRPr>
          </a:p>
        </p:txBody>
      </p:sp>
      <p:sp>
        <p:nvSpPr>
          <p:cNvPr id="13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992783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425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3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  <a:extLst/>
        </p:spPr>
        <p:txBody>
          <a:bodyPr lIns="274320" tIns="274320" rIns="274320" bIns="137160" anchor="b">
            <a:noAutofit/>
          </a:bodyPr>
          <a:lstStyle>
            <a:lvl1pPr marL="0" algn="l" defTabSz="913486" rtl="0" eaLnBrk="1" fontAlgn="auto" latinLnBrk="0" hangingPunct="1">
              <a:lnSpc>
                <a:spcPts val="5994"/>
              </a:lnSpc>
              <a:spcBef>
                <a:spcPts val="0"/>
              </a:spcBef>
              <a:spcAft>
                <a:spcPts val="0"/>
              </a:spcAft>
              <a:defRPr lang="en-US" sz="5394" kern="1200" baseline="0" dirty="0">
                <a:solidFill>
                  <a:schemeClr val="bg1"/>
                </a:solidFill>
                <a:latin typeface="+mj-lt"/>
                <a:ea typeface="+mn-ea"/>
                <a:cs typeface="+mj-cs"/>
                <a:sym typeface="CorpoS" pitchFamily="2" charset="0"/>
              </a:defRPr>
            </a:lvl1pPr>
          </a:lstStyle>
          <a:p>
            <a:r>
              <a:rPr lang="en-US" dirty="0" smtClean="0"/>
              <a:t>Click to add big statement text</a:t>
            </a:r>
            <a:endParaRPr lang="en-US" dirty="0"/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3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198" dirty="0">
              <a:solidFill>
                <a:schemeClr val="bg1"/>
              </a:solidFill>
              <a:latin typeface="CorpoS" pitchFamily="2" charset="0"/>
              <a:sym typeface="CorpoS" pitchFamily="2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7319320" y="6506901"/>
            <a:ext cx="3414222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noProof="0" smtClean="0">
                <a:solidFill>
                  <a:srgbClr val="FFFFFF"/>
                </a:solidFill>
              </a:rPr>
              <a:t>2018-11-20_FORCE_Issues in data cleansing_v03.pptx</a:t>
            </a:r>
            <a:endParaRPr lang="en-US" sz="1199" noProof="0" dirty="0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latin typeface="CorpoS" pitchFamily="2" charset="0"/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latin typeface="CorpoS" pitchFamily="2" charset="0"/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latin typeface="CorpoS" pitchFamily="2" charset="0"/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2234563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449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2"/>
            <a:ext cx="10936800" cy="2041200"/>
          </a:xfrm>
        </p:spPr>
        <p:txBody>
          <a:bodyPr anchor="t">
            <a:noAutofit/>
          </a:bodyPr>
          <a:lstStyle>
            <a:lvl1pPr>
              <a:defRPr sz="5394">
                <a:solidFill>
                  <a:schemeClr val="bg1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big statement text</a:t>
            </a:r>
            <a:endParaRPr lang="en-US" dirty="0"/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900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7319320" y="6506901"/>
            <a:ext cx="3414222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noProof="0" smtClean="0">
                <a:solidFill>
                  <a:srgbClr val="FFFFFF"/>
                </a:solidFill>
              </a:rPr>
              <a:t>2018-11-20_FORCE_Issues in data cleansing_v03.pptx</a:t>
            </a:r>
            <a:endParaRPr lang="en-US" sz="1199" noProof="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99785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image/ 6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Regieanweisungen"/>
          <p:cNvGrpSpPr/>
          <p:nvPr/>
        </p:nvGrpSpPr>
        <p:grpSpPr>
          <a:xfrm>
            <a:off x="-2086913" y="-467892"/>
            <a:ext cx="13647691" cy="7792196"/>
            <a:chOff x="-2088000" y="-468000"/>
            <a:chExt cx="13654799" cy="7794000"/>
          </a:xfrm>
        </p:grpSpPr>
        <p:sp>
          <p:nvSpPr>
            <p:cNvPr id="19" name="Hilfslinien"/>
            <p:cNvSpPr txBox="1"/>
            <p:nvPr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99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how guides via menu bar: View // Show // tick Guides</a:t>
              </a:r>
            </a:p>
          </p:txBody>
        </p:sp>
        <p:sp>
          <p:nvSpPr>
            <p:cNvPr id="20" name="Fußzeile"/>
            <p:cNvSpPr txBox="1"/>
            <p:nvPr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1042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099" b="0" baseline="0" dirty="0" smtClean="0">
                  <a:solidFill>
                    <a:schemeClr val="accent5"/>
                  </a:solidFill>
                  <a:latin typeface="+mn-lt"/>
                </a:rPr>
                <a:t>Adjust footer (per slide or for several/all slides) via menu bar: Insert // Text // Header &amp; Footer</a:t>
              </a:r>
            </a:p>
          </p:txBody>
        </p:sp>
        <p:grpSp>
          <p:nvGrpSpPr>
            <p:cNvPr id="21" name="Hinweise links"/>
            <p:cNvGrpSpPr/>
            <p:nvPr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22" name="Folie Wechsel/Zurücksetzen/Textebenen"/>
              <p:cNvSpPr txBox="1"/>
              <p:nvPr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Reset the slide back to its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original form 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Slides // Rese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099" b="0" baseline="0" noProof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Change the slide layout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Slides // Layou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099" b="0" baseline="0" noProof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Change the text level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via menu bar: </a:t>
                </a:r>
                <a:b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</a:b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Paragraph // Increase/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Decrease List Level</a:t>
                </a:r>
              </a:p>
            </p:txBody>
          </p:sp>
          <p:grpSp>
            <p:nvGrpSpPr>
              <p:cNvPr id="23" name="Listenebenen"/>
              <p:cNvGrpSpPr/>
              <p:nvPr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35" name="Text // Listenebene erhöhen"/>
                <p:cNvSpPr txBox="1"/>
                <p:nvPr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38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999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Increase</a:t>
                  </a:r>
                </a:p>
                <a:p>
                  <a:pPr marL="0" marR="0" lvl="0" indent="0" algn="r" defTabSz="9138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999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sp>
              <p:nvSpPr>
                <p:cNvPr id="36" name="Text // Listenebene verringern"/>
                <p:cNvSpPr txBox="1"/>
                <p:nvPr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38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999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Decrease </a:t>
                  </a:r>
                </a:p>
                <a:p>
                  <a:pPr marL="0" marR="0" lvl="0" indent="0" algn="r" defTabSz="9138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999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pic>
              <p:nvPicPr>
                <p:cNvPr id="37" name="Listenebene erhöhen"/>
                <p:cNvPicPr>
                  <a:picLocks noChangeAspect="1"/>
                </p:cNvPicPr>
                <p:nvPr/>
              </p:nvPicPr>
              <p:blipFill>
                <a:blip r:embed="rId2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38" name="Listenebene verringern"/>
                <p:cNvPicPr>
                  <a:picLocks noChangeAspect="1"/>
                </p:cNvPicPr>
                <p:nvPr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24" name="Daimler AG (Wortmarke)"/>
          <p:cNvSpPr>
            <a:spLocks noChangeArrowheads="1"/>
          </p:cNvSpPr>
          <p:nvPr/>
        </p:nvSpPr>
        <p:spPr bwMode="auto">
          <a:xfrm>
            <a:off x="629672" y="6564880"/>
            <a:ext cx="2086913" cy="2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r>
              <a:rPr lang="en-GB" sz="1199" dirty="0" smtClean="0">
                <a:latin typeface="+mn-lt"/>
                <a:cs typeface="Daimler CS"/>
              </a:rPr>
              <a:t>Daimler AG</a:t>
            </a:r>
            <a:endParaRPr lang="en-GB" sz="1199" dirty="0">
              <a:latin typeface="+mn-lt"/>
              <a:cs typeface="Daimler CS"/>
            </a:endParaRP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178478-C14F-4056-BC7B-D4A0322B8D6E}" type="slidenum">
              <a:rPr lang="en-US" smtClean="0"/>
              <a:t>‹#›</a:t>
            </a:fld>
            <a:endParaRPr lang="en-US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1" y="3279297"/>
            <a:ext cx="3841337" cy="3207314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3913531" y="3279297"/>
            <a:ext cx="4199925" cy="3207314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8185649" y="3279297"/>
            <a:ext cx="4006350" cy="3207314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  <p:sp>
        <p:nvSpPr>
          <p:cNvPr id="25" name="Picture Placeholder 3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0" y="1"/>
            <a:ext cx="3841337" cy="3207314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8185650" y="1"/>
            <a:ext cx="4006350" cy="3207314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  <p:sp>
        <p:nvSpPr>
          <p:cNvPr id="30" name="Picture Placeholder 3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3913531" y="1"/>
            <a:ext cx="4199925" cy="3207314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6274933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  <p15:guide id="2" pos="2421">
          <p15:clr>
            <a:srgbClr val="FBAE40"/>
          </p15:clr>
        </p15:guide>
        <p15:guide id="3" pos="5159">
          <p15:clr>
            <a:srgbClr val="FBAE40"/>
          </p15:clr>
        </p15:guide>
        <p15:guide id="4" pos="2465">
          <p15:clr>
            <a:srgbClr val="FBAE40"/>
          </p15:clr>
        </p15:guide>
        <p15:guide id="5" pos="5112">
          <p15:clr>
            <a:srgbClr val="FBAE40"/>
          </p15:clr>
        </p15:guide>
      </p15:sldGuideLst>
    </p:ext>
  </p:extLst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473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6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white">
          <a:xfrm>
            <a:off x="2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98" dirty="0">
              <a:solidFill>
                <a:schemeClr val="bg1"/>
              </a:solidFill>
              <a:latin typeface="CorpoS" pitchFamily="2" charset="0"/>
              <a:sym typeface="CorpoS" pitchFamily="2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2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98">
                <a:solidFill>
                  <a:schemeClr val="tx2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TextBox 9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1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7319320" y="6506901"/>
            <a:ext cx="3414222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noProof="0" smtClean="0">
                <a:solidFill>
                  <a:srgbClr val="FFFFFF"/>
                </a:solidFill>
              </a:rPr>
              <a:t>2018-11-20_FORCE_Issues in data cleansing_v03.pptx</a:t>
            </a:r>
            <a:endParaRPr lang="en-US" sz="1199" noProof="0" dirty="0">
              <a:solidFill>
                <a:srgbClr val="FFFFFF"/>
              </a:solidFill>
            </a:endParaRPr>
          </a:p>
        </p:txBody>
      </p:sp>
      <p:sp>
        <p:nvSpPr>
          <p:cNvPr id="14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latin typeface="CorpoS" pitchFamily="2" charset="0"/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latin typeface="CorpoS" pitchFamily="2" charset="0"/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latin typeface="CorpoS" pitchFamily="2" charset="0"/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148128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497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98" dirty="0">
              <a:solidFill>
                <a:schemeClr val="bg1"/>
              </a:solidFill>
              <a:latin typeface="CorpoS" pitchFamily="2" charset="0"/>
              <a:sym typeface="CorpoS" pitchFamily="2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98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CorpoS" pitchFamily="2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1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7319320" y="6506901"/>
            <a:ext cx="3414222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noProof="0" smtClean="0">
                <a:solidFill>
                  <a:srgbClr val="FFFFFF"/>
                </a:solidFill>
              </a:rPr>
              <a:t>2018-11-20_FORCE_Issues in data cleansing_v03.pptx</a:t>
            </a:r>
            <a:endParaRPr lang="en-US" sz="1199" noProof="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91699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9521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70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2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98">
                <a:solidFill>
                  <a:schemeClr val="bg1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5" y="-1307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98" dirty="0">
              <a:solidFill>
                <a:schemeClr val="bg1"/>
              </a:solidFill>
              <a:latin typeface="CorpoS" pitchFamily="2" charset="0"/>
              <a:sym typeface="CorpoS" pitchFamily="2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2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7319320" y="6506901"/>
            <a:ext cx="3414222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noProof="0" smtClean="0">
                <a:solidFill>
                  <a:schemeClr val="tx1"/>
                </a:solidFill>
              </a:rPr>
              <a:t>2018-11-20_FORCE_Issues in data cleansing_v03.pptx</a:t>
            </a:r>
            <a:endParaRPr lang="en-US" sz="1199" noProof="0" dirty="0">
              <a:solidFill>
                <a:schemeClr val="tx1"/>
              </a:solidFill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66541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545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4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schemeClr val="bg1"/>
              </a:solidFill>
              <a:latin typeface="CorpoS" pitchFamily="2" charset="0"/>
              <a:sym typeface="CorpoS" pitchFamily="2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798" baseline="0">
                <a:latin typeface="CorpoS" pitchFamily="2" charset="0"/>
                <a:sym typeface="CorpoS" pitchFamily="2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94653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3298">
                <a:solidFill>
                  <a:schemeClr val="bg1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5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7319320" y="6506901"/>
            <a:ext cx="3414222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noProof="0" smtClean="0">
                <a:solidFill>
                  <a:schemeClr val="tx1"/>
                </a:solidFill>
              </a:rPr>
              <a:t>2018-11-20_FORCE_Issues in data cleansing_v03.pptx</a:t>
            </a:r>
            <a:endParaRPr lang="en-US" sz="1199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7802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1569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51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98" dirty="0">
              <a:solidFill>
                <a:schemeClr val="bg1"/>
              </a:solidFill>
              <a:latin typeface="CorpoS" pitchFamily="2" charset="0"/>
              <a:sym typeface="CorpoS" pitchFamily="2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598">
                <a:solidFill>
                  <a:schemeClr val="tx1"/>
                </a:solidFill>
                <a:latin typeface="CorpoS" pitchFamily="2" charset="0"/>
                <a:sym typeface="CorpoS" pitchFamily="2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2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98">
                <a:solidFill>
                  <a:schemeClr val="bg1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04521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2593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2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9436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reeform 14"/>
          <p:cNvSpPr/>
          <p:nvPr userDrawn="1"/>
        </p:nvSpPr>
        <p:spPr bwMode="ltGray">
          <a:xfrm>
            <a:off x="1526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latin typeface="CorpoS" pitchFamily="2" charset="0"/>
              <a:sym typeface="CorpoS" pitchFamily="2" charset="0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5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98" baseline="0">
                <a:solidFill>
                  <a:schemeClr val="tx2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</a:t>
            </a:r>
            <a:r>
              <a:rPr lang="en-US" dirty="0" smtClean="0">
                <a:solidFill>
                  <a:schemeClr val="tx2"/>
                </a:solidFill>
              </a:rPr>
              <a:t>add title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0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7319320" y="6506901"/>
            <a:ext cx="3414222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noProof="0" smtClean="0">
                <a:solidFill>
                  <a:srgbClr val="FFFFFF"/>
                </a:solidFill>
              </a:rPr>
              <a:t>2018-11-20_FORCE_Issues in data cleansing_v03.pptx</a:t>
            </a:r>
            <a:endParaRPr lang="en-US" sz="1199" noProof="0" dirty="0">
              <a:solidFill>
                <a:srgbClr val="FFFFFF"/>
              </a:solidFill>
            </a:endParaRPr>
          </a:p>
        </p:txBody>
      </p:sp>
      <p:sp>
        <p:nvSpPr>
          <p:cNvPr id="14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latin typeface="CorpoS" pitchFamily="2" charset="0"/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latin typeface="CorpoS" pitchFamily="2" charset="0"/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latin typeface="CorpoS" pitchFamily="2" charset="0"/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874488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3617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latin typeface="CorpoS" pitchFamily="2" charset="0"/>
              <a:sym typeface="CorpoS" pitchFamily="2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5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98" baseline="0">
                <a:solidFill>
                  <a:srgbClr val="FFFFFF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41310" y="3402830"/>
            <a:ext cx="2694666" cy="3461745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1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7319320" y="6506901"/>
            <a:ext cx="3414222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noProof="0" smtClean="0">
                <a:solidFill>
                  <a:schemeClr val="tx1"/>
                </a:solidFill>
              </a:rPr>
              <a:t>2018-11-20_FORCE_Issues in data cleansing_v03.pptx</a:t>
            </a:r>
            <a:endParaRPr lang="en-US" sz="1199" noProof="0" dirty="0">
              <a:solidFill>
                <a:schemeClr val="tx1"/>
              </a:solidFill>
            </a:endParaRPr>
          </a:p>
        </p:txBody>
      </p:sp>
      <p:sp>
        <p:nvSpPr>
          <p:cNvPr id="14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416600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641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33902" y="3395664"/>
            <a:ext cx="1298575" cy="3571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Pentagon 3"/>
          <p:cNvSpPr/>
          <p:nvPr userDrawn="1"/>
        </p:nvSpPr>
        <p:spPr bwMode="white">
          <a:xfrm>
            <a:off x="3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3298" dirty="0">
              <a:solidFill>
                <a:prstClr val="white"/>
              </a:solidFill>
              <a:latin typeface="CorpoS" pitchFamily="2" charset="0"/>
              <a:sym typeface="CorpoS" pitchFamily="2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2" y="1785602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98" b="0">
                <a:solidFill>
                  <a:schemeClr val="tx2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0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7319320" y="6506901"/>
            <a:ext cx="3414222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noProof="0" smtClean="0">
                <a:solidFill>
                  <a:srgbClr val="FFFFFF"/>
                </a:solidFill>
              </a:rPr>
              <a:t>2018-11-20_FORCE_Issues in data cleansing_v03.pptx</a:t>
            </a:r>
            <a:endParaRPr lang="en-US" sz="1199" noProof="0" dirty="0">
              <a:solidFill>
                <a:srgbClr val="FFFFFF"/>
              </a:solidFill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latin typeface="CorpoS" pitchFamily="2" charset="0"/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latin typeface="CorpoS" pitchFamily="2" charset="0"/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latin typeface="CorpoS" pitchFamily="2" charset="0"/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105151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665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3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latin typeface="CorpoS" pitchFamily="2" charset="0"/>
              <a:sym typeface="CorpoS" pitchFamily="2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2" y="1785602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98" b="0">
                <a:solidFill>
                  <a:srgbClr val="FFFFFF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49483" y="3416300"/>
            <a:ext cx="2694666" cy="3441700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1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7319320" y="6506901"/>
            <a:ext cx="3414222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noProof="0" smtClean="0">
                <a:solidFill>
                  <a:schemeClr val="tx1"/>
                </a:solidFill>
              </a:rPr>
              <a:t>2018-11-20_FORCE_Issues in data cleansing_v03.pptx</a:t>
            </a:r>
            <a:endParaRPr lang="en-US" sz="1199" noProof="0" dirty="0">
              <a:solidFill>
                <a:schemeClr val="tx1"/>
              </a:solidFill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099112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689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8758" y="3589606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latin typeface="CorpoS" pitchFamily="2" charset="0"/>
              <a:sym typeface="CorpoS" pitchFamily="2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98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CorpoS" pitchFamily="2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0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7319320" y="6506901"/>
            <a:ext cx="3414222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noProof="0" smtClean="0">
                <a:solidFill>
                  <a:srgbClr val="FFFFFF"/>
                </a:solidFill>
              </a:rPr>
              <a:t>2018-11-20_FORCE_Issues in data cleansing_v03.pptx</a:t>
            </a:r>
            <a:endParaRPr lang="en-US" sz="1199" noProof="0" dirty="0">
              <a:solidFill>
                <a:srgbClr val="FFFFFF"/>
              </a:solidFill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latin typeface="CorpoS" pitchFamily="2" charset="0"/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latin typeface="CorpoS" pitchFamily="2" charset="0"/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latin typeface="CorpoS" pitchFamily="2" charset="0"/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58784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/ 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9671" y="285982"/>
            <a:ext cx="10931106" cy="683842"/>
          </a:xfrm>
        </p:spPr>
        <p:txBody>
          <a:bodyPr/>
          <a:lstStyle/>
          <a:p>
            <a:r>
              <a:rPr lang="en-GB" noProof="0" dirty="0" smtClean="0"/>
              <a:t>Headline in CorpoS (Body) 35 pt.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7178478-C14F-4056-BC7B-D4A0322B8D6E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628323" y="4966850"/>
            <a:ext cx="5107503" cy="1414434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dirty="0" smtClean="0"/>
              <a:t>Insert text </a:t>
            </a:r>
            <a:r>
              <a:rPr lang="en-GB" noProof="0" dirty="0" smtClean="0"/>
              <a:t>(Mark-ups in Bold) </a:t>
            </a:r>
            <a:r>
              <a:rPr lang="en-GB" dirty="0" smtClean="0"/>
              <a:t>// conclusion etc.: Increase List Level</a:t>
            </a:r>
          </a:p>
          <a:p>
            <a:pPr lvl="1"/>
            <a:r>
              <a:rPr lang="en-GB" dirty="0" smtClean="0"/>
              <a:t>Second level (Conclusion etc.)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00" y="4966850"/>
            <a:ext cx="5464504" cy="1414434"/>
          </a:xfrm>
        </p:spPr>
        <p:txBody>
          <a:bodyPr/>
          <a:lstStyle>
            <a:lvl2pPr>
              <a:defRPr/>
            </a:lvl2pPr>
          </a:lstStyle>
          <a:p>
            <a:pPr lvl="0"/>
            <a:r>
              <a:rPr lang="en-GB" dirty="0" smtClean="0"/>
              <a:t>Insert text </a:t>
            </a:r>
            <a:r>
              <a:rPr lang="en-GB" noProof="0" dirty="0" smtClean="0"/>
              <a:t>(Mark-ups in Bold) </a:t>
            </a:r>
            <a:r>
              <a:rPr lang="en-GB" dirty="0" smtClean="0"/>
              <a:t>// conclusion etc.: Increase List Level</a:t>
            </a:r>
          </a:p>
          <a:p>
            <a:pPr lvl="1"/>
            <a:r>
              <a:rPr lang="en-GB" dirty="0" smtClean="0"/>
              <a:t>Second level (Conclusion etc.)</a:t>
            </a:r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29673" y="1233203"/>
            <a:ext cx="6837214" cy="3599628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7538288" y="1233202"/>
            <a:ext cx="4022489" cy="1979154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799"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7538074" y="3286041"/>
            <a:ext cx="4022430" cy="1546791"/>
          </a:xfrm>
          <a:prstGeom prst="rect">
            <a:avLst/>
          </a:prstGeom>
          <a:solidFill>
            <a:srgbClr val="CFCFCF"/>
          </a:solidFill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799"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85326833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777">
          <p15:clr>
            <a:srgbClr val="FBAE40"/>
          </p15:clr>
        </p15:guide>
        <p15:guide id="3" orient="horz" pos="3128">
          <p15:clr>
            <a:srgbClr val="FBAE40"/>
          </p15:clr>
        </p15:guide>
        <p15:guide id="8" pos="3842">
          <p15:clr>
            <a:srgbClr val="FBAE40"/>
          </p15:clr>
        </p15:guide>
        <p15:guide id="9" pos="3615">
          <p15:clr>
            <a:srgbClr val="FBAE40"/>
          </p15:clr>
        </p15:guide>
        <p15:guide id="10" orient="horz" pos="4020">
          <p15:clr>
            <a:srgbClr val="FBAE40"/>
          </p15:clr>
        </p15:guide>
      </p15:sldGuideLst>
    </p:ext>
  </p:extLst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713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latin typeface="CorpoS" pitchFamily="2" charset="0"/>
              <a:sym typeface="CorpoS" pitchFamily="2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98" b="0" i="0" u="none" kern="1200" spc="0">
                <a:solidFill>
                  <a:srgbClr val="FFFFFF"/>
                </a:solidFill>
                <a:latin typeface="+mj-lt"/>
                <a:sym typeface="CorpoS" pitchFamily="2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28424" y="3407805"/>
            <a:ext cx="2694666" cy="3456551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1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7319320" y="6506901"/>
            <a:ext cx="3414222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noProof="0" smtClean="0">
                <a:solidFill>
                  <a:schemeClr val="tx1"/>
                </a:solidFill>
              </a:rPr>
              <a:t>2018-11-20_FORCE_Issues in data cleansing_v03.pptx</a:t>
            </a:r>
            <a:endParaRPr lang="en-US" sz="1199" noProof="0" dirty="0">
              <a:solidFill>
                <a:schemeClr val="tx1"/>
              </a:solidFill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8581823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737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41" y="3589606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reeform 18"/>
          <p:cNvSpPr/>
          <p:nvPr userDrawn="1"/>
        </p:nvSpPr>
        <p:spPr bwMode="white">
          <a:xfrm>
            <a:off x="2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schemeClr val="bg1"/>
              </a:solidFill>
              <a:latin typeface="CorpoS" pitchFamily="2" charset="0"/>
              <a:sym typeface="CorpoS" pitchFamily="2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98" b="0" i="0" u="none" kern="1200" spc="0">
                <a:solidFill>
                  <a:schemeClr val="tx2">
                    <a:lumMod val="100000"/>
                  </a:schemeClr>
                </a:solidFill>
                <a:latin typeface="CorpoS" pitchFamily="2" charset="0"/>
                <a:sym typeface="CorpoS" pitchFamily="2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28124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9761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2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schemeClr val="bg1"/>
              </a:solidFill>
              <a:latin typeface="CorpoS" pitchFamily="2" charset="0"/>
              <a:sym typeface="CorpoS" pitchFamily="2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98" b="0" i="0" u="none" kern="1200" spc="0">
                <a:solidFill>
                  <a:srgbClr val="FFFFFF"/>
                </a:solidFill>
                <a:latin typeface="+mj-lt"/>
                <a:sym typeface="CorpoS" pitchFamily="2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24772" y="3407805"/>
            <a:ext cx="2694666" cy="3456551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807038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0785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3486" rtl="0" eaLnBrk="1" fontAlgn="auto" latinLnBrk="0" hangingPunct="1">
              <a:lnSpc>
                <a:spcPts val="5994"/>
              </a:lnSpc>
              <a:spcBef>
                <a:spcPts val="0"/>
              </a:spcBef>
              <a:spcAft>
                <a:spcPts val="0"/>
              </a:spcAft>
              <a:defRPr lang="en-US" sz="5394" kern="1200" baseline="0" dirty="0">
                <a:solidFill>
                  <a:schemeClr val="bg1"/>
                </a:solidFill>
                <a:latin typeface="+mj-lt"/>
                <a:ea typeface="+mn-ea"/>
                <a:cs typeface="+mj-cs"/>
                <a:sym typeface="CorpoS" pitchFamily="2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big statement text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7319320" y="6506901"/>
            <a:ext cx="3414222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noProof="0" smtClean="0">
                <a:solidFill>
                  <a:srgbClr val="FFFFFF"/>
                </a:solidFill>
              </a:rPr>
              <a:t>2018-11-20_FORCE_Issues in data cleansing_v03.pptx</a:t>
            </a:r>
            <a:endParaRPr lang="en-US" sz="1199" noProof="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2813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1809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198" dirty="0">
              <a:solidFill>
                <a:schemeClr val="bg1"/>
              </a:solidFill>
              <a:latin typeface="CorpoS" pitchFamily="2" charset="0"/>
              <a:sym typeface="CorpoS" pitchFamily="2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3486" rtl="0" eaLnBrk="1" fontAlgn="auto" latinLnBrk="0" hangingPunct="1">
              <a:lnSpc>
                <a:spcPts val="5994"/>
              </a:lnSpc>
              <a:spcBef>
                <a:spcPts val="0"/>
              </a:spcBef>
              <a:spcAft>
                <a:spcPts val="0"/>
              </a:spcAft>
              <a:defRPr lang="en-US" sz="5394" kern="1200" baseline="0" dirty="0">
                <a:solidFill>
                  <a:schemeClr val="accent4"/>
                </a:solidFill>
                <a:latin typeface="+mj-lt"/>
                <a:ea typeface="+mn-ea"/>
                <a:cs typeface="+mj-cs"/>
                <a:sym typeface="CorpoS" pitchFamily="2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big statement text</a:t>
            </a:r>
          </a:p>
        </p:txBody>
      </p:sp>
      <p:sp>
        <p:nvSpPr>
          <p:cNvPr id="8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7319320" y="6506901"/>
            <a:ext cx="3414222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noProof="0" smtClean="0">
                <a:solidFill>
                  <a:schemeClr val="tx1"/>
                </a:solidFill>
              </a:rPr>
              <a:t>2018-11-20_FORCE_Issues in data cleansing_v03.pptx</a:t>
            </a:r>
            <a:endParaRPr lang="en-US" sz="1199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4422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2833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3" y="110970"/>
            <a:ext cx="769257" cy="10019821"/>
          </a:xfrm>
          <a:prstGeom prst="rect">
            <a:avLst/>
          </a:pr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344" tIns="45672" rIns="91344" bIns="45672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799" dirty="0">
              <a:latin typeface="CorpoS" pitchFamily="2" charset="0"/>
              <a:sym typeface="CorpoS" pitchFamily="2" charset="0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2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7319320" y="6506901"/>
            <a:ext cx="3414222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noProof="0" smtClean="0">
                <a:solidFill>
                  <a:srgbClr val="FFFFFF"/>
                </a:solidFill>
              </a:rPr>
              <a:t>2018-11-20_FORCE_Issues in data cleansing_v03.pptx</a:t>
            </a:r>
            <a:endParaRPr lang="en-US" sz="1199" noProof="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3043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3857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</p:spPr>
        <p:txBody>
          <a:bodyPr/>
          <a:lstStyle>
            <a:lvl1pPr>
              <a:defRPr sz="3298">
                <a:solidFill>
                  <a:schemeClr val="bg1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9" name="TextBox 8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7319320" y="6506901"/>
            <a:ext cx="3414222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noProof="0" smtClean="0">
                <a:solidFill>
                  <a:srgbClr val="FFFFFF"/>
                </a:solidFill>
              </a:rPr>
              <a:t>2018-11-20_FORCE_Issues in data cleansing_v03.pptx</a:t>
            </a:r>
            <a:endParaRPr lang="en-US" sz="1199" noProof="0" dirty="0">
              <a:solidFill>
                <a:srgbClr val="FFFFFF"/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latin typeface="CorpoS" pitchFamily="2" charset="0"/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latin typeface="CorpoS" pitchFamily="2" charset="0"/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latin typeface="CorpoS" pitchFamily="2" charset="0"/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597683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881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7319320" y="6506901"/>
            <a:ext cx="3414222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noProof="0" smtClean="0">
                <a:solidFill>
                  <a:schemeClr val="tx1"/>
                </a:solidFill>
              </a:rPr>
              <a:t>2018-11-20_FORCE_Issues in data cleansing_v03.pptx</a:t>
            </a:r>
            <a:endParaRPr lang="en-US" sz="1199" noProof="0" dirty="0">
              <a:solidFill>
                <a:schemeClr val="tx1"/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726137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905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Box 9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7319320" y="6506901"/>
            <a:ext cx="3414222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noProof="0" smtClean="0">
                <a:solidFill>
                  <a:srgbClr val="FFFFFF"/>
                </a:solidFill>
              </a:rPr>
              <a:t>2018-11-20_FORCE_Issues in data cleansing_v03.pptx</a:t>
            </a:r>
            <a:endParaRPr lang="en-US" sz="1199" noProof="0" dirty="0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latin typeface="CorpoS" pitchFamily="2" charset="0"/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latin typeface="CorpoS" pitchFamily="2" charset="0"/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latin typeface="CorpoS" pitchFamily="2" charset="0"/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93585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929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7319320" y="6506901"/>
            <a:ext cx="3414222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noProof="0" smtClean="0">
                <a:solidFill>
                  <a:schemeClr val="tx1"/>
                </a:solidFill>
              </a:rPr>
              <a:t>2018-11-20_FORCE_Issues in data cleansing_v03.pptx</a:t>
            </a:r>
            <a:endParaRPr lang="en-US" sz="1199" noProof="0" dirty="0">
              <a:solidFill>
                <a:schemeClr val="tx1"/>
              </a:solidFill>
            </a:endParaRPr>
          </a:p>
        </p:txBody>
      </p:sp>
      <p:sp>
        <p:nvSpPr>
          <p:cNvPr id="8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924944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/ 3 images/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9671" y="285982"/>
            <a:ext cx="10931106" cy="683842"/>
          </a:xfrm>
        </p:spPr>
        <p:txBody>
          <a:bodyPr/>
          <a:lstStyle/>
          <a:p>
            <a:r>
              <a:rPr lang="en-GB" noProof="0" dirty="0" smtClean="0"/>
              <a:t>Headline in CorpoS (Body) 35 pt.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7178478-C14F-4056-BC7B-D4A0322B8D6E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629672" y="1233202"/>
            <a:ext cx="5466328" cy="5148082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dirty="0" smtClean="0"/>
              <a:t>Insert text in </a:t>
            </a:r>
            <a:r>
              <a:rPr lang="en-GB" noProof="0" dirty="0" smtClean="0"/>
              <a:t>CorpoS (Body) 24 pt. (Mark-ups in Bold) </a:t>
            </a:r>
            <a:r>
              <a:rPr lang="en-GB" dirty="0" smtClean="0"/>
              <a:t>// for conclusion</a:t>
            </a:r>
            <a:r>
              <a:rPr lang="en-GB" noProof="0" dirty="0" smtClean="0"/>
              <a:t>, summary or short highlight</a:t>
            </a:r>
            <a:r>
              <a:rPr lang="en-GB" dirty="0" smtClean="0"/>
              <a:t>: Home // Paragraph// Increase List Level</a:t>
            </a:r>
          </a:p>
          <a:p>
            <a:pPr lvl="1"/>
            <a:r>
              <a:rPr lang="en-GB" dirty="0" smtClean="0"/>
              <a:t>Second level (Conclusion, summary or short highlight)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</a:p>
          <a:p>
            <a:pPr lvl="5"/>
            <a:r>
              <a:rPr lang="en-GB" dirty="0" smtClean="0"/>
              <a:t>Sixth level</a:t>
            </a:r>
          </a:p>
          <a:p>
            <a:pPr lvl="6"/>
            <a:r>
              <a:rPr lang="en-GB" dirty="0" smtClean="0"/>
              <a:t>Sevens level</a:t>
            </a:r>
          </a:p>
          <a:p>
            <a:pPr lvl="7"/>
            <a:r>
              <a:rPr lang="en-GB" dirty="0" smtClean="0"/>
              <a:t>Eight level</a:t>
            </a:r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816350" y="1233203"/>
            <a:ext cx="4744426" cy="2627392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9621389" y="3933889"/>
            <a:ext cx="1939115" cy="2446383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799"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814850" y="3933889"/>
            <a:ext cx="2735735" cy="2446383"/>
          </a:xfrm>
          <a:prstGeom prst="rect">
            <a:avLst/>
          </a:prstGeom>
          <a:solidFill>
            <a:srgbClr val="CFCFCF"/>
          </a:solidFill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799"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79292789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777">
          <p15:clr>
            <a:srgbClr val="FBAE40"/>
          </p15:clr>
        </p15:guide>
        <p15:guide id="3" orient="horz" pos="4088">
          <p15:clr>
            <a:srgbClr val="FBAE40"/>
          </p15:clr>
        </p15:guide>
        <p15:guide id="4" orient="horz" pos="4020">
          <p15:clr>
            <a:srgbClr val="FBAE40"/>
          </p15:clr>
        </p15:guide>
        <p15:guide id="5" pos="3842">
          <p15:clr>
            <a:srgbClr val="FBAE40"/>
          </p15:clr>
        </p15:guide>
        <p15:guide id="6" pos="4296">
          <p15:clr>
            <a:srgbClr val="FBAE40"/>
          </p15:clr>
        </p15:guide>
      </p15:sldGuideLst>
    </p:ext>
  </p:extLst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953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lowchart: Manual Input 7"/>
          <p:cNvSpPr/>
          <p:nvPr userDrawn="1"/>
        </p:nvSpPr>
        <p:spPr>
          <a:xfrm>
            <a:off x="0" y="3610066"/>
            <a:ext cx="12192000" cy="3247934"/>
          </a:xfrm>
          <a:prstGeom prst="flowChartManualInput">
            <a:avLst/>
          </a:prstGeom>
          <a:solidFill>
            <a:srgbClr val="E6E6E6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9E9E9E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99" dirty="0" err="1" smtClean="0"/>
          </a:p>
        </p:txBody>
      </p:sp>
      <p:sp>
        <p:nvSpPr>
          <p:cNvPr id="9" name="Flowchart: Manual Input 8"/>
          <p:cNvSpPr/>
          <p:nvPr userDrawn="1"/>
        </p:nvSpPr>
        <p:spPr>
          <a:xfrm flipH="1" flipV="1">
            <a:off x="0" y="0"/>
            <a:ext cx="12192000" cy="4532850"/>
          </a:xfrm>
          <a:prstGeom prst="flowChartManualInput">
            <a:avLst/>
          </a:prstGeom>
          <a:solidFill>
            <a:srgbClr val="00566D"/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99" dirty="0" err="1" smtClean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804" t="9756" r="6727" b="4972"/>
          <a:stretch/>
        </p:blipFill>
        <p:spPr>
          <a:xfrm>
            <a:off x="131974" y="3490768"/>
            <a:ext cx="3789529" cy="2442689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956" r="13359"/>
          <a:stretch>
            <a:fillRect/>
          </a:stretch>
        </p:blipFill>
        <p:spPr>
          <a:xfrm>
            <a:off x="9405114" y="3500651"/>
            <a:ext cx="2691445" cy="2418386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8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6741655" y="3672592"/>
            <a:ext cx="2935899" cy="2320471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40885" y="3474457"/>
            <a:ext cx="3570966" cy="2833362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10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04555" y="3766182"/>
            <a:ext cx="2312483" cy="2541637"/>
          </a:xfrm>
          <a:prstGeom prst="rect">
            <a:avLst/>
          </a:prstGeom>
        </p:spPr>
      </p:pic>
      <p:pic>
        <p:nvPicPr>
          <p:cNvPr id="17" name="Wortmarke DAIMLER" descr="Daimler_RGB_100mm.png"/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1254" y="791617"/>
            <a:ext cx="3417231" cy="462594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4648" y="613010"/>
            <a:ext cx="786654" cy="786882"/>
          </a:xfrm>
          <a:prstGeom prst="rect">
            <a:avLst/>
          </a:prstGeom>
        </p:spPr>
      </p:pic>
      <p:pic>
        <p:nvPicPr>
          <p:cNvPr id="20" name="Picture 3" descr="C:\Users\rajarrv\AppData\Local\Microsoft\Windows\Temporary Internet Files\Content.Outlook\3CY2KM7L\B-No Background FORCE LOGO.png"/>
          <p:cNvPicPr>
            <a:picLocks noChangeAspect="1" noChangeArrowheads="1"/>
          </p:cNvPicPr>
          <p:nvPr userDrawn="1"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419611" y="692628"/>
            <a:ext cx="2166326" cy="6188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82590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977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 userDrawn="1"/>
        </p:nvGrpSpPr>
        <p:grpSpPr>
          <a:xfrm>
            <a:off x="-598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>
                <a:solidFill>
                  <a:schemeClr val="tx1"/>
                </a:solidFill>
                <a:latin typeface="CorpoS" pitchFamily="2" charset="0"/>
                <a:sym typeface="CorpoS" pitchFamily="2" charset="0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latin typeface="CorpoS" pitchFamily="2" charset="0"/>
                  <a:sym typeface="CorpoS" pitchFamily="2" charset="0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latin typeface="CorpoS" pitchFamily="2" charset="0"/>
                  <a:sym typeface="CorpoS" pitchFamily="2" charset="0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latin typeface="CorpoS" pitchFamily="2" charset="0"/>
                  <a:sym typeface="CorpoS" pitchFamily="2" charset="0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latin typeface="CorpoS" pitchFamily="2" charset="0"/>
                  <a:sym typeface="CorpoS" pitchFamily="2" charset="0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latin typeface="CorpoS" pitchFamily="2" charset="0"/>
                  <a:sym typeface="CorpoS" pitchFamily="2" charset="0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latin typeface="CorpoS" pitchFamily="2" charset="0"/>
                  <a:sym typeface="CorpoS" pitchFamily="2" charset="0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latin typeface="CorpoS" pitchFamily="2" charset="0"/>
                  <a:sym typeface="CorpoS" pitchFamily="2" charset="0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latin typeface="CorpoS" pitchFamily="2" charset="0"/>
                  <a:sym typeface="CorpoS" pitchFamily="2" charset="0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latin typeface="CorpoS" pitchFamily="2" charset="0"/>
                  <a:sym typeface="CorpoS" pitchFamily="2" charset="0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latin typeface="CorpoS" pitchFamily="2" charset="0"/>
                  <a:sym typeface="CorpoS" pitchFamily="2" charset="0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latin typeface="CorpoS" pitchFamily="2" charset="0"/>
                  <a:sym typeface="CorpoS" pitchFamily="2" charset="0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8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orpoS" pitchFamily="2" charset="0"/>
                <a:ea typeface="+mn-ea"/>
                <a:cs typeface="+mn-cs"/>
                <a:sym typeface="CorpoS" pitchFamily="2" charset="0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>
                <a:latin typeface="CorpoS" pitchFamily="2" charset="0"/>
                <a:sym typeface="CorpoS" pitchFamily="2" charset="0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>
                <a:latin typeface="CorpoS" pitchFamily="2" charset="0"/>
                <a:sym typeface="CorpoS" pitchFamily="2" charset="0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latin typeface="CorpoS" pitchFamily="2" charset="0"/>
                  <a:sym typeface="CorpoS" pitchFamily="2" charset="0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latin typeface="CorpoS" pitchFamily="2" charset="0"/>
                  <a:sym typeface="CorpoS" pitchFamily="2" charset="0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latin typeface="CorpoS" pitchFamily="2" charset="0"/>
                  <a:sym typeface="CorpoS" pitchFamily="2" charset="0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latin typeface="CorpoS" pitchFamily="2" charset="0"/>
                  <a:sym typeface="CorpoS" pitchFamily="2" charset="0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latin typeface="CorpoS" pitchFamily="2" charset="0"/>
                  <a:sym typeface="CorpoS" pitchFamily="2" charset="0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999"/>
                </a:spcAft>
              </a:pPr>
              <a:endParaRPr lang="en-US" sz="1198" dirty="0">
                <a:solidFill>
                  <a:schemeClr val="bg1"/>
                </a:solidFill>
                <a:latin typeface="CorpoS" pitchFamily="2" charset="0"/>
                <a:sym typeface="CorpoS" pitchFamily="2" charset="0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99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CorpoS" pitchFamily="2" charset="0"/>
                </a:rPr>
                <a:t>1. xxxx  2. xxxx  3. xxxx</a:t>
              </a:r>
            </a:p>
            <a:p>
              <a:pPr marL="0" marR="0" lvl="0" indent="0" algn="l" defTabSz="913486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99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CorpoS" pitchFamily="2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 marL="0" marR="0" lvl="0" indent="0" algn="l" defTabSz="913486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99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CorpoS" pitchFamily="2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94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7319320" y="6506901"/>
            <a:ext cx="3414222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noProof="0" smtClean="0">
                <a:solidFill>
                  <a:schemeClr val="tx1"/>
                </a:solidFill>
              </a:rPr>
              <a:t>2018-11-20_FORCE_Issues in data cleansing_v03.pptx</a:t>
            </a:r>
            <a:endParaRPr lang="en-US" sz="1199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28120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0001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lowchart: Manual Input 7"/>
          <p:cNvSpPr/>
          <p:nvPr userDrawn="1"/>
        </p:nvSpPr>
        <p:spPr>
          <a:xfrm>
            <a:off x="0" y="3610066"/>
            <a:ext cx="12192000" cy="3247934"/>
          </a:xfrm>
          <a:prstGeom prst="flowChartManualInput">
            <a:avLst/>
          </a:prstGeom>
          <a:solidFill>
            <a:srgbClr val="E6E6E6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9E9E9E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99" dirty="0" err="1" smtClean="0"/>
          </a:p>
        </p:txBody>
      </p:sp>
      <p:sp>
        <p:nvSpPr>
          <p:cNvPr id="9" name="Flowchart: Manual Input 8"/>
          <p:cNvSpPr/>
          <p:nvPr userDrawn="1"/>
        </p:nvSpPr>
        <p:spPr>
          <a:xfrm flipH="1" flipV="1">
            <a:off x="0" y="0"/>
            <a:ext cx="12192000" cy="4532850"/>
          </a:xfrm>
          <a:prstGeom prst="flowChartManualInput">
            <a:avLst/>
          </a:prstGeom>
          <a:solidFill>
            <a:srgbClr val="00566D"/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99" dirty="0" err="1" smtClean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804" t="9756" r="6727" b="4972"/>
          <a:stretch/>
        </p:blipFill>
        <p:spPr>
          <a:xfrm>
            <a:off x="131974" y="3490768"/>
            <a:ext cx="3789529" cy="2442689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956" r="13359"/>
          <a:stretch>
            <a:fillRect/>
          </a:stretch>
        </p:blipFill>
        <p:spPr>
          <a:xfrm>
            <a:off x="9405114" y="3500651"/>
            <a:ext cx="2691445" cy="2418386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8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6741655" y="3672592"/>
            <a:ext cx="2935899" cy="2320471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40885" y="3474457"/>
            <a:ext cx="3570966" cy="2833362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10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04555" y="3766182"/>
            <a:ext cx="2312483" cy="2541637"/>
          </a:xfrm>
          <a:prstGeom prst="rect">
            <a:avLst/>
          </a:prstGeom>
        </p:spPr>
      </p:pic>
      <p:pic>
        <p:nvPicPr>
          <p:cNvPr id="17" name="Wortmarke DAIMLER" descr="Daimler_RGB_100mm.png"/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1254" y="791617"/>
            <a:ext cx="3417231" cy="462594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4648" y="613010"/>
            <a:ext cx="786654" cy="786882"/>
          </a:xfrm>
          <a:prstGeom prst="rect">
            <a:avLst/>
          </a:prstGeom>
        </p:spPr>
      </p:pic>
      <p:pic>
        <p:nvPicPr>
          <p:cNvPr id="20" name="Picture 3" descr="C:\Users\rajarrv\AppData\Local\Microsoft\Windows\Temporary Internet Files\Content.Outlook\3CY2KM7L\B-No Background FORCE LOGO.png"/>
          <p:cNvPicPr>
            <a:picLocks noChangeAspect="1" noChangeArrowheads="1"/>
          </p:cNvPicPr>
          <p:nvPr userDrawn="1"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419611" y="692628"/>
            <a:ext cx="2166326" cy="6188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itle 1"/>
          <p:cNvSpPr>
            <a:spLocks noGrp="1"/>
          </p:cNvSpPr>
          <p:nvPr>
            <p:ph type="title" hasCustomPrompt="1"/>
          </p:nvPr>
        </p:nvSpPr>
        <p:spPr>
          <a:xfrm>
            <a:off x="628326" y="2001480"/>
            <a:ext cx="10932181" cy="526176"/>
          </a:xfrm>
        </p:spPr>
        <p:txBody>
          <a:bodyPr anchor="b">
            <a:spAutoFit/>
          </a:bodyPr>
          <a:lstStyle>
            <a:lvl1pPr marL="0" indent="0" algn="l" defTabSz="1087871" rtl="0" eaLnBrk="1" latinLnBrk="0" hangingPunct="1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3598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CorpoS" pitchFamily="2" charset="0"/>
              </a:defRPr>
            </a:lvl1pPr>
          </a:lstStyle>
          <a:p>
            <a:pPr>
              <a:lnSpc>
                <a:spcPct val="95000"/>
              </a:lnSpc>
            </a:pPr>
            <a:r>
              <a:rPr lang="en-US" dirty="0" smtClean="0"/>
              <a:t>Title in </a:t>
            </a:r>
            <a:r>
              <a:rPr lang="en-US" dirty="0" err="1" smtClean="0"/>
              <a:t>CorpoS</a:t>
            </a:r>
            <a:r>
              <a:rPr lang="en-US" dirty="0" smtClean="0"/>
              <a:t> 35 </a:t>
            </a:r>
            <a:r>
              <a:rPr lang="en-US" dirty="0" err="1" smtClean="0"/>
              <a:t>pt</a:t>
            </a:r>
            <a:r>
              <a:rPr lang="en-US" dirty="0" smtClean="0"/>
              <a:t>, white, non-bold</a:t>
            </a:r>
            <a:endParaRPr lang="en-US" sz="2798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628326" y="6251051"/>
            <a:ext cx="10932181" cy="489060"/>
          </a:xfrm>
        </p:spPr>
        <p:txBody>
          <a:bodyPr/>
          <a:lstStyle>
            <a:lvl1pPr>
              <a:defRPr sz="1599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Date in 16 </a:t>
            </a:r>
            <a:r>
              <a:rPr lang="en-US" dirty="0" err="1" smtClean="0"/>
              <a:t>pt</a:t>
            </a:r>
            <a:r>
              <a:rPr lang="en-US" dirty="0" smtClean="0"/>
              <a:t>, black, non-bold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28326" y="2485504"/>
            <a:ext cx="10932181" cy="398371"/>
          </a:xfrm>
        </p:spPr>
        <p:txBody>
          <a:bodyPr/>
          <a:lstStyle>
            <a:lvl1pPr>
              <a:defRPr sz="2399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 smtClean="0"/>
              <a:t>Subtitle in </a:t>
            </a:r>
            <a:r>
              <a:rPr lang="en-US" dirty="0" err="1" smtClean="0"/>
              <a:t>CorposS</a:t>
            </a:r>
            <a:r>
              <a:rPr lang="en-US" dirty="0" smtClean="0"/>
              <a:t> 24 </a:t>
            </a:r>
            <a:r>
              <a:rPr lang="en-US" dirty="0" err="1" smtClean="0"/>
              <a:t>pt</a:t>
            </a:r>
            <a:r>
              <a:rPr lang="en-US" dirty="0" smtClean="0"/>
              <a:t>, white, non-bol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3827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1025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10933350" cy="456942"/>
          </a:xfrm>
        </p:spPr>
        <p:txBody>
          <a:bodyPr/>
          <a:lstStyle>
            <a:lvl1pPr>
              <a:defRPr sz="3298">
                <a:solidFill>
                  <a:schemeClr val="tx2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6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7319320" y="6506901"/>
            <a:ext cx="3414222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noProof="0" smtClean="0">
                <a:solidFill>
                  <a:schemeClr val="tx1"/>
                </a:solidFill>
              </a:rPr>
              <a:t>2018-11-20_FORCE_Issues in data cleansing_v03.pptx</a:t>
            </a:r>
            <a:endParaRPr lang="en-US" sz="1199" noProof="0" dirty="0">
              <a:solidFill>
                <a:schemeClr val="tx1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2107246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322">
          <p15:clr>
            <a:srgbClr val="FBAE40"/>
          </p15:clr>
        </p15:guide>
      </p15:sldGuideLst>
    </p:ext>
  </p:extLst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2049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white">
          <a:xfrm>
            <a:off x="1" y="-1307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schemeClr val="bg1"/>
              </a:solidFill>
              <a:latin typeface="CorpoS" pitchFamily="2" charset="0"/>
              <a:sym typeface="CorpoS" pitchFamily="2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9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598">
                <a:solidFill>
                  <a:schemeClr val="tx2"/>
                </a:solidFill>
                <a:latin typeface="+mn-lt"/>
                <a:sym typeface="CorpoS" pitchFamily="2" charset="0"/>
              </a:defRPr>
            </a:lvl1pPr>
            <a:lvl2pPr marL="456743" indent="0" algn="ctr">
              <a:buNone/>
              <a:defRPr sz="1998"/>
            </a:lvl2pPr>
            <a:lvl3pPr marL="913486" indent="0" algn="ctr">
              <a:buNone/>
              <a:defRPr sz="1798"/>
            </a:lvl3pPr>
            <a:lvl4pPr marL="1370229" indent="0" algn="ctr">
              <a:buNone/>
              <a:defRPr sz="1598"/>
            </a:lvl4pPr>
            <a:lvl5pPr marL="1826972" indent="0" algn="ctr">
              <a:buNone/>
              <a:defRPr sz="1598"/>
            </a:lvl5pPr>
            <a:lvl6pPr marL="2283715" indent="0" algn="ctr">
              <a:buNone/>
              <a:defRPr sz="1598"/>
            </a:lvl6pPr>
            <a:lvl7pPr marL="2740457" indent="0" algn="ctr">
              <a:buNone/>
              <a:defRPr sz="1598"/>
            </a:lvl7pPr>
            <a:lvl8pPr marL="3197201" indent="0" algn="ctr">
              <a:buNone/>
              <a:defRPr sz="1598"/>
            </a:lvl8pPr>
            <a:lvl9pPr marL="3653943" indent="0" algn="ctr">
              <a:buNone/>
              <a:defRPr sz="1598"/>
            </a:lvl9pPr>
          </a:lstStyle>
          <a:p>
            <a:r>
              <a:rPr lang="en-US" dirty="0" smtClean="0"/>
              <a:t>Click to add subtitle</a:t>
            </a:r>
            <a:endParaRPr lang="en-US" dirty="0"/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50"/>
            <a:ext cx="3744000" cy="664797"/>
          </a:xfrm>
        </p:spPr>
        <p:txBody>
          <a:bodyPr anchor="t">
            <a:noAutofit/>
          </a:bodyPr>
          <a:lstStyle>
            <a:lvl1pPr>
              <a:defRPr sz="3298">
                <a:solidFill>
                  <a:schemeClr val="tx2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2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7319320" y="6506901"/>
            <a:ext cx="3414222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noProof="0" smtClean="0">
                <a:solidFill>
                  <a:schemeClr val="tx1"/>
                </a:solidFill>
              </a:rPr>
              <a:t>2018-11-20_FORCE_Issues in data cleansing_v03.pptx</a:t>
            </a:r>
            <a:endParaRPr lang="en-US" sz="1199" noProof="0" dirty="0">
              <a:solidFill>
                <a:schemeClr val="tx1"/>
              </a:solidFill>
            </a:endParaRPr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76978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2">
          <p15:clr>
            <a:srgbClr val="FBAE40"/>
          </p15:clr>
        </p15:guide>
        <p15:guide id="2" pos="3844">
          <p15:clr>
            <a:srgbClr val="FBAE40"/>
          </p15:clr>
        </p15:guide>
      </p15:sldGuideLst>
    </p:ext>
  </p:extLst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3073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3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3486" rtl="0" eaLnBrk="1" fontAlgn="auto" latinLnBrk="0" hangingPunct="1">
              <a:lnSpc>
                <a:spcPts val="5994"/>
              </a:lnSpc>
              <a:spcBef>
                <a:spcPts val="0"/>
              </a:spcBef>
              <a:spcAft>
                <a:spcPts val="0"/>
              </a:spcAft>
              <a:defRPr lang="en-US" sz="5394" kern="1200" baseline="0" dirty="0">
                <a:solidFill>
                  <a:schemeClr val="tx2"/>
                </a:solidFill>
                <a:latin typeface="+mj-lt"/>
                <a:ea typeface="+mn-ea"/>
                <a:cs typeface="+mj-cs"/>
                <a:sym typeface="CorpoS" pitchFamily="2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5" y="1424083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198" dirty="0">
              <a:solidFill>
                <a:schemeClr val="bg1"/>
              </a:solidFill>
              <a:latin typeface="CorpoS" pitchFamily="2" charset="0"/>
              <a:sym typeface="CorpoS" pitchFamily="2" charset="0"/>
            </a:endParaRPr>
          </a:p>
        </p:txBody>
      </p:sp>
      <p:sp>
        <p:nvSpPr>
          <p:cNvPr id="13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7319320" y="6506901"/>
            <a:ext cx="3414222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noProof="0" smtClean="0">
                <a:solidFill>
                  <a:schemeClr val="tx1"/>
                </a:solidFill>
              </a:rPr>
              <a:t>2018-11-20_FORCE_Issues in data cleansing_v03.pptx</a:t>
            </a:r>
            <a:endParaRPr lang="en-US" sz="1199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3397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097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2"/>
            <a:ext cx="10936800" cy="2041200"/>
          </a:xfrm>
        </p:spPr>
        <p:txBody>
          <a:bodyPr anchor="t">
            <a:noAutofit/>
          </a:bodyPr>
          <a:lstStyle>
            <a:lvl1pPr>
              <a:defRPr sz="5394">
                <a:solidFill>
                  <a:schemeClr val="tx2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2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7319320" y="6506901"/>
            <a:ext cx="3414222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noProof="0" smtClean="0">
                <a:solidFill>
                  <a:schemeClr val="tx1"/>
                </a:solidFill>
              </a:rPr>
              <a:t>2018-11-20_FORCE_Issues in data cleansing_v03.pptx</a:t>
            </a:r>
            <a:endParaRPr lang="en-US" sz="1199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23732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21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6" y="0"/>
            <a:ext cx="416951" cy="6858000"/>
          </a:xfrm>
          <a:prstGeom prst="rect">
            <a:avLst/>
          </a:prstGeom>
        </p:spPr>
      </p:pic>
      <p:sp>
        <p:nvSpPr>
          <p:cNvPr id="24" name="Rectangle 23"/>
          <p:cNvSpPr/>
          <p:nvPr userDrawn="1"/>
        </p:nvSpPr>
        <p:spPr bwMode="white">
          <a:xfrm>
            <a:off x="2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98" dirty="0">
              <a:solidFill>
                <a:schemeClr val="bg1"/>
              </a:solidFill>
              <a:latin typeface="CorpoS" pitchFamily="2" charset="0"/>
              <a:sym typeface="CorpoS" pitchFamily="2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2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98">
                <a:solidFill>
                  <a:schemeClr val="tx2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26" name="TextBox 25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3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7319320" y="6506901"/>
            <a:ext cx="3414222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noProof="0" smtClean="0">
                <a:solidFill>
                  <a:srgbClr val="FFFFFF"/>
                </a:solidFill>
              </a:rPr>
              <a:t>2018-11-20_FORCE_Issues in data cleansing_v03.pptx</a:t>
            </a:r>
            <a:endParaRPr lang="en-US" sz="1199" noProof="0" dirty="0">
              <a:solidFill>
                <a:srgbClr val="FFFFFF"/>
              </a:solidFill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latin typeface="CorpoS" pitchFamily="2" charset="0"/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latin typeface="CorpoS" pitchFamily="2" charset="0"/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latin typeface="CorpoS" pitchFamily="2" charset="0"/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498619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145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8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98" dirty="0">
              <a:solidFill>
                <a:schemeClr val="bg1"/>
              </a:solidFill>
              <a:latin typeface="CorpoS" pitchFamily="2" charset="0"/>
              <a:sym typeface="CorpoS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2" y="622802"/>
            <a:ext cx="6276529" cy="456942"/>
          </a:xfrm>
          <a:prstGeom prst="rect">
            <a:avLst/>
          </a:prstGeom>
        </p:spPr>
        <p:txBody>
          <a:bodyPr/>
          <a:lstStyle>
            <a:lvl1pPr>
              <a:defRPr sz="3298">
                <a:solidFill>
                  <a:schemeClr val="tx2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8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7319320" y="6506901"/>
            <a:ext cx="3414222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noProof="0" smtClean="0">
                <a:solidFill>
                  <a:srgbClr val="FFFFFF"/>
                </a:solidFill>
              </a:rPr>
              <a:t>2018-11-20_FORCE_Issues in data cleansing_v03.pptx</a:t>
            </a:r>
            <a:endParaRPr lang="en-US" sz="1199" noProof="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74486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169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98" dirty="0">
              <a:solidFill>
                <a:schemeClr val="bg1"/>
              </a:solidFill>
              <a:latin typeface="CorpoS" pitchFamily="2" charset="0"/>
              <a:sym typeface="CorpoS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8101584" cy="456942"/>
          </a:xfrm>
          <a:prstGeom prst="rect">
            <a:avLst/>
          </a:prstGeom>
        </p:spPr>
        <p:txBody>
          <a:bodyPr/>
          <a:lstStyle>
            <a:lvl1pPr>
              <a:defRPr sz="3298">
                <a:solidFill>
                  <a:schemeClr val="tx2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73287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/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 smtClean="0"/>
              <a:t>Headline in CorpoS (Body) 35 pt.</a:t>
            </a:r>
            <a:br>
              <a:rPr lang="en-GB" noProof="0" dirty="0" smtClean="0"/>
            </a:br>
            <a:r>
              <a:rPr lang="en-GB" noProof="0" dirty="0" smtClean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7178478-C14F-4056-BC7B-D4A0322B8D6E}" type="slidenum">
              <a:rPr lang="en-US" smtClean="0"/>
              <a:t>‹#›</a:t>
            </a:fld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629909" y="2493113"/>
            <a:ext cx="4965177" cy="345546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dirty="0" smtClean="0"/>
              <a:t>Insert content or text in </a:t>
            </a:r>
            <a:r>
              <a:rPr lang="en-GB" noProof="0" dirty="0" smtClean="0"/>
              <a:t>CorpoS (Body) 24 pt. (Mark-ups in Bold) </a:t>
            </a:r>
            <a:r>
              <a:rPr lang="en-GB" dirty="0" smtClean="0"/>
              <a:t>// for conclusion</a:t>
            </a:r>
            <a:r>
              <a:rPr lang="en-GB" noProof="0" dirty="0" smtClean="0"/>
              <a:t>, summary or short highlight</a:t>
            </a:r>
            <a:r>
              <a:rPr lang="en-GB" dirty="0" smtClean="0"/>
              <a:t>: Home // Paragraph// Increase List Level</a:t>
            </a:r>
          </a:p>
          <a:p>
            <a:pPr lvl="1"/>
            <a:r>
              <a:rPr lang="en-GB" dirty="0" smtClean="0"/>
              <a:t>Second level (Conclusion, summary or short highlight)</a:t>
            </a:r>
          </a:p>
          <a:p>
            <a:pPr lvl="2"/>
            <a:r>
              <a:rPr lang="en-GB" dirty="0" smtClean="0"/>
              <a:t>Third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29912" y="1504602"/>
            <a:ext cx="4965174" cy="683842"/>
          </a:xfrm>
        </p:spPr>
        <p:txBody>
          <a:bodyPr anchor="b" anchorCtr="0"/>
          <a:lstStyle>
            <a:lvl1pPr marL="0" indent="0">
              <a:lnSpc>
                <a:spcPts val="2399"/>
              </a:lnSpc>
              <a:buNone/>
              <a:defRPr sz="1899">
                <a:solidFill>
                  <a:schemeClr val="tx1"/>
                </a:solidFill>
              </a:defRPr>
            </a:lvl1pPr>
            <a:lvl2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2pPr>
            <a:lvl3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3pPr>
            <a:lvl4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4pPr>
            <a:lvl5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5pPr>
            <a:lvl6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6pPr>
            <a:lvl7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7pPr>
            <a:lvl8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8pPr>
            <a:lvl9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 smtClean="0"/>
              <a:t>Insert headline</a:t>
            </a:r>
          </a:p>
        </p:txBody>
      </p:sp>
      <p:cxnSp>
        <p:nvCxnSpPr>
          <p:cNvPr id="8" name="Gerade Verbindung 42"/>
          <p:cNvCxnSpPr/>
          <p:nvPr/>
        </p:nvCxnSpPr>
        <p:spPr bwMode="auto">
          <a:xfrm>
            <a:off x="629672" y="2231483"/>
            <a:ext cx="4965414" cy="0"/>
          </a:xfrm>
          <a:prstGeom prst="line">
            <a:avLst/>
          </a:prstGeom>
          <a:solidFill>
            <a:srgbClr val="D2D4D6"/>
          </a:solidFill>
          <a:ln w="12700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" name="Gerade Verbindung 42"/>
          <p:cNvCxnSpPr/>
          <p:nvPr/>
        </p:nvCxnSpPr>
        <p:spPr bwMode="auto">
          <a:xfrm>
            <a:off x="6595089" y="2231483"/>
            <a:ext cx="4965414" cy="0"/>
          </a:xfrm>
          <a:prstGeom prst="line">
            <a:avLst/>
          </a:prstGeom>
          <a:solidFill>
            <a:srgbClr val="D2D4D6"/>
          </a:solidFill>
          <a:ln w="12700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6595326" y="1504602"/>
            <a:ext cx="4965177" cy="683842"/>
          </a:xfrm>
        </p:spPr>
        <p:txBody>
          <a:bodyPr anchor="b" anchorCtr="0"/>
          <a:lstStyle>
            <a:lvl1pPr marL="0" indent="0">
              <a:lnSpc>
                <a:spcPts val="2399"/>
              </a:lnSpc>
              <a:buNone/>
              <a:defRPr sz="1899">
                <a:solidFill>
                  <a:schemeClr val="tx1"/>
                </a:solidFill>
              </a:defRPr>
            </a:lvl1pPr>
            <a:lvl2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2pPr>
            <a:lvl3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3pPr>
            <a:lvl4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4pPr>
            <a:lvl5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5pPr>
            <a:lvl6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6pPr>
            <a:lvl7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7pPr>
            <a:lvl8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8pPr>
            <a:lvl9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 smtClean="0"/>
              <a:t>Insert headline</a:t>
            </a:r>
          </a:p>
        </p:txBody>
      </p:sp>
      <p:sp>
        <p:nvSpPr>
          <p:cNvPr id="11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6595326" y="2493113"/>
            <a:ext cx="4965177" cy="34552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dirty="0" smtClean="0"/>
              <a:t>Insert content or text in </a:t>
            </a:r>
            <a:r>
              <a:rPr lang="en-GB" noProof="0" dirty="0" smtClean="0"/>
              <a:t>CorpoS (Body) 24 pt. (Mark-ups in Bold) </a:t>
            </a:r>
            <a:r>
              <a:rPr lang="en-GB" dirty="0" smtClean="0"/>
              <a:t>// for conclusion</a:t>
            </a:r>
            <a:r>
              <a:rPr lang="en-GB" noProof="0" dirty="0" smtClean="0"/>
              <a:t>, summary or short highlight</a:t>
            </a:r>
            <a:r>
              <a:rPr lang="en-GB" dirty="0" smtClean="0"/>
              <a:t>: Home // Paragraph// Increase List Level</a:t>
            </a:r>
          </a:p>
          <a:p>
            <a:pPr lvl="1"/>
            <a:r>
              <a:rPr lang="en-GB" dirty="0" smtClean="0"/>
              <a:t>Second level (Conclusion, summary or short highlight)</a:t>
            </a:r>
          </a:p>
          <a:p>
            <a:pPr lvl="2"/>
            <a:r>
              <a:rPr lang="en-GB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0225043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569">
          <p15:clr>
            <a:srgbClr val="FBAE40"/>
          </p15:clr>
        </p15:guide>
        <p15:guide id="2" pos="4155">
          <p15:clr>
            <a:srgbClr val="FBAE40"/>
          </p15:clr>
        </p15:guide>
        <p15:guide id="3" pos="3528">
          <p15:clr>
            <a:srgbClr val="FBAE40"/>
          </p15:clr>
        </p15:guide>
        <p15:guide id="4" orient="horz" pos="3748">
          <p15:clr>
            <a:srgbClr val="FBAE40"/>
          </p15:clr>
        </p15:guide>
        <p15:guide id="5" orient="horz" pos="950">
          <p15:clr>
            <a:srgbClr val="FBAE40"/>
          </p15:clr>
        </p15:guide>
      </p15:sldGuideLst>
    </p:ext>
  </p:extLst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193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70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2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98">
                <a:solidFill>
                  <a:schemeClr val="bg1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5" y="-1307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98" dirty="0">
              <a:solidFill>
                <a:schemeClr val="bg1"/>
              </a:solidFill>
              <a:latin typeface="CorpoS" pitchFamily="2" charset="0"/>
              <a:sym typeface="CorpoS" pitchFamily="2" charset="0"/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7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7319320" y="6506901"/>
            <a:ext cx="3414222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noProof="0" smtClean="0">
                <a:solidFill>
                  <a:schemeClr val="tx1"/>
                </a:solidFill>
              </a:rPr>
              <a:t>2018-11-20_FORCE_Issues in data cleansing_v03.pptx</a:t>
            </a:r>
            <a:endParaRPr lang="en-US" sz="1199" noProof="0" dirty="0">
              <a:solidFill>
                <a:schemeClr val="tx1"/>
              </a:solidFill>
            </a:endParaRPr>
          </a:p>
        </p:txBody>
      </p:sp>
      <p:sp>
        <p:nvSpPr>
          <p:cNvPr id="13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7911809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217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4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schemeClr val="bg1"/>
              </a:solidFill>
              <a:latin typeface="CorpoS" pitchFamily="2" charset="0"/>
              <a:sym typeface="CorpoS" pitchFamily="2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798" baseline="0">
                <a:latin typeface="CorpoS" pitchFamily="2" charset="0"/>
                <a:sym typeface="CorpoS" pitchFamily="2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2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3298">
                <a:solidFill>
                  <a:schemeClr val="bg1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23" name="TextBox 22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4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7319320" y="6506901"/>
            <a:ext cx="3414222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noProof="0" smtClean="0">
                <a:solidFill>
                  <a:schemeClr val="tx1"/>
                </a:solidFill>
              </a:rPr>
              <a:t>2018-11-20_FORCE_Issues in data cleansing_v03.pptx</a:t>
            </a:r>
            <a:endParaRPr lang="en-US" sz="1199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4784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241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51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98" dirty="0">
              <a:solidFill>
                <a:schemeClr val="bg1"/>
              </a:solidFill>
              <a:latin typeface="CorpoS" pitchFamily="2" charset="0"/>
              <a:sym typeface="CorpoS" pitchFamily="2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598">
                <a:solidFill>
                  <a:schemeClr val="tx1"/>
                </a:solidFill>
                <a:latin typeface="CorpoS" pitchFamily="2" charset="0"/>
                <a:sym typeface="CorpoS" pitchFamily="2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2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98">
                <a:solidFill>
                  <a:schemeClr val="bg1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22" name="TextBox 21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86616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265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8020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reeform 14"/>
          <p:cNvSpPr/>
          <p:nvPr userDrawn="1"/>
        </p:nvSpPr>
        <p:spPr bwMode="ltGray">
          <a:xfrm>
            <a:off x="1526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latin typeface="CorpoS" pitchFamily="2" charset="0"/>
              <a:sym typeface="CorpoS" pitchFamily="2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1" y="2764205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98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title</a:t>
            </a:r>
            <a:endParaRPr lang="en-US"/>
          </a:p>
        </p:txBody>
      </p:sp>
      <p:sp>
        <p:nvSpPr>
          <p:cNvPr id="21" name="TextBox 20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3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7319320" y="6506901"/>
            <a:ext cx="3414222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noProof="0" smtClean="0">
                <a:solidFill>
                  <a:srgbClr val="FFFFFF"/>
                </a:solidFill>
              </a:rPr>
              <a:t>2018-11-20_FORCE_Issues in data cleansing_v03.pptx</a:t>
            </a:r>
            <a:endParaRPr lang="en-US" sz="1199" noProof="0" dirty="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0881351" y="6506837"/>
            <a:ext cx="64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latin typeface="CorpoS" pitchFamily="2" charset="0"/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latin typeface="CorpoS" pitchFamily="2" charset="0"/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latin typeface="CorpoS" pitchFamily="2" charset="0"/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7729392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289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6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latin typeface="CorpoS" pitchFamily="2" charset="0"/>
              <a:sym typeface="CorpoS" pitchFamily="2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5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98">
                <a:solidFill>
                  <a:srgbClr val="FFFFFF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41310" y="3402830"/>
            <a:ext cx="2694666" cy="3461745"/>
          </a:xfrm>
          <a:prstGeom prst="rect">
            <a:avLst/>
          </a:prstGeom>
        </p:spPr>
      </p:pic>
      <p:sp>
        <p:nvSpPr>
          <p:cNvPr id="21" name="TextBox 20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5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7319320" y="6506901"/>
            <a:ext cx="3414222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noProof="0" smtClean="0">
                <a:solidFill>
                  <a:schemeClr val="tx1"/>
                </a:solidFill>
              </a:rPr>
              <a:t>2018-11-20_FORCE_Issues in data cleansing_v03.pptx</a:t>
            </a:r>
            <a:endParaRPr lang="en-US" sz="1199" noProof="0" dirty="0">
              <a:solidFill>
                <a:schemeClr val="tx1"/>
              </a:solidFill>
            </a:endParaRPr>
          </a:p>
        </p:txBody>
      </p:sp>
      <p:sp>
        <p:nvSpPr>
          <p:cNvPr id="14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3400697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313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2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33902" y="3382964"/>
            <a:ext cx="1298575" cy="3571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Pentagon 3"/>
          <p:cNvSpPr/>
          <p:nvPr userDrawn="1"/>
        </p:nvSpPr>
        <p:spPr bwMode="white">
          <a:xfrm>
            <a:off x="3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latin typeface="CorpoS" pitchFamily="2" charset="0"/>
              <a:sym typeface="CorpoS" pitchFamily="2" charset="0"/>
            </a:endParaRPr>
          </a:p>
        </p:txBody>
      </p:sp>
      <p:sp>
        <p:nvSpPr>
          <p:cNvPr id="21" name="TextBox 20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3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7319320" y="6506901"/>
            <a:ext cx="3414222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noProof="0" smtClean="0">
                <a:solidFill>
                  <a:srgbClr val="FFFFFF"/>
                </a:solidFill>
              </a:rPr>
              <a:t>2018-11-20_FORCE_Issues in data cleansing_v03.pptx</a:t>
            </a:r>
            <a:endParaRPr lang="en-US" sz="1199" noProof="0" dirty="0">
              <a:solidFill>
                <a:srgbClr val="FFFFFF"/>
              </a:solidFill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latin typeface="CorpoS" pitchFamily="2" charset="0"/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latin typeface="CorpoS" pitchFamily="2" charset="0"/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latin typeface="CorpoS" pitchFamily="2" charset="0"/>
                <a:sym typeface="CorpoS" pitchFamily="2" charset="0"/>
              </a:rPr>
              <a:t>by The Boston Consulting Group, Inc. All rights reserved.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30352" y="2976710"/>
            <a:ext cx="4061884" cy="1085599"/>
          </a:xfrm>
        </p:spPr>
        <p:txBody>
          <a:bodyPr/>
          <a:lstStyle>
            <a:lvl1pPr>
              <a:lnSpc>
                <a:spcPct val="90000"/>
              </a:lnSpc>
              <a:defRPr sz="3298">
                <a:solidFill>
                  <a:schemeClr val="tx2"/>
                </a:solidFill>
              </a:defRPr>
            </a:lvl1pPr>
            <a:lvl2pPr>
              <a:defRPr sz="3298"/>
            </a:lvl2pPr>
            <a:lvl3pPr>
              <a:defRPr sz="3298"/>
            </a:lvl3pPr>
            <a:lvl4pPr>
              <a:defRPr sz="3298"/>
            </a:lvl4pPr>
            <a:lvl5pPr>
              <a:defRPr sz="3298"/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83267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337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3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latin typeface="CorpoS" pitchFamily="2" charset="0"/>
              <a:sym typeface="CorpoS" pitchFamily="2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2" y="1785602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98" b="0">
                <a:solidFill>
                  <a:srgbClr val="FFFFFF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49483" y="3416300"/>
            <a:ext cx="2694666" cy="3441700"/>
          </a:xfrm>
          <a:prstGeom prst="rect">
            <a:avLst/>
          </a:prstGeom>
        </p:spPr>
      </p:pic>
      <p:sp>
        <p:nvSpPr>
          <p:cNvPr id="22" name="TextBox 21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3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7319320" y="6506901"/>
            <a:ext cx="3414222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noProof="0" smtClean="0">
                <a:solidFill>
                  <a:schemeClr val="tx1"/>
                </a:solidFill>
              </a:rPr>
              <a:t>2018-11-20_FORCE_Issues in data cleansing_v03.pptx</a:t>
            </a:r>
            <a:endParaRPr lang="en-US" sz="1199" noProof="0" dirty="0">
              <a:solidFill>
                <a:schemeClr val="tx1"/>
              </a:solidFill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178924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361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8758" y="3588020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latin typeface="CorpoS" pitchFamily="2" charset="0"/>
              <a:sym typeface="CorpoS" pitchFamily="2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4747822" cy="456942"/>
          </a:xfrm>
          <a:prstGeom prst="rect">
            <a:avLst/>
          </a:prstGeom>
        </p:spPr>
        <p:txBody>
          <a:bodyPr/>
          <a:lstStyle>
            <a:lvl1pPr>
              <a:defRPr sz="3298">
                <a:solidFill>
                  <a:schemeClr val="tx2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3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7319320" y="6506901"/>
            <a:ext cx="3414222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noProof="0" smtClean="0">
                <a:solidFill>
                  <a:srgbClr val="FFFFFF"/>
                </a:solidFill>
              </a:rPr>
              <a:t>2018-11-20_FORCE_Issues in data cleansing_v03.pptx</a:t>
            </a:r>
            <a:endParaRPr lang="en-US" sz="1199" noProof="0" dirty="0">
              <a:solidFill>
                <a:srgbClr val="FFFFFF"/>
              </a:solidFill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latin typeface="CorpoS" pitchFamily="2" charset="0"/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latin typeface="CorpoS" pitchFamily="2" charset="0"/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latin typeface="CorpoS" pitchFamily="2" charset="0"/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9129915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385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latin typeface="CorpoS" pitchFamily="2" charset="0"/>
              <a:sym typeface="CorpoS" pitchFamily="2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4747822" cy="456942"/>
          </a:xfrm>
          <a:prstGeom prst="rect">
            <a:avLst/>
          </a:prstGeom>
        </p:spPr>
        <p:txBody>
          <a:bodyPr/>
          <a:lstStyle>
            <a:lvl1pPr>
              <a:defRPr sz="3298">
                <a:solidFill>
                  <a:srgbClr val="FFFFFF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28424" y="3407805"/>
            <a:ext cx="2694666" cy="3456551"/>
          </a:xfrm>
          <a:prstGeom prst="rect">
            <a:avLst/>
          </a:prstGeom>
        </p:spPr>
      </p:pic>
      <p:sp>
        <p:nvSpPr>
          <p:cNvPr id="20" name="TextBox 19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4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7319320" y="6506901"/>
            <a:ext cx="3414222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noProof="0" smtClean="0">
                <a:solidFill>
                  <a:schemeClr val="tx1"/>
                </a:solidFill>
              </a:rPr>
              <a:t>2018-11-20_FORCE_Issues in data cleansing_v03.pptx</a:t>
            </a:r>
            <a:endParaRPr lang="en-US" sz="1199" noProof="0" dirty="0">
              <a:solidFill>
                <a:schemeClr val="tx1"/>
              </a:solidFill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1897840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409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41" y="3588020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reeform 18"/>
          <p:cNvSpPr/>
          <p:nvPr userDrawn="1"/>
        </p:nvSpPr>
        <p:spPr bwMode="white">
          <a:xfrm>
            <a:off x="2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schemeClr val="bg1"/>
              </a:solidFill>
              <a:latin typeface="CorpoS" pitchFamily="2" charset="0"/>
              <a:sym typeface="CorpoS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6476627" cy="456942"/>
          </a:xfrm>
          <a:prstGeom prst="rect">
            <a:avLst/>
          </a:prstGeom>
        </p:spPr>
        <p:txBody>
          <a:bodyPr/>
          <a:lstStyle>
            <a:lvl1pPr>
              <a:defRPr sz="3298">
                <a:solidFill>
                  <a:schemeClr val="tx2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3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7319320" y="6506901"/>
            <a:ext cx="3414222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noProof="0" smtClean="0">
                <a:solidFill>
                  <a:srgbClr val="FFFFFF"/>
                </a:solidFill>
              </a:rPr>
              <a:t>2018-11-20_FORCE_Issues in data cleansing_v03.pptx</a:t>
            </a:r>
            <a:endParaRPr lang="en-US" sz="1199" noProof="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393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t/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7178478-C14F-4056-BC7B-D4A0322B8D6E}" type="slidenum">
              <a:rPr lang="en-US" smtClean="0"/>
              <a:t>‹#›</a:t>
            </a:fld>
            <a:endParaRPr lang="en-US"/>
          </a:p>
        </p:txBody>
      </p:sp>
      <p:cxnSp>
        <p:nvCxnSpPr>
          <p:cNvPr id="5" name="Gerade Verbindung 66"/>
          <p:cNvCxnSpPr/>
          <p:nvPr/>
        </p:nvCxnSpPr>
        <p:spPr>
          <a:xfrm>
            <a:off x="3362836" y="1233203"/>
            <a:ext cx="0" cy="4797153"/>
          </a:xfrm>
          <a:prstGeom prst="line">
            <a:avLst/>
          </a:prstGeom>
          <a:ln w="3175" cmpd="sng">
            <a:solidFill>
              <a:srgbClr val="000000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Gerade Verbindung 67"/>
          <p:cNvCxnSpPr/>
          <p:nvPr/>
        </p:nvCxnSpPr>
        <p:spPr>
          <a:xfrm>
            <a:off x="6096000" y="1233202"/>
            <a:ext cx="0" cy="4797689"/>
          </a:xfrm>
          <a:prstGeom prst="line">
            <a:avLst/>
          </a:prstGeom>
          <a:ln w="3175" cmpd="sng">
            <a:solidFill>
              <a:srgbClr val="000000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rade Verbindung 68"/>
          <p:cNvCxnSpPr/>
          <p:nvPr/>
        </p:nvCxnSpPr>
        <p:spPr>
          <a:xfrm>
            <a:off x="8827612" y="1233202"/>
            <a:ext cx="0" cy="4797689"/>
          </a:xfrm>
          <a:prstGeom prst="line">
            <a:avLst/>
          </a:prstGeom>
          <a:ln w="3175" cmpd="sng">
            <a:solidFill>
              <a:srgbClr val="000000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809578" y="1979542"/>
            <a:ext cx="2374763" cy="1187725"/>
          </a:xfrm>
          <a:prstGeom prst="rect">
            <a:avLst/>
          </a:prstGeom>
          <a:noFill/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799"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541754" y="1979542"/>
            <a:ext cx="2374763" cy="1187725"/>
          </a:xfrm>
          <a:prstGeom prst="rect">
            <a:avLst/>
          </a:prstGeom>
          <a:noFill/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799"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17" hasCustomPrompt="1"/>
          </p:nvPr>
        </p:nvSpPr>
        <p:spPr>
          <a:xfrm>
            <a:off x="6273932" y="1979542"/>
            <a:ext cx="2374763" cy="1187725"/>
          </a:xfrm>
          <a:prstGeom prst="rect">
            <a:avLst/>
          </a:prstGeom>
          <a:noFill/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799"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9006109" y="1983950"/>
            <a:ext cx="2374763" cy="1187725"/>
          </a:xfrm>
          <a:prstGeom prst="rect">
            <a:avLst/>
          </a:prstGeom>
          <a:noFill/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799"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9" hasCustomPrompt="1"/>
          </p:nvPr>
        </p:nvSpPr>
        <p:spPr>
          <a:xfrm>
            <a:off x="809578" y="1504603"/>
            <a:ext cx="2374764" cy="474940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2099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099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099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099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099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099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099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099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099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 smtClean="0"/>
              <a:t>Insert text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3541755" y="1504603"/>
            <a:ext cx="2374764" cy="474940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2099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099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099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099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099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099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099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099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099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 smtClean="0"/>
              <a:t>Insert text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1" hasCustomPrompt="1"/>
          </p:nvPr>
        </p:nvSpPr>
        <p:spPr>
          <a:xfrm>
            <a:off x="6273932" y="1504603"/>
            <a:ext cx="2374764" cy="474940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2099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099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099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099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099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099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099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099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099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 smtClean="0"/>
              <a:t>Insert text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22" hasCustomPrompt="1"/>
          </p:nvPr>
        </p:nvSpPr>
        <p:spPr>
          <a:xfrm>
            <a:off x="9006109" y="1504603"/>
            <a:ext cx="2374764" cy="474940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2099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099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099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099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099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099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099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099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099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 smtClean="0"/>
              <a:t>Insert text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23" hasCustomPrompt="1"/>
          </p:nvPr>
        </p:nvSpPr>
        <p:spPr>
          <a:xfrm>
            <a:off x="809579" y="3275242"/>
            <a:ext cx="2374762" cy="611858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3698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 smtClean="0"/>
              <a:t>XXYYY</a:t>
            </a:r>
          </a:p>
        </p:txBody>
      </p:sp>
      <p:sp>
        <p:nvSpPr>
          <p:cNvPr id="24" name="Text Placeholder 18"/>
          <p:cNvSpPr>
            <a:spLocks noGrp="1"/>
          </p:cNvSpPr>
          <p:nvPr>
            <p:ph type="body" sz="quarter" idx="24" hasCustomPrompt="1"/>
          </p:nvPr>
        </p:nvSpPr>
        <p:spPr>
          <a:xfrm>
            <a:off x="809579" y="3887100"/>
            <a:ext cx="2374762" cy="395908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2099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099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099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099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099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099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099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099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099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 smtClean="0"/>
              <a:t>Insert text</a:t>
            </a:r>
          </a:p>
        </p:txBody>
      </p:sp>
      <p:sp>
        <p:nvSpPr>
          <p:cNvPr id="25" name="Text Placeholder 18"/>
          <p:cNvSpPr>
            <a:spLocks noGrp="1"/>
          </p:cNvSpPr>
          <p:nvPr>
            <p:ph type="body" sz="quarter" idx="25" hasCustomPrompt="1"/>
          </p:nvPr>
        </p:nvSpPr>
        <p:spPr>
          <a:xfrm>
            <a:off x="809579" y="4426975"/>
            <a:ext cx="2374762" cy="611858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3698">
                <a:solidFill>
                  <a:schemeClr val="accent2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accent2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accent2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accent2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accent2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accent2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accent2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accent2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accent2"/>
                </a:solidFill>
              </a:defRPr>
            </a:lvl9pPr>
          </a:lstStyle>
          <a:p>
            <a:pPr lvl="0"/>
            <a:r>
              <a:rPr lang="en-GB" dirty="0" err="1" smtClean="0"/>
              <a:t>XXg</a:t>
            </a:r>
            <a:endParaRPr lang="en-GB" dirty="0" smtClean="0"/>
          </a:p>
        </p:txBody>
      </p:sp>
      <p:sp>
        <p:nvSpPr>
          <p:cNvPr id="26" name="Text Placeholder 18"/>
          <p:cNvSpPr>
            <a:spLocks noGrp="1"/>
          </p:cNvSpPr>
          <p:nvPr>
            <p:ph type="body" sz="quarter" idx="26" hasCustomPrompt="1"/>
          </p:nvPr>
        </p:nvSpPr>
        <p:spPr>
          <a:xfrm>
            <a:off x="809579" y="5002842"/>
            <a:ext cx="2374762" cy="611858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3698">
                <a:solidFill>
                  <a:schemeClr val="tx2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tx2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tx2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tx2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tx2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tx2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tx2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tx2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tx2"/>
                </a:solidFill>
              </a:defRPr>
            </a:lvl9pPr>
          </a:lstStyle>
          <a:p>
            <a:pPr lvl="0"/>
            <a:r>
              <a:rPr lang="en-GB" dirty="0" err="1" smtClean="0"/>
              <a:t>X,Xl</a:t>
            </a:r>
            <a:endParaRPr lang="en-GB" dirty="0" smtClean="0"/>
          </a:p>
        </p:txBody>
      </p:sp>
      <p:sp>
        <p:nvSpPr>
          <p:cNvPr id="27" name="Text Placeholder 18"/>
          <p:cNvSpPr>
            <a:spLocks noGrp="1"/>
          </p:cNvSpPr>
          <p:nvPr>
            <p:ph type="body" sz="quarter" idx="27" hasCustomPrompt="1"/>
          </p:nvPr>
        </p:nvSpPr>
        <p:spPr>
          <a:xfrm>
            <a:off x="809579" y="5830650"/>
            <a:ext cx="2374762" cy="287933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599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599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599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599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599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599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599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599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599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 smtClean="0"/>
              <a:t>Insert text</a:t>
            </a:r>
          </a:p>
        </p:txBody>
      </p:sp>
      <p:sp>
        <p:nvSpPr>
          <p:cNvPr id="32" name="Text Placeholder 18"/>
          <p:cNvSpPr>
            <a:spLocks noGrp="1"/>
          </p:cNvSpPr>
          <p:nvPr>
            <p:ph type="body" sz="quarter" idx="28" hasCustomPrompt="1"/>
          </p:nvPr>
        </p:nvSpPr>
        <p:spPr>
          <a:xfrm>
            <a:off x="3541755" y="3275242"/>
            <a:ext cx="2374762" cy="611858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3698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 smtClean="0"/>
              <a:t>XXYYY</a:t>
            </a:r>
          </a:p>
        </p:txBody>
      </p:sp>
      <p:sp>
        <p:nvSpPr>
          <p:cNvPr id="33" name="Text Placeholder 18"/>
          <p:cNvSpPr>
            <a:spLocks noGrp="1"/>
          </p:cNvSpPr>
          <p:nvPr>
            <p:ph type="body" sz="quarter" idx="29" hasCustomPrompt="1"/>
          </p:nvPr>
        </p:nvSpPr>
        <p:spPr>
          <a:xfrm>
            <a:off x="3541755" y="3887100"/>
            <a:ext cx="2374762" cy="395908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2099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099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099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099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099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099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099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099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099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 smtClean="0"/>
              <a:t>Insert text</a:t>
            </a:r>
          </a:p>
        </p:txBody>
      </p:sp>
      <p:sp>
        <p:nvSpPr>
          <p:cNvPr id="34" name="Text Placeholder 18"/>
          <p:cNvSpPr>
            <a:spLocks noGrp="1"/>
          </p:cNvSpPr>
          <p:nvPr>
            <p:ph type="body" sz="quarter" idx="30" hasCustomPrompt="1"/>
          </p:nvPr>
        </p:nvSpPr>
        <p:spPr>
          <a:xfrm>
            <a:off x="3541755" y="4426975"/>
            <a:ext cx="2374762" cy="611858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3698">
                <a:solidFill>
                  <a:schemeClr val="accent2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accent2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accent2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accent2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accent2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accent2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accent2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accent2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accent2"/>
                </a:solidFill>
              </a:defRPr>
            </a:lvl9pPr>
          </a:lstStyle>
          <a:p>
            <a:pPr lvl="0"/>
            <a:r>
              <a:rPr lang="en-GB" dirty="0" err="1" smtClean="0"/>
              <a:t>XXg</a:t>
            </a:r>
            <a:endParaRPr lang="en-GB" dirty="0" smtClean="0"/>
          </a:p>
        </p:txBody>
      </p:sp>
      <p:sp>
        <p:nvSpPr>
          <p:cNvPr id="35" name="Text Placeholder 18"/>
          <p:cNvSpPr>
            <a:spLocks noGrp="1"/>
          </p:cNvSpPr>
          <p:nvPr>
            <p:ph type="body" sz="quarter" idx="31" hasCustomPrompt="1"/>
          </p:nvPr>
        </p:nvSpPr>
        <p:spPr>
          <a:xfrm>
            <a:off x="3541755" y="5002842"/>
            <a:ext cx="2374762" cy="611858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3698">
                <a:solidFill>
                  <a:schemeClr val="tx2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tx2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tx2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tx2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tx2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tx2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tx2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tx2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tx2"/>
                </a:solidFill>
              </a:defRPr>
            </a:lvl9pPr>
          </a:lstStyle>
          <a:p>
            <a:pPr lvl="0"/>
            <a:r>
              <a:rPr lang="en-GB" dirty="0" err="1" smtClean="0"/>
              <a:t>X,Xl</a:t>
            </a:r>
            <a:endParaRPr lang="en-GB" dirty="0" smtClean="0"/>
          </a:p>
        </p:txBody>
      </p:sp>
      <p:sp>
        <p:nvSpPr>
          <p:cNvPr id="36" name="Text Placeholder 18"/>
          <p:cNvSpPr>
            <a:spLocks noGrp="1"/>
          </p:cNvSpPr>
          <p:nvPr>
            <p:ph type="body" sz="quarter" idx="32" hasCustomPrompt="1"/>
          </p:nvPr>
        </p:nvSpPr>
        <p:spPr>
          <a:xfrm>
            <a:off x="3541755" y="5830650"/>
            <a:ext cx="2374762" cy="287933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599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599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599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599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599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599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599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599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599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 smtClean="0"/>
              <a:t>Insert text</a:t>
            </a:r>
          </a:p>
        </p:txBody>
      </p:sp>
      <p:sp>
        <p:nvSpPr>
          <p:cNvPr id="37" name="Text Placeholder 18"/>
          <p:cNvSpPr>
            <a:spLocks noGrp="1"/>
          </p:cNvSpPr>
          <p:nvPr>
            <p:ph type="body" sz="quarter" idx="33" hasCustomPrompt="1"/>
          </p:nvPr>
        </p:nvSpPr>
        <p:spPr>
          <a:xfrm>
            <a:off x="6273934" y="3275242"/>
            <a:ext cx="2374762" cy="611858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3698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 smtClean="0"/>
              <a:t>XXYYY</a:t>
            </a:r>
          </a:p>
        </p:txBody>
      </p:sp>
      <p:sp>
        <p:nvSpPr>
          <p:cNvPr id="38" name="Text Placeholder 18"/>
          <p:cNvSpPr>
            <a:spLocks noGrp="1"/>
          </p:cNvSpPr>
          <p:nvPr>
            <p:ph type="body" sz="quarter" idx="34" hasCustomPrompt="1"/>
          </p:nvPr>
        </p:nvSpPr>
        <p:spPr>
          <a:xfrm>
            <a:off x="6273934" y="3887100"/>
            <a:ext cx="2374762" cy="395908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2099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099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099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099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099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099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099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099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099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 smtClean="0"/>
              <a:t>Insert text</a:t>
            </a:r>
          </a:p>
        </p:txBody>
      </p:sp>
      <p:sp>
        <p:nvSpPr>
          <p:cNvPr id="39" name="Text Placeholder 18"/>
          <p:cNvSpPr>
            <a:spLocks noGrp="1"/>
          </p:cNvSpPr>
          <p:nvPr>
            <p:ph type="body" sz="quarter" idx="35" hasCustomPrompt="1"/>
          </p:nvPr>
        </p:nvSpPr>
        <p:spPr>
          <a:xfrm>
            <a:off x="6273934" y="4426975"/>
            <a:ext cx="2374762" cy="611858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3698">
                <a:solidFill>
                  <a:schemeClr val="accent2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accent2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accent2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accent2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accent2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accent2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accent2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accent2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accent2"/>
                </a:solidFill>
              </a:defRPr>
            </a:lvl9pPr>
          </a:lstStyle>
          <a:p>
            <a:pPr lvl="0"/>
            <a:r>
              <a:rPr lang="en-GB" dirty="0" err="1" smtClean="0"/>
              <a:t>XXg</a:t>
            </a:r>
            <a:endParaRPr lang="en-GB" dirty="0" smtClean="0"/>
          </a:p>
        </p:txBody>
      </p:sp>
      <p:sp>
        <p:nvSpPr>
          <p:cNvPr id="40" name="Text Placeholder 18"/>
          <p:cNvSpPr>
            <a:spLocks noGrp="1"/>
          </p:cNvSpPr>
          <p:nvPr>
            <p:ph type="body" sz="quarter" idx="36" hasCustomPrompt="1"/>
          </p:nvPr>
        </p:nvSpPr>
        <p:spPr>
          <a:xfrm>
            <a:off x="6273934" y="5002842"/>
            <a:ext cx="2374762" cy="611858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3698">
                <a:solidFill>
                  <a:schemeClr val="tx2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tx2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tx2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tx2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tx2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tx2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tx2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tx2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tx2"/>
                </a:solidFill>
              </a:defRPr>
            </a:lvl9pPr>
          </a:lstStyle>
          <a:p>
            <a:pPr lvl="0"/>
            <a:r>
              <a:rPr lang="en-GB" dirty="0" err="1" smtClean="0"/>
              <a:t>X,Xl</a:t>
            </a:r>
            <a:endParaRPr lang="en-GB" dirty="0" smtClean="0"/>
          </a:p>
        </p:txBody>
      </p:sp>
      <p:sp>
        <p:nvSpPr>
          <p:cNvPr id="41" name="Text Placeholder 18"/>
          <p:cNvSpPr>
            <a:spLocks noGrp="1"/>
          </p:cNvSpPr>
          <p:nvPr>
            <p:ph type="body" sz="quarter" idx="37" hasCustomPrompt="1"/>
          </p:nvPr>
        </p:nvSpPr>
        <p:spPr>
          <a:xfrm>
            <a:off x="6273934" y="5830650"/>
            <a:ext cx="2374762" cy="287933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599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599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599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599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599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599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599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599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599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 smtClean="0"/>
              <a:t>Insert text</a:t>
            </a:r>
          </a:p>
        </p:txBody>
      </p:sp>
      <p:sp>
        <p:nvSpPr>
          <p:cNvPr id="42" name="Text Placeholder 18"/>
          <p:cNvSpPr>
            <a:spLocks noGrp="1"/>
          </p:cNvSpPr>
          <p:nvPr>
            <p:ph type="body" sz="quarter" idx="38" hasCustomPrompt="1"/>
          </p:nvPr>
        </p:nvSpPr>
        <p:spPr>
          <a:xfrm>
            <a:off x="9006110" y="3303538"/>
            <a:ext cx="2374762" cy="611858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3698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 smtClean="0"/>
              <a:t>XXYYY</a:t>
            </a:r>
          </a:p>
        </p:txBody>
      </p:sp>
      <p:sp>
        <p:nvSpPr>
          <p:cNvPr id="43" name="Text Placeholder 18"/>
          <p:cNvSpPr>
            <a:spLocks noGrp="1"/>
          </p:cNvSpPr>
          <p:nvPr>
            <p:ph type="body" sz="quarter" idx="39" hasCustomPrompt="1"/>
          </p:nvPr>
        </p:nvSpPr>
        <p:spPr>
          <a:xfrm>
            <a:off x="9006110" y="3915397"/>
            <a:ext cx="2374762" cy="395908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2099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099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099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099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099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099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099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099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099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 smtClean="0"/>
              <a:t>Insert text</a:t>
            </a:r>
          </a:p>
        </p:txBody>
      </p:sp>
      <p:sp>
        <p:nvSpPr>
          <p:cNvPr id="44" name="Text Placeholder 18"/>
          <p:cNvSpPr>
            <a:spLocks noGrp="1"/>
          </p:cNvSpPr>
          <p:nvPr>
            <p:ph type="body" sz="quarter" idx="40" hasCustomPrompt="1"/>
          </p:nvPr>
        </p:nvSpPr>
        <p:spPr>
          <a:xfrm>
            <a:off x="9006110" y="4455272"/>
            <a:ext cx="2374762" cy="611858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3698">
                <a:solidFill>
                  <a:schemeClr val="accent2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accent2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accent2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accent2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accent2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accent2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accent2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accent2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accent2"/>
                </a:solidFill>
              </a:defRPr>
            </a:lvl9pPr>
          </a:lstStyle>
          <a:p>
            <a:pPr lvl="0"/>
            <a:r>
              <a:rPr lang="en-GB" dirty="0" err="1" smtClean="0"/>
              <a:t>XXg</a:t>
            </a:r>
            <a:endParaRPr lang="en-GB" dirty="0" smtClean="0"/>
          </a:p>
        </p:txBody>
      </p:sp>
      <p:sp>
        <p:nvSpPr>
          <p:cNvPr id="45" name="Text Placeholder 18"/>
          <p:cNvSpPr>
            <a:spLocks noGrp="1"/>
          </p:cNvSpPr>
          <p:nvPr>
            <p:ph type="body" sz="quarter" idx="41" hasCustomPrompt="1"/>
          </p:nvPr>
        </p:nvSpPr>
        <p:spPr>
          <a:xfrm>
            <a:off x="9006110" y="5031138"/>
            <a:ext cx="2374762" cy="611858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3698">
                <a:solidFill>
                  <a:schemeClr val="tx2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tx2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tx2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tx2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tx2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tx2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tx2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tx2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tx2"/>
                </a:solidFill>
              </a:defRPr>
            </a:lvl9pPr>
          </a:lstStyle>
          <a:p>
            <a:pPr lvl="0"/>
            <a:r>
              <a:rPr lang="en-GB" dirty="0" err="1" smtClean="0"/>
              <a:t>X,Xl</a:t>
            </a:r>
            <a:endParaRPr lang="en-GB" dirty="0" smtClean="0"/>
          </a:p>
        </p:txBody>
      </p:sp>
      <p:sp>
        <p:nvSpPr>
          <p:cNvPr id="46" name="Text Placeholder 18"/>
          <p:cNvSpPr>
            <a:spLocks noGrp="1"/>
          </p:cNvSpPr>
          <p:nvPr>
            <p:ph type="body" sz="quarter" idx="42" hasCustomPrompt="1"/>
          </p:nvPr>
        </p:nvSpPr>
        <p:spPr>
          <a:xfrm>
            <a:off x="9006110" y="5858946"/>
            <a:ext cx="2374762" cy="287933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599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599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599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599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599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599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599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599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599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 smtClean="0"/>
              <a:t>Insert text</a:t>
            </a:r>
          </a:p>
        </p:txBody>
      </p:sp>
      <p:sp>
        <p:nvSpPr>
          <p:cNvPr id="47" name="Title 1"/>
          <p:cNvSpPr>
            <a:spLocks noGrp="1"/>
          </p:cNvSpPr>
          <p:nvPr>
            <p:ph type="title" hasCustomPrompt="1"/>
          </p:nvPr>
        </p:nvSpPr>
        <p:spPr>
          <a:xfrm>
            <a:off x="629671" y="285982"/>
            <a:ext cx="10931106" cy="683842"/>
          </a:xfrm>
        </p:spPr>
        <p:txBody>
          <a:bodyPr/>
          <a:lstStyle/>
          <a:p>
            <a:r>
              <a:rPr lang="en-GB" noProof="0" dirty="0" smtClean="0"/>
              <a:t>Headline in CorpoS (Body) 35 pt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1200496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</p15:sldGuideLst>
    </p:ext>
  </p:extLst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433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2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schemeClr val="bg1"/>
              </a:solidFill>
              <a:latin typeface="CorpoS" pitchFamily="2" charset="0"/>
              <a:sym typeface="CorpoS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6476627" cy="456942"/>
          </a:xfrm>
          <a:prstGeom prst="rect">
            <a:avLst/>
          </a:prstGeom>
        </p:spPr>
        <p:txBody>
          <a:bodyPr/>
          <a:lstStyle>
            <a:lvl1pPr>
              <a:defRPr sz="3298">
                <a:solidFill>
                  <a:srgbClr val="FFFFFF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24772" y="3407805"/>
            <a:ext cx="2694666" cy="3456551"/>
          </a:xfrm>
          <a:prstGeom prst="rect">
            <a:avLst/>
          </a:prstGeom>
        </p:spPr>
      </p:pic>
      <p:sp>
        <p:nvSpPr>
          <p:cNvPr id="25" name="TextBox 24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3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7319320" y="6506901"/>
            <a:ext cx="3414222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noProof="0" smtClean="0">
                <a:solidFill>
                  <a:schemeClr val="tx1"/>
                </a:solidFill>
              </a:rPr>
              <a:t>2018-11-20_FORCE_Issues in data cleansing_v03.pptx</a:t>
            </a:r>
            <a:endParaRPr lang="en-US" sz="1199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7974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457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3486" rtl="0" eaLnBrk="1" fontAlgn="auto" latinLnBrk="0" hangingPunct="1">
              <a:lnSpc>
                <a:spcPts val="5994"/>
              </a:lnSpc>
              <a:spcBef>
                <a:spcPts val="0"/>
              </a:spcBef>
              <a:spcAft>
                <a:spcPts val="0"/>
              </a:spcAft>
              <a:defRPr lang="en-US" sz="5394" kern="1200" baseline="0" dirty="0">
                <a:solidFill>
                  <a:schemeClr val="bg1"/>
                </a:solidFill>
                <a:latin typeface="+mj-lt"/>
                <a:ea typeface="+mn-ea"/>
                <a:cs typeface="+mj-cs"/>
                <a:sym typeface="CorpoS" pitchFamily="2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big statement text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3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7319320" y="6506901"/>
            <a:ext cx="3414222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noProof="0" smtClean="0">
                <a:solidFill>
                  <a:srgbClr val="FFFFFF"/>
                </a:solidFill>
              </a:rPr>
              <a:t>2018-11-20_FORCE_Issues in data cleansing_v03.pptx</a:t>
            </a:r>
            <a:endParaRPr lang="en-US" sz="1199" noProof="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0215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481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198" dirty="0">
              <a:solidFill>
                <a:schemeClr val="bg1"/>
              </a:solidFill>
              <a:latin typeface="CorpoS" pitchFamily="2" charset="0"/>
              <a:sym typeface="CorpoS" pitchFamily="2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3486" rtl="0" eaLnBrk="1" fontAlgn="auto" latinLnBrk="0" hangingPunct="1">
              <a:lnSpc>
                <a:spcPts val="5994"/>
              </a:lnSpc>
              <a:spcBef>
                <a:spcPts val="0"/>
              </a:spcBef>
              <a:spcAft>
                <a:spcPts val="0"/>
              </a:spcAft>
              <a:defRPr lang="en-US" sz="5394" kern="1200" baseline="0" dirty="0">
                <a:solidFill>
                  <a:schemeClr val="accent4"/>
                </a:solidFill>
                <a:latin typeface="+mj-lt"/>
                <a:ea typeface="+mn-ea"/>
                <a:cs typeface="+mj-cs"/>
                <a:sym typeface="CorpoS" pitchFamily="2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big statement text</a:t>
            </a:r>
          </a:p>
        </p:txBody>
      </p:sp>
      <p:sp>
        <p:nvSpPr>
          <p:cNvPr id="8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7319320" y="6506901"/>
            <a:ext cx="3414222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noProof="0" smtClean="0">
                <a:solidFill>
                  <a:schemeClr val="tx1"/>
                </a:solidFill>
              </a:rPr>
              <a:t>2018-11-20_FORCE_Issues in data cleansing_v03.pptx</a:t>
            </a:r>
            <a:endParaRPr lang="en-US" sz="1199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40162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505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3" y="110970"/>
            <a:ext cx="769257" cy="10019821"/>
          </a:xfrm>
          <a:prstGeom prst="rect">
            <a:avLst/>
          </a:pr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344" tIns="45672" rIns="91344" bIns="45672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799" dirty="0">
              <a:latin typeface="CorpoS" pitchFamily="2" charset="0"/>
              <a:sym typeface="CorpoS" pitchFamily="2" charset="0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9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7319320" y="6506901"/>
            <a:ext cx="3414222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noProof="0" smtClean="0">
                <a:solidFill>
                  <a:srgbClr val="FFFFFF"/>
                </a:solidFill>
              </a:rPr>
              <a:t>2018-11-20_FORCE_Issues in data cleansing_v03.pptx</a:t>
            </a:r>
            <a:endParaRPr lang="en-US" sz="1199" noProof="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332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529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10933200" cy="456942"/>
          </a:xfrm>
        </p:spPr>
        <p:txBody>
          <a:bodyPr/>
          <a:lstStyle>
            <a:lvl1pPr>
              <a:defRPr sz="3298">
                <a:solidFill>
                  <a:schemeClr val="bg1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9" name="TextBox 8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7319320" y="6506901"/>
            <a:ext cx="3414222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noProof="0" smtClean="0">
                <a:solidFill>
                  <a:srgbClr val="FFFFFF"/>
                </a:solidFill>
              </a:rPr>
              <a:t>2018-11-20_FORCE_Issues in data cleansing_v03.pptx</a:t>
            </a:r>
            <a:endParaRPr lang="en-US" sz="1199" noProof="0" dirty="0">
              <a:solidFill>
                <a:srgbClr val="FFFFFF"/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latin typeface="CorpoS" pitchFamily="2" charset="0"/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latin typeface="CorpoS" pitchFamily="2" charset="0"/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latin typeface="CorpoS" pitchFamily="2" charset="0"/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58664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553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9436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latin typeface="CorpoS" pitchFamily="2" charset="0"/>
              <a:sym typeface="CorpoS" pitchFamily="2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latin typeface="CorpoS" pitchFamily="2" charset="0"/>
              <a:sym typeface="CorpoS" pitchFamily="2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394" dirty="0">
                <a:solidFill>
                  <a:schemeClr val="tx2"/>
                </a:solidFill>
                <a:latin typeface="+mj-lt"/>
                <a:sym typeface="CorpoS" pitchFamily="2" charset="0"/>
              </a:rPr>
              <a:t>Table of Contents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9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7319320" y="6506901"/>
            <a:ext cx="3414222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noProof="0" smtClean="0">
                <a:solidFill>
                  <a:srgbClr val="FFFFFF"/>
                </a:solidFill>
              </a:rPr>
              <a:t>2018-11-20_FORCE_Issues in data cleansing_v03.pptx</a:t>
            </a:r>
            <a:endParaRPr lang="en-US" sz="1199" noProof="0" dirty="0">
              <a:solidFill>
                <a:srgbClr val="FFFFFF"/>
              </a:solidFill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latin typeface="CorpoS" pitchFamily="2" charset="0"/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latin typeface="CorpoS" pitchFamily="2" charset="0"/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latin typeface="CorpoS" pitchFamily="2" charset="0"/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2253174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577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7319320" y="6506901"/>
            <a:ext cx="3414222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noProof="0" smtClean="0">
                <a:solidFill>
                  <a:srgbClr val="FFFFFF"/>
                </a:solidFill>
              </a:rPr>
              <a:t>2018-11-20_FORCE_Issues in data cleansing_v03.pptx</a:t>
            </a:r>
            <a:endParaRPr lang="en-US" sz="1199" noProof="0" dirty="0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latin typeface="CorpoS" pitchFamily="2" charset="0"/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latin typeface="CorpoS" pitchFamily="2" charset="0"/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latin typeface="CorpoS" pitchFamily="2" charset="0"/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337390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601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7319320" y="6506901"/>
            <a:ext cx="3414222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noProof="0" smtClean="0">
                <a:solidFill>
                  <a:schemeClr val="tx1"/>
                </a:solidFill>
              </a:rPr>
              <a:t>2018-11-20_FORCE_Issues in data cleansing_v03.pptx</a:t>
            </a:r>
            <a:endParaRPr lang="en-US" sz="1199" noProof="0" dirty="0">
              <a:solidFill>
                <a:schemeClr val="tx1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968199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625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7319320" y="6506901"/>
            <a:ext cx="3414222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noProof="0" smtClean="0">
                <a:solidFill>
                  <a:schemeClr val="tx1"/>
                </a:solidFill>
              </a:rPr>
              <a:t>2018-11-20_FORCE_Issues in data cleansing_v03.pptx</a:t>
            </a:r>
            <a:endParaRPr lang="en-US" sz="1199" noProof="0" dirty="0">
              <a:solidFill>
                <a:schemeClr val="tx1"/>
              </a:solidFill>
            </a:endParaRPr>
          </a:p>
        </p:txBody>
      </p:sp>
      <p:sp>
        <p:nvSpPr>
          <p:cNvPr id="8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324131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E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649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lowchart: Manual Input 7"/>
          <p:cNvSpPr/>
          <p:nvPr userDrawn="1"/>
        </p:nvSpPr>
        <p:spPr>
          <a:xfrm>
            <a:off x="0" y="3610066"/>
            <a:ext cx="12192000" cy="3247934"/>
          </a:xfrm>
          <a:prstGeom prst="flowChartManualInput">
            <a:avLst/>
          </a:prstGeom>
          <a:solidFill>
            <a:srgbClr val="E6E6E6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9E9E9E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99" dirty="0" err="1" smtClean="0"/>
          </a:p>
        </p:txBody>
      </p:sp>
      <p:sp>
        <p:nvSpPr>
          <p:cNvPr id="9" name="Flowchart: Manual Input 8"/>
          <p:cNvSpPr/>
          <p:nvPr userDrawn="1"/>
        </p:nvSpPr>
        <p:spPr>
          <a:xfrm flipH="1" flipV="1">
            <a:off x="0" y="0"/>
            <a:ext cx="12192000" cy="4532850"/>
          </a:xfrm>
          <a:prstGeom prst="flowChartManualInput">
            <a:avLst/>
          </a:prstGeom>
          <a:solidFill>
            <a:srgbClr val="00566D"/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99" dirty="0" err="1" smtClean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804" t="9756" r="6727" b="4972"/>
          <a:stretch/>
        </p:blipFill>
        <p:spPr>
          <a:xfrm>
            <a:off x="131974" y="3490768"/>
            <a:ext cx="3789529" cy="2442689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956" r="13359"/>
          <a:stretch>
            <a:fillRect/>
          </a:stretch>
        </p:blipFill>
        <p:spPr>
          <a:xfrm>
            <a:off x="9405114" y="3500651"/>
            <a:ext cx="2691445" cy="2418386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8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6741655" y="3672592"/>
            <a:ext cx="2935899" cy="2320471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40885" y="3474457"/>
            <a:ext cx="3570966" cy="2833362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10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04555" y="3766182"/>
            <a:ext cx="2312483" cy="2541637"/>
          </a:xfrm>
          <a:prstGeom prst="rect">
            <a:avLst/>
          </a:prstGeom>
        </p:spPr>
      </p:pic>
      <p:pic>
        <p:nvPicPr>
          <p:cNvPr id="17" name="Wortmarke DAIMLER" descr="Daimler_RGB_100mm.png"/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1254" y="791617"/>
            <a:ext cx="3417231" cy="462594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4648" y="613010"/>
            <a:ext cx="786654" cy="786882"/>
          </a:xfrm>
          <a:prstGeom prst="rect">
            <a:avLst/>
          </a:prstGeom>
        </p:spPr>
      </p:pic>
      <p:pic>
        <p:nvPicPr>
          <p:cNvPr id="20" name="Picture 3" descr="C:\Users\rajarrv\AppData\Local\Microsoft\Windows\Temporary Internet Files\Content.Outlook\3CY2KM7L\B-No Background FORCE LOGO.png"/>
          <p:cNvPicPr>
            <a:picLocks noChangeAspect="1" noChangeArrowheads="1"/>
          </p:cNvPicPr>
          <p:nvPr userDrawn="1"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419611" y="692628"/>
            <a:ext cx="2166326" cy="6188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49393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/ Headline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 smtClean="0"/>
              <a:t>Headline in CorpoS (Body) 35 pt.</a:t>
            </a:r>
            <a:br>
              <a:rPr lang="en-GB" noProof="0" dirty="0" smtClean="0"/>
            </a:br>
            <a:r>
              <a:rPr lang="en-GB" noProof="0" dirty="0" smtClean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7178478-C14F-4056-BC7B-D4A0322B8D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993074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</p15:sldGuideLst>
    </p:ext>
  </p:extLst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673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4" name="Group 143"/>
          <p:cNvGrpSpPr/>
          <p:nvPr userDrawn="1"/>
        </p:nvGrpSpPr>
        <p:grpSpPr>
          <a:xfrm>
            <a:off x="-598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>
                <a:solidFill>
                  <a:schemeClr val="tx1"/>
                </a:solidFill>
                <a:latin typeface="CorpoS" pitchFamily="2" charset="0"/>
                <a:sym typeface="CorpoS" pitchFamily="2" charset="0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latin typeface="CorpoS" pitchFamily="2" charset="0"/>
                  <a:sym typeface="CorpoS" pitchFamily="2" charset="0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latin typeface="CorpoS" pitchFamily="2" charset="0"/>
                  <a:sym typeface="CorpoS" pitchFamily="2" charset="0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latin typeface="CorpoS" pitchFamily="2" charset="0"/>
                  <a:sym typeface="CorpoS" pitchFamily="2" charset="0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latin typeface="CorpoS" pitchFamily="2" charset="0"/>
                  <a:sym typeface="CorpoS" pitchFamily="2" charset="0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latin typeface="CorpoS" pitchFamily="2" charset="0"/>
                  <a:sym typeface="CorpoS" pitchFamily="2" charset="0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latin typeface="CorpoS" pitchFamily="2" charset="0"/>
                  <a:sym typeface="CorpoS" pitchFamily="2" charset="0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latin typeface="CorpoS" pitchFamily="2" charset="0"/>
                  <a:sym typeface="CorpoS" pitchFamily="2" charset="0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latin typeface="CorpoS" pitchFamily="2" charset="0"/>
                  <a:sym typeface="CorpoS" pitchFamily="2" charset="0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latin typeface="CorpoS" pitchFamily="2" charset="0"/>
                  <a:sym typeface="CorpoS" pitchFamily="2" charset="0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latin typeface="CorpoS" pitchFamily="2" charset="0"/>
                  <a:sym typeface="CorpoS" pitchFamily="2" charset="0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latin typeface="CorpoS" pitchFamily="2" charset="0"/>
                  <a:sym typeface="CorpoS" pitchFamily="2" charset="0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8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orpoS" pitchFamily="2" charset="0"/>
                <a:ea typeface="+mn-ea"/>
                <a:cs typeface="+mn-cs"/>
                <a:sym typeface="CorpoS" pitchFamily="2" charset="0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>
                <a:latin typeface="CorpoS" pitchFamily="2" charset="0"/>
                <a:sym typeface="CorpoS" pitchFamily="2" charset="0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>
                <a:latin typeface="CorpoS" pitchFamily="2" charset="0"/>
                <a:sym typeface="CorpoS" pitchFamily="2" charset="0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latin typeface="CorpoS" pitchFamily="2" charset="0"/>
                  <a:sym typeface="CorpoS" pitchFamily="2" charset="0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latin typeface="CorpoS" pitchFamily="2" charset="0"/>
                  <a:sym typeface="CorpoS" pitchFamily="2" charset="0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latin typeface="CorpoS" pitchFamily="2" charset="0"/>
                  <a:sym typeface="CorpoS" pitchFamily="2" charset="0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latin typeface="CorpoS" pitchFamily="2" charset="0"/>
                  <a:sym typeface="CorpoS" pitchFamily="2" charset="0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latin typeface="CorpoS" pitchFamily="2" charset="0"/>
                  <a:sym typeface="CorpoS" pitchFamily="2" charset="0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999"/>
                </a:spcAft>
              </a:pPr>
              <a:endParaRPr lang="en-US" sz="1198" dirty="0">
                <a:solidFill>
                  <a:schemeClr val="bg1"/>
                </a:solidFill>
                <a:latin typeface="CorpoS" pitchFamily="2" charset="0"/>
                <a:sym typeface="CorpoS" pitchFamily="2" charset="0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99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CorpoS" pitchFamily="2" charset="0"/>
                  <a:ea typeface="+mn-ea"/>
                  <a:cs typeface="+mn-cs"/>
                  <a:sym typeface="CorpoS" pitchFamily="2" charset="0"/>
                </a:rPr>
                <a:t>1. xxxx  2. xxxx  3. xxxx</a:t>
              </a:r>
            </a:p>
            <a:p>
              <a:pPr marL="0" marR="0" lvl="0" indent="0" algn="l" defTabSz="913486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99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CorpoS" pitchFamily="2" charset="0"/>
                  <a:ea typeface="+mn-ea"/>
                  <a:cs typeface="+mn-cs"/>
                  <a:sym typeface="CorpoS" pitchFamily="2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 marL="0" marR="0" lvl="0" indent="0" algn="l" defTabSz="913486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99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CorpoS" pitchFamily="2" charset="0"/>
                  <a:ea typeface="+mn-ea"/>
                  <a:cs typeface="+mn-cs"/>
                  <a:sym typeface="CorpoS" pitchFamily="2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52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7319320" y="6506901"/>
            <a:ext cx="3414222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noProof="0" smtClean="0">
                <a:solidFill>
                  <a:schemeClr val="tx1"/>
                </a:solidFill>
              </a:rPr>
              <a:t>2018-11-20_FORCE_Issues in data cleansing_v03.pptx</a:t>
            </a:r>
            <a:endParaRPr lang="en-US" sz="1199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2538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タイトル スライド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758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lowchart: Manual Input 7"/>
          <p:cNvSpPr/>
          <p:nvPr userDrawn="1"/>
        </p:nvSpPr>
        <p:spPr>
          <a:xfrm>
            <a:off x="0" y="3610066"/>
            <a:ext cx="12192000" cy="3247934"/>
          </a:xfrm>
          <a:prstGeom prst="flowChartManualInput">
            <a:avLst/>
          </a:prstGeom>
          <a:solidFill>
            <a:srgbClr val="E6E6E6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9E9E9E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99" dirty="0" err="1" smtClean="0"/>
          </a:p>
        </p:txBody>
      </p:sp>
      <p:sp>
        <p:nvSpPr>
          <p:cNvPr id="9" name="Flowchart: Manual Input 8"/>
          <p:cNvSpPr/>
          <p:nvPr userDrawn="1"/>
        </p:nvSpPr>
        <p:spPr>
          <a:xfrm flipH="1" flipV="1">
            <a:off x="0" y="0"/>
            <a:ext cx="12192000" cy="4532850"/>
          </a:xfrm>
          <a:prstGeom prst="flowChartManualInput">
            <a:avLst/>
          </a:prstGeom>
          <a:solidFill>
            <a:srgbClr val="00566D"/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99" dirty="0" err="1" smtClean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804" t="9756" r="6727" b="4972"/>
          <a:stretch/>
        </p:blipFill>
        <p:spPr>
          <a:xfrm>
            <a:off x="131974" y="3490768"/>
            <a:ext cx="3789529" cy="2442689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956" r="13359"/>
          <a:stretch>
            <a:fillRect/>
          </a:stretch>
        </p:blipFill>
        <p:spPr>
          <a:xfrm>
            <a:off x="9405114" y="3500651"/>
            <a:ext cx="2691445" cy="2418386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8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6741655" y="3672592"/>
            <a:ext cx="2935899" cy="2320471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40885" y="3474457"/>
            <a:ext cx="3570966" cy="2833362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10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04555" y="3766182"/>
            <a:ext cx="2312483" cy="2541637"/>
          </a:xfrm>
          <a:prstGeom prst="rect">
            <a:avLst/>
          </a:prstGeom>
        </p:spPr>
      </p:pic>
      <p:pic>
        <p:nvPicPr>
          <p:cNvPr id="17" name="Wortmarke DAIMLER" descr="Daimler_RGB_100mm.png"/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1254" y="791617"/>
            <a:ext cx="3417231" cy="462594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4648" y="613010"/>
            <a:ext cx="786654" cy="786882"/>
          </a:xfrm>
          <a:prstGeom prst="rect">
            <a:avLst/>
          </a:prstGeom>
        </p:spPr>
      </p:pic>
      <p:pic>
        <p:nvPicPr>
          <p:cNvPr id="20" name="Picture 3" descr="C:\Users\rajarrv\AppData\Local\Microsoft\Windows\Temporary Internet Files\Content.Outlook\3CY2KM7L\B-No Background FORCE LOGO.png"/>
          <p:cNvPicPr>
            <a:picLocks noChangeAspect="1" noChangeArrowheads="1"/>
          </p:cNvPicPr>
          <p:nvPr userDrawn="1"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419611" y="692628"/>
            <a:ext cx="2166326" cy="6188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itle 1"/>
          <p:cNvSpPr>
            <a:spLocks noGrp="1"/>
          </p:cNvSpPr>
          <p:nvPr>
            <p:ph type="title" hasCustomPrompt="1"/>
          </p:nvPr>
        </p:nvSpPr>
        <p:spPr>
          <a:xfrm>
            <a:off x="628326" y="2001480"/>
            <a:ext cx="10932181" cy="526176"/>
          </a:xfrm>
        </p:spPr>
        <p:txBody>
          <a:bodyPr anchor="b">
            <a:spAutoFit/>
          </a:bodyPr>
          <a:lstStyle>
            <a:lvl1pPr marL="0" indent="0" algn="l" defTabSz="1087871" rtl="0" eaLnBrk="1" latinLnBrk="0" hangingPunct="1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3598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CorpoS" pitchFamily="2" charset="0"/>
              </a:defRPr>
            </a:lvl1pPr>
          </a:lstStyle>
          <a:p>
            <a:pPr>
              <a:lnSpc>
                <a:spcPct val="95000"/>
              </a:lnSpc>
            </a:pPr>
            <a:r>
              <a:rPr lang="en-US" dirty="0" smtClean="0"/>
              <a:t>Title in </a:t>
            </a:r>
            <a:r>
              <a:rPr lang="en-US" dirty="0" err="1" smtClean="0"/>
              <a:t>CorpoS</a:t>
            </a:r>
            <a:r>
              <a:rPr lang="en-US" dirty="0" smtClean="0"/>
              <a:t> 35 </a:t>
            </a:r>
            <a:r>
              <a:rPr lang="en-US" dirty="0" err="1" smtClean="0"/>
              <a:t>pt</a:t>
            </a:r>
            <a:r>
              <a:rPr lang="en-US" dirty="0" smtClean="0"/>
              <a:t>, white, non-bold</a:t>
            </a:r>
            <a:endParaRPr lang="en-US" sz="2798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628326" y="6251051"/>
            <a:ext cx="10932181" cy="489060"/>
          </a:xfrm>
        </p:spPr>
        <p:txBody>
          <a:bodyPr/>
          <a:lstStyle>
            <a:lvl1pPr>
              <a:defRPr sz="1599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Date in 16 </a:t>
            </a:r>
            <a:r>
              <a:rPr lang="en-US" dirty="0" err="1" smtClean="0"/>
              <a:t>pt</a:t>
            </a:r>
            <a:r>
              <a:rPr lang="en-US" dirty="0" smtClean="0"/>
              <a:t>, black, non-bold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28326" y="2485504"/>
            <a:ext cx="10932181" cy="398371"/>
          </a:xfrm>
        </p:spPr>
        <p:txBody>
          <a:bodyPr/>
          <a:lstStyle>
            <a:lvl1pPr>
              <a:defRPr sz="2399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 smtClean="0"/>
              <a:t>Subtitle in </a:t>
            </a:r>
            <a:r>
              <a:rPr lang="en-US" dirty="0" err="1" smtClean="0"/>
              <a:t>CorposS</a:t>
            </a:r>
            <a:r>
              <a:rPr lang="en-US" dirty="0" smtClean="0"/>
              <a:t> 24 </a:t>
            </a:r>
            <a:r>
              <a:rPr lang="en-US" dirty="0" err="1" smtClean="0"/>
              <a:t>pt</a:t>
            </a:r>
            <a:r>
              <a:rPr lang="en-US" dirty="0" smtClean="0"/>
              <a:t>, white, non-bol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9247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タイトルのみ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782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98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CorpoS" pitchFamily="2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9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7319320" y="6506901"/>
            <a:ext cx="3414222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noProof="0" smtClean="0">
                <a:solidFill>
                  <a:schemeClr val="tx1"/>
                </a:solidFill>
              </a:rPr>
              <a:t>2018-11-20_FORCE_Issues in data cleansing_v03.pptx</a:t>
            </a:r>
            <a:endParaRPr lang="en-US" sz="1199" noProof="0" dirty="0">
              <a:solidFill>
                <a:schemeClr val="tx1"/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6335940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806" name="think-cell スライド" r:id="rId5" imgW="321" imgH="325" progId="TCLayout.ActiveDocument.1">
                  <p:embed/>
                </p:oleObj>
              </mc:Choice>
              <mc:Fallback>
                <p:oleObj name="think-cell スライド" r:id="rId5" imgW="321" imgH="32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1" y="-1307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schemeClr val="bg1"/>
              </a:solidFill>
              <a:latin typeface="CorpoS" pitchFamily="2" charset="0"/>
              <a:sym typeface="CorpoS" pitchFamily="2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298">
                <a:solidFill>
                  <a:schemeClr val="tx2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1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7319320" y="6506901"/>
            <a:ext cx="3414222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noProof="0" smtClean="0">
                <a:solidFill>
                  <a:schemeClr val="tx1"/>
                </a:solidFill>
              </a:rPr>
              <a:t>2018-11-20_FORCE_Issues in data cleansing_v03.pptx</a:t>
            </a:r>
            <a:endParaRPr lang="en-US" sz="1199" noProof="0" dirty="0">
              <a:solidFill>
                <a:schemeClr val="tx1"/>
              </a:solidFill>
            </a:endParaRPr>
          </a:p>
        </p:txBody>
      </p:sp>
      <p:sp>
        <p:nvSpPr>
          <p:cNvPr id="13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463444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830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3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  <a:extLst/>
        </p:spPr>
        <p:txBody>
          <a:bodyPr lIns="274320" tIns="274320" rIns="274320" bIns="137160" anchor="b">
            <a:noAutofit/>
          </a:bodyPr>
          <a:lstStyle>
            <a:lvl1pPr marL="0" algn="l" defTabSz="913486" rtl="0" eaLnBrk="1" fontAlgn="auto" latinLnBrk="0" hangingPunct="1">
              <a:lnSpc>
                <a:spcPts val="5994"/>
              </a:lnSpc>
              <a:spcBef>
                <a:spcPts val="0"/>
              </a:spcBef>
              <a:spcAft>
                <a:spcPts val="0"/>
              </a:spcAft>
              <a:defRPr lang="en-US" sz="5394" kern="1200" baseline="0" dirty="0">
                <a:solidFill>
                  <a:schemeClr val="bg1"/>
                </a:solidFill>
                <a:latin typeface="+mj-lt"/>
                <a:ea typeface="+mn-ea"/>
                <a:cs typeface="+mj-cs"/>
                <a:sym typeface="CorpoS" pitchFamily="2" charset="0"/>
              </a:defRPr>
            </a:lvl1pPr>
          </a:lstStyle>
          <a:p>
            <a:r>
              <a:rPr lang="en-US" dirty="0" smtClean="0"/>
              <a:t>Click to add big statement text</a:t>
            </a:r>
            <a:endParaRPr lang="en-US" dirty="0"/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3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198" dirty="0">
              <a:solidFill>
                <a:schemeClr val="bg1"/>
              </a:solidFill>
              <a:latin typeface="CorpoS" pitchFamily="2" charset="0"/>
              <a:sym typeface="CorpoS" pitchFamily="2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7319320" y="6506901"/>
            <a:ext cx="3414222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noProof="0" smtClean="0">
                <a:solidFill>
                  <a:srgbClr val="FFFFFF"/>
                </a:solidFill>
              </a:rPr>
              <a:t>2018-11-20_FORCE_Issues in data cleansing_v03.pptx</a:t>
            </a:r>
            <a:endParaRPr lang="en-US" sz="1199" noProof="0" dirty="0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latin typeface="CorpoS" pitchFamily="2" charset="0"/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latin typeface="CorpoS" pitchFamily="2" charset="0"/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latin typeface="CorpoS" pitchFamily="2" charset="0"/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67284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854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2"/>
            <a:ext cx="10936800" cy="2041200"/>
          </a:xfrm>
        </p:spPr>
        <p:txBody>
          <a:bodyPr anchor="t">
            <a:noAutofit/>
          </a:bodyPr>
          <a:lstStyle>
            <a:lvl1pPr>
              <a:defRPr sz="5394">
                <a:solidFill>
                  <a:schemeClr val="bg1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big statement text</a:t>
            </a:r>
            <a:endParaRPr lang="en-US" dirty="0"/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900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7319320" y="6506901"/>
            <a:ext cx="3414222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noProof="0" smtClean="0">
                <a:solidFill>
                  <a:srgbClr val="FFFFFF"/>
                </a:solidFill>
              </a:rPr>
              <a:t>2018-11-20_FORCE_Issues in data cleansing_v03.pptx</a:t>
            </a:r>
            <a:endParaRPr lang="en-US" sz="1199" noProof="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2331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878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6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white">
          <a:xfrm>
            <a:off x="2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98" dirty="0">
              <a:solidFill>
                <a:schemeClr val="bg1"/>
              </a:solidFill>
              <a:latin typeface="CorpoS" pitchFamily="2" charset="0"/>
              <a:sym typeface="CorpoS" pitchFamily="2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2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98">
                <a:solidFill>
                  <a:schemeClr val="tx2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TextBox 9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1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7319320" y="6506901"/>
            <a:ext cx="3414222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noProof="0" smtClean="0">
                <a:solidFill>
                  <a:srgbClr val="FFFFFF"/>
                </a:solidFill>
              </a:rPr>
              <a:t>2018-11-20_FORCE_Issues in data cleansing_v03.pptx</a:t>
            </a:r>
            <a:endParaRPr lang="en-US" sz="1199" noProof="0" dirty="0">
              <a:solidFill>
                <a:srgbClr val="FFFFFF"/>
              </a:solidFill>
            </a:endParaRPr>
          </a:p>
        </p:txBody>
      </p:sp>
      <p:sp>
        <p:nvSpPr>
          <p:cNvPr id="14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latin typeface="CorpoS" pitchFamily="2" charset="0"/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latin typeface="CorpoS" pitchFamily="2" charset="0"/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latin typeface="CorpoS" pitchFamily="2" charset="0"/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169038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902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98" dirty="0">
              <a:solidFill>
                <a:schemeClr val="bg1"/>
              </a:solidFill>
              <a:latin typeface="CorpoS" pitchFamily="2" charset="0"/>
              <a:sym typeface="CorpoS" pitchFamily="2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98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CorpoS" pitchFamily="2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1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7319320" y="6506901"/>
            <a:ext cx="3414222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noProof="0" smtClean="0">
                <a:solidFill>
                  <a:srgbClr val="FFFFFF"/>
                </a:solidFill>
              </a:rPr>
              <a:t>2018-11-20_FORCE_Issues in data cleansing_v03.pptx</a:t>
            </a:r>
            <a:endParaRPr lang="en-US" sz="1199" noProof="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5036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926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70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2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98">
                <a:solidFill>
                  <a:schemeClr val="bg1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5" y="-1307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98" dirty="0">
              <a:solidFill>
                <a:schemeClr val="bg1"/>
              </a:solidFill>
              <a:latin typeface="CorpoS" pitchFamily="2" charset="0"/>
              <a:sym typeface="CorpoS" pitchFamily="2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2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7319320" y="6506901"/>
            <a:ext cx="3414222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noProof="0" smtClean="0">
                <a:solidFill>
                  <a:schemeClr val="tx1"/>
                </a:solidFill>
              </a:rPr>
              <a:t>2018-11-20_FORCE_Issues in data cleansing_v03.pptx</a:t>
            </a:r>
            <a:endParaRPr lang="en-US" sz="1199" noProof="0" dirty="0">
              <a:solidFill>
                <a:schemeClr val="tx1"/>
              </a:solidFill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7799218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950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4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schemeClr val="bg1"/>
              </a:solidFill>
              <a:latin typeface="CorpoS" pitchFamily="2" charset="0"/>
              <a:sym typeface="CorpoS" pitchFamily="2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798" baseline="0">
                <a:latin typeface="CorpoS" pitchFamily="2" charset="0"/>
                <a:sym typeface="CorpoS" pitchFamily="2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94653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3298">
                <a:solidFill>
                  <a:schemeClr val="bg1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5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7319320" y="6506901"/>
            <a:ext cx="3414222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noProof="0" smtClean="0">
                <a:solidFill>
                  <a:schemeClr val="tx1"/>
                </a:solidFill>
              </a:rPr>
              <a:t>2018-11-20_FORCE_Issues in data cleansing_v03.pptx</a:t>
            </a:r>
            <a:endParaRPr lang="en-US" sz="1199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3736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/ Headline 2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9671" y="285982"/>
            <a:ext cx="10931106" cy="683842"/>
          </a:xfrm>
        </p:spPr>
        <p:txBody>
          <a:bodyPr/>
          <a:lstStyle/>
          <a:p>
            <a:r>
              <a:rPr lang="en-GB" noProof="0" dirty="0" smtClean="0"/>
              <a:t>Headline in CorpoS (Body) 35 pt.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7178478-C14F-4056-BC7B-D4A0322B8D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711652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020">
          <p15:clr>
            <a:srgbClr val="FBAE40"/>
          </p15:clr>
        </p15:guide>
        <p15:guide id="2" orient="horz" pos="182">
          <p15:clr>
            <a:srgbClr val="FBAE40"/>
          </p15:clr>
        </p15:guide>
      </p15:sldGuideLst>
    </p:ext>
  </p:extLst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974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51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98" dirty="0">
              <a:solidFill>
                <a:schemeClr val="bg1"/>
              </a:solidFill>
              <a:latin typeface="CorpoS" pitchFamily="2" charset="0"/>
              <a:sym typeface="CorpoS" pitchFamily="2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598">
                <a:solidFill>
                  <a:schemeClr val="tx1"/>
                </a:solidFill>
                <a:latin typeface="CorpoS" pitchFamily="2" charset="0"/>
                <a:sym typeface="CorpoS" pitchFamily="2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2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98">
                <a:solidFill>
                  <a:schemeClr val="bg1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082792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3998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2"/>
          <p:cNvPicPr>
            <a:picLocks noChangeAspect="1" noChangeArrowheads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9436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reeform 14"/>
          <p:cNvSpPr/>
          <p:nvPr userDrawn="1"/>
        </p:nvSpPr>
        <p:spPr bwMode="ltGray">
          <a:xfrm>
            <a:off x="1526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latin typeface="CorpoS" pitchFamily="2" charset="0"/>
              <a:sym typeface="CorpoS" pitchFamily="2" charset="0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5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98" baseline="0">
                <a:solidFill>
                  <a:schemeClr val="tx2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</a:t>
            </a:r>
            <a:r>
              <a:rPr lang="en-US" dirty="0" smtClean="0">
                <a:solidFill>
                  <a:schemeClr val="tx2"/>
                </a:solidFill>
              </a:rPr>
              <a:t>add title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0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7319320" y="6506901"/>
            <a:ext cx="3414222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noProof="0" smtClean="0">
                <a:solidFill>
                  <a:srgbClr val="FFFFFF"/>
                </a:solidFill>
              </a:rPr>
              <a:t>2018-11-20_FORCE_Issues in data cleansing_v03.pptx</a:t>
            </a:r>
            <a:endParaRPr lang="en-US" sz="1199" noProof="0" dirty="0">
              <a:solidFill>
                <a:srgbClr val="FFFFFF"/>
              </a:solidFill>
            </a:endParaRPr>
          </a:p>
        </p:txBody>
      </p:sp>
      <p:sp>
        <p:nvSpPr>
          <p:cNvPr id="14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latin typeface="CorpoS" pitchFamily="2" charset="0"/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latin typeface="CorpoS" pitchFamily="2" charset="0"/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latin typeface="CorpoS" pitchFamily="2" charset="0"/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2793698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022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latin typeface="CorpoS" pitchFamily="2" charset="0"/>
              <a:sym typeface="CorpoS" pitchFamily="2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5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98" baseline="0">
                <a:solidFill>
                  <a:srgbClr val="FFFFFF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41310" y="3402830"/>
            <a:ext cx="2694666" cy="3461745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1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7319320" y="6506901"/>
            <a:ext cx="3414222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noProof="0" smtClean="0">
                <a:solidFill>
                  <a:schemeClr val="tx1"/>
                </a:solidFill>
              </a:rPr>
              <a:t>2018-11-20_FORCE_Issues in data cleansing_v03.pptx</a:t>
            </a:r>
            <a:endParaRPr lang="en-US" sz="1199" noProof="0" dirty="0">
              <a:solidFill>
                <a:schemeClr val="tx1"/>
              </a:solidFill>
            </a:endParaRPr>
          </a:p>
        </p:txBody>
      </p:sp>
      <p:sp>
        <p:nvSpPr>
          <p:cNvPr id="14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6096126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046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33902" y="3395664"/>
            <a:ext cx="1298575" cy="3571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Pentagon 3"/>
          <p:cNvSpPr/>
          <p:nvPr userDrawn="1"/>
        </p:nvSpPr>
        <p:spPr bwMode="white">
          <a:xfrm>
            <a:off x="3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3298" dirty="0">
              <a:solidFill>
                <a:prstClr val="white"/>
              </a:solidFill>
              <a:latin typeface="CorpoS" pitchFamily="2" charset="0"/>
              <a:sym typeface="CorpoS" pitchFamily="2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2" y="1785602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98" b="0">
                <a:solidFill>
                  <a:schemeClr val="tx2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0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7319320" y="6506901"/>
            <a:ext cx="3414222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noProof="0" smtClean="0">
                <a:solidFill>
                  <a:srgbClr val="FFFFFF"/>
                </a:solidFill>
              </a:rPr>
              <a:t>2018-11-20_FORCE_Issues in data cleansing_v03.pptx</a:t>
            </a:r>
            <a:endParaRPr lang="en-US" sz="1199" noProof="0" dirty="0">
              <a:solidFill>
                <a:srgbClr val="FFFFFF"/>
              </a:solidFill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latin typeface="CorpoS" pitchFamily="2" charset="0"/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latin typeface="CorpoS" pitchFamily="2" charset="0"/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latin typeface="CorpoS" pitchFamily="2" charset="0"/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488387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070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3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latin typeface="CorpoS" pitchFamily="2" charset="0"/>
              <a:sym typeface="CorpoS" pitchFamily="2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2" y="1785602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98" b="0">
                <a:solidFill>
                  <a:srgbClr val="FFFFFF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49483" y="3416300"/>
            <a:ext cx="2694666" cy="3441700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1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7319320" y="6506901"/>
            <a:ext cx="3414222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noProof="0" smtClean="0">
                <a:solidFill>
                  <a:schemeClr val="tx1"/>
                </a:solidFill>
              </a:rPr>
              <a:t>2018-11-20_FORCE_Issues in data cleansing_v03.pptx</a:t>
            </a:r>
            <a:endParaRPr lang="en-US" sz="1199" noProof="0" dirty="0">
              <a:solidFill>
                <a:schemeClr val="tx1"/>
              </a:solidFill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5888137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094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8758" y="3589606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latin typeface="CorpoS" pitchFamily="2" charset="0"/>
              <a:sym typeface="CorpoS" pitchFamily="2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98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CorpoS" pitchFamily="2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0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7319320" y="6506901"/>
            <a:ext cx="3414222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noProof="0" smtClean="0">
                <a:solidFill>
                  <a:srgbClr val="FFFFFF"/>
                </a:solidFill>
              </a:rPr>
              <a:t>2018-11-20_FORCE_Issues in data cleansing_v03.pptx</a:t>
            </a:r>
            <a:endParaRPr lang="en-US" sz="1199" noProof="0" dirty="0">
              <a:solidFill>
                <a:srgbClr val="FFFFFF"/>
              </a:solidFill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latin typeface="CorpoS" pitchFamily="2" charset="0"/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latin typeface="CorpoS" pitchFamily="2" charset="0"/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latin typeface="CorpoS" pitchFamily="2" charset="0"/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49541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118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latin typeface="CorpoS" pitchFamily="2" charset="0"/>
              <a:sym typeface="CorpoS" pitchFamily="2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98" b="0" i="0" u="none" kern="1200" spc="0">
                <a:solidFill>
                  <a:srgbClr val="FFFFFF"/>
                </a:solidFill>
                <a:latin typeface="+mj-lt"/>
                <a:sym typeface="CorpoS" pitchFamily="2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28424" y="3407805"/>
            <a:ext cx="2694666" cy="3456551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1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7319320" y="6506901"/>
            <a:ext cx="3414222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noProof="0" smtClean="0">
                <a:solidFill>
                  <a:schemeClr val="tx1"/>
                </a:solidFill>
              </a:rPr>
              <a:t>2018-11-20_FORCE_Issues in data cleansing_v03.pptx</a:t>
            </a:r>
            <a:endParaRPr lang="en-US" sz="1199" noProof="0" dirty="0">
              <a:solidFill>
                <a:schemeClr val="tx1"/>
              </a:solidFill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3324684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142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41" y="3589606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reeform 18"/>
          <p:cNvSpPr/>
          <p:nvPr userDrawn="1"/>
        </p:nvSpPr>
        <p:spPr bwMode="white">
          <a:xfrm>
            <a:off x="2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schemeClr val="bg1"/>
              </a:solidFill>
              <a:latin typeface="CorpoS" pitchFamily="2" charset="0"/>
              <a:sym typeface="CorpoS" pitchFamily="2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98" b="0" i="0" u="none" kern="1200" spc="0">
                <a:solidFill>
                  <a:schemeClr val="tx2">
                    <a:lumMod val="100000"/>
                  </a:schemeClr>
                </a:solidFill>
                <a:latin typeface="CorpoS" pitchFamily="2" charset="0"/>
                <a:sym typeface="CorpoS" pitchFamily="2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846849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1166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2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schemeClr val="bg1"/>
              </a:solidFill>
              <a:latin typeface="CorpoS" pitchFamily="2" charset="0"/>
              <a:sym typeface="CorpoS" pitchFamily="2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98" b="0" i="0" u="none" kern="1200" spc="0">
                <a:solidFill>
                  <a:srgbClr val="FFFFFF"/>
                </a:solidFill>
                <a:latin typeface="+mj-lt"/>
                <a:sym typeface="CorpoS" pitchFamily="2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24772" y="3407805"/>
            <a:ext cx="2694666" cy="3456551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98878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2190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3486" rtl="0" eaLnBrk="1" fontAlgn="auto" latinLnBrk="0" hangingPunct="1">
              <a:lnSpc>
                <a:spcPts val="5994"/>
              </a:lnSpc>
              <a:spcBef>
                <a:spcPts val="0"/>
              </a:spcBef>
              <a:spcAft>
                <a:spcPts val="0"/>
              </a:spcAft>
              <a:defRPr lang="en-US" sz="5394" kern="1200" baseline="0" dirty="0">
                <a:solidFill>
                  <a:schemeClr val="bg1"/>
                </a:solidFill>
                <a:latin typeface="+mj-lt"/>
                <a:ea typeface="+mn-ea"/>
                <a:cs typeface="+mj-cs"/>
                <a:sym typeface="CorpoS" pitchFamily="2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big statement text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7319320" y="6506901"/>
            <a:ext cx="3414222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noProof="0" smtClean="0">
                <a:solidFill>
                  <a:srgbClr val="FFFFFF"/>
                </a:solidFill>
              </a:rPr>
              <a:t>2018-11-20_FORCE_Issues in data cleansing_v03.pptx</a:t>
            </a:r>
            <a:endParaRPr lang="en-US" sz="1199" noProof="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2715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. Title tex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Regieanweisungen"/>
          <p:cNvGrpSpPr/>
          <p:nvPr/>
        </p:nvGrpSpPr>
        <p:grpSpPr>
          <a:xfrm>
            <a:off x="-2086913" y="-467892"/>
            <a:ext cx="13647691" cy="7792196"/>
            <a:chOff x="-2088000" y="-468000"/>
            <a:chExt cx="13654799" cy="7794000"/>
          </a:xfrm>
        </p:grpSpPr>
        <p:sp>
          <p:nvSpPr>
            <p:cNvPr id="15" name="Hilfslinien"/>
            <p:cNvSpPr txBox="1"/>
            <p:nvPr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99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how guides via menu bar: View // Show // tick Guides</a:t>
              </a:r>
            </a:p>
          </p:txBody>
        </p:sp>
        <p:sp>
          <p:nvSpPr>
            <p:cNvPr id="16" name="Fußzeile"/>
            <p:cNvSpPr txBox="1"/>
            <p:nvPr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1042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099" b="0" baseline="0" dirty="0" smtClean="0">
                  <a:solidFill>
                    <a:schemeClr val="accent5"/>
                  </a:solidFill>
                  <a:latin typeface="+mn-lt"/>
                </a:rPr>
                <a:t>Adjust footer (per slide or for several/all slides) via menu bar: Insert // Text // Header &amp; Footer</a:t>
              </a:r>
            </a:p>
          </p:txBody>
        </p:sp>
        <p:grpSp>
          <p:nvGrpSpPr>
            <p:cNvPr id="27" name="Hinweise links"/>
            <p:cNvGrpSpPr/>
            <p:nvPr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29" name="Folie Wechsel/Zurücksetzen/Textebenen"/>
              <p:cNvSpPr txBox="1"/>
              <p:nvPr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Reset the slide back to its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original form 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Slides // Rese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099" b="0" baseline="0" noProof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Change the slide layout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Slides // Layou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099" b="0" baseline="0" noProof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Change the text level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via menu bar: </a:t>
                </a:r>
                <a:b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</a:b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Paragraph // Increase/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Decrease List Level</a:t>
                </a:r>
              </a:p>
            </p:txBody>
          </p:sp>
          <p:grpSp>
            <p:nvGrpSpPr>
              <p:cNvPr id="30" name="Listenebenen"/>
              <p:cNvGrpSpPr/>
              <p:nvPr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31" name="Text // Listenebene erhöhen"/>
                <p:cNvSpPr txBox="1"/>
                <p:nvPr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38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999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Increase</a:t>
                  </a:r>
                </a:p>
                <a:p>
                  <a:pPr marL="0" marR="0" lvl="0" indent="0" algn="r" defTabSz="9138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999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sp>
              <p:nvSpPr>
                <p:cNvPr id="32" name="Text // Listenebene verringern"/>
                <p:cNvSpPr txBox="1"/>
                <p:nvPr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38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999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Decrease </a:t>
                  </a:r>
                </a:p>
                <a:p>
                  <a:pPr marL="0" marR="0" lvl="0" indent="0" algn="r" defTabSz="9138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999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pic>
              <p:nvPicPr>
                <p:cNvPr id="33" name="Listenebene erhöhen"/>
                <p:cNvPicPr>
                  <a:picLocks noChangeAspect="1"/>
                </p:cNvPicPr>
                <p:nvPr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34" name="Listenebene verringern"/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29672" y="4608438"/>
            <a:ext cx="10930832" cy="1538527"/>
          </a:xfrm>
        </p:spPr>
        <p:txBody>
          <a:bodyPr wrap="square" anchor="b" anchorCtr="0">
            <a:spAutoFit/>
          </a:bodyPr>
          <a:lstStyle>
            <a:lvl1pPr>
              <a:defRPr baseline="0"/>
            </a:lvl1pPr>
          </a:lstStyle>
          <a:p>
            <a:r>
              <a:rPr lang="en-GB" dirty="0" smtClean="0"/>
              <a:t>Referent’s name: </a:t>
            </a:r>
            <a:r>
              <a:rPr lang="en-GB" noProof="0" dirty="0" smtClean="0"/>
              <a:t>CorpoS </a:t>
            </a:r>
            <a:r>
              <a:rPr lang="en-GB" dirty="0" smtClean="0"/>
              <a:t>(Body) 35 pt.</a:t>
            </a:r>
            <a:br>
              <a:rPr lang="en-GB" dirty="0" smtClean="0"/>
            </a:br>
            <a:r>
              <a:rPr lang="en-GB" dirty="0" smtClean="0"/>
              <a:t>Presentation title in two lines or </a:t>
            </a:r>
            <a:br>
              <a:rPr lang="en-GB" dirty="0" smtClean="0"/>
            </a:br>
            <a:r>
              <a:rPr lang="en-GB" dirty="0" smtClean="0"/>
              <a:t>more lines of text, dd. </a:t>
            </a:r>
            <a:r>
              <a:rPr lang="en-GB" dirty="0" err="1" smtClean="0"/>
              <a:t>mmmm</a:t>
            </a:r>
            <a:r>
              <a:rPr lang="en-GB" dirty="0" smtClean="0"/>
              <a:t> </a:t>
            </a:r>
            <a:r>
              <a:rPr lang="en-GB" dirty="0" err="1" smtClean="0"/>
              <a:t>yyyy</a:t>
            </a:r>
            <a:endParaRPr lang="en-GB" dirty="0"/>
          </a:p>
        </p:txBody>
      </p:sp>
      <p:pic>
        <p:nvPicPr>
          <p:cNvPr id="28" name="Wortmarke DAIMLER" descr="Daimler_RGB_100mm.png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9672" y="790853"/>
            <a:ext cx="3418220" cy="462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68218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3873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Headline 2 lines //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Headline in CorpoS (Body) 35 pt.</a:t>
            </a:r>
            <a:br>
              <a:rPr lang="en-GB" noProof="0" dirty="0" smtClean="0"/>
            </a:br>
            <a:r>
              <a:rPr lang="en-GB" noProof="0" dirty="0" smtClean="0"/>
              <a:t>in two lines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7178478-C14F-4056-BC7B-D4A0322B8D6E}" type="slidenum">
              <a:rPr lang="en-US" smtClean="0"/>
              <a:t>‹#›</a:t>
            </a:fld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629910" y="1504601"/>
            <a:ext cx="10930870" cy="4876871"/>
          </a:xfrm>
        </p:spPr>
        <p:txBody>
          <a:bodyPr/>
          <a:lstStyle>
            <a:lvl1pPr marL="197865" indent="-197865">
              <a:defRPr baseline="0"/>
            </a:lvl1pPr>
            <a:lvl2pPr marL="467992" indent="-252241">
              <a:defRPr/>
            </a:lvl2pPr>
            <a:lvl3pPr marL="663121" indent="-180852">
              <a:defRPr/>
            </a:lvl3pPr>
            <a:lvl4pPr marL="875701" indent="-223685">
              <a:defRPr/>
            </a:lvl4pPr>
            <a:lvl5pPr marL="1043861" indent="-152296">
              <a:defRPr/>
            </a:lvl5pPr>
          </a:lstStyle>
          <a:p>
            <a:pPr lvl="0"/>
            <a:r>
              <a:rPr lang="en-GB" noProof="0" dirty="0" smtClean="0"/>
              <a:t>Insert content or text in </a:t>
            </a:r>
            <a:r>
              <a:rPr lang="en-GB" noProof="0" dirty="0" err="1" smtClean="0"/>
              <a:t>Corpo</a:t>
            </a:r>
            <a:r>
              <a:rPr lang="en-GB" noProof="0" dirty="0" smtClean="0"/>
              <a:t> S (Body) 24 pt. (Mark-ups in Bold) // for conclusion, summary or short highlight: Home // Paragraph// Increase List Level</a:t>
            </a:r>
          </a:p>
          <a:p>
            <a:pPr lvl="1"/>
            <a:r>
              <a:rPr lang="en-GB" noProof="0" dirty="0" smtClean="0"/>
              <a:t>Second level (Conclusion, summary or short highlight)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</a:p>
        </p:txBody>
      </p:sp>
      <p:sp>
        <p:nvSpPr>
          <p:cNvPr id="19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78500" y="6564880"/>
            <a:ext cx="8120970" cy="215949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r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199">
                <a:latin typeface="+mn-lt"/>
              </a:defRPr>
            </a:lvl2pPr>
            <a:lvl3pPr marL="0" indent="0" algn="r">
              <a:spcBef>
                <a:spcPts val="0"/>
              </a:spcBef>
              <a:defRPr sz="1199">
                <a:latin typeface="+mn-lt"/>
              </a:defRPr>
            </a:lvl3pPr>
            <a:lvl4pPr marL="0" indent="0" algn="r">
              <a:spcBef>
                <a:spcPts val="0"/>
              </a:spcBef>
              <a:defRPr sz="1199">
                <a:latin typeface="+mn-lt"/>
              </a:defRPr>
            </a:lvl4pPr>
            <a:lvl5pPr marL="0" indent="0" algn="r">
              <a:spcBef>
                <a:spcPts val="0"/>
              </a:spcBef>
              <a:defRPr sz="1199">
                <a:latin typeface="+mn-lt"/>
              </a:defRPr>
            </a:lvl5pPr>
            <a:lvl6pPr marL="0" indent="0" algn="r">
              <a:spcBef>
                <a:spcPts val="0"/>
              </a:spcBef>
              <a:defRPr sz="1199">
                <a:latin typeface="+mn-lt"/>
              </a:defRPr>
            </a:lvl6pPr>
            <a:lvl7pPr marL="0" indent="0" algn="r">
              <a:spcBef>
                <a:spcPts val="0"/>
              </a:spcBef>
              <a:defRPr sz="1199">
                <a:latin typeface="+mn-lt"/>
              </a:defRPr>
            </a:lvl7pPr>
            <a:lvl8pPr marL="0" indent="0" algn="r">
              <a:spcBef>
                <a:spcPts val="0"/>
              </a:spcBef>
              <a:defRPr sz="1199">
                <a:latin typeface="+mn-lt"/>
              </a:defRPr>
            </a:lvl8pPr>
            <a:lvl9pPr marL="0" indent="0" algn="r">
              <a:spcBef>
                <a:spcPts val="0"/>
              </a:spcBef>
              <a:defRPr sz="1199">
                <a:latin typeface="+mn-lt"/>
              </a:defRPr>
            </a:lvl9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384695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  <p15:guide id="3" orient="horz" pos="950">
          <p15:clr>
            <a:srgbClr val="FBAE40"/>
          </p15:clr>
        </p15:guide>
      </p15:sldGuideLst>
    </p:ext>
  </p:extLst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3214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198" dirty="0">
              <a:solidFill>
                <a:schemeClr val="bg1"/>
              </a:solidFill>
              <a:latin typeface="CorpoS" pitchFamily="2" charset="0"/>
              <a:sym typeface="CorpoS" pitchFamily="2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3486" rtl="0" eaLnBrk="1" fontAlgn="auto" latinLnBrk="0" hangingPunct="1">
              <a:lnSpc>
                <a:spcPts val="5994"/>
              </a:lnSpc>
              <a:spcBef>
                <a:spcPts val="0"/>
              </a:spcBef>
              <a:spcAft>
                <a:spcPts val="0"/>
              </a:spcAft>
              <a:defRPr lang="en-US" sz="5394" kern="1200" baseline="0" dirty="0">
                <a:solidFill>
                  <a:schemeClr val="accent4"/>
                </a:solidFill>
                <a:latin typeface="+mj-lt"/>
                <a:ea typeface="+mn-ea"/>
                <a:cs typeface="+mj-cs"/>
                <a:sym typeface="CorpoS" pitchFamily="2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big statement text</a:t>
            </a:r>
          </a:p>
        </p:txBody>
      </p:sp>
      <p:sp>
        <p:nvSpPr>
          <p:cNvPr id="8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7319320" y="6506901"/>
            <a:ext cx="3414222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noProof="0" smtClean="0">
                <a:solidFill>
                  <a:schemeClr val="tx1"/>
                </a:solidFill>
              </a:rPr>
              <a:t>2018-11-20_FORCE_Issues in data cleansing_v03.pptx</a:t>
            </a:r>
            <a:endParaRPr lang="en-US" sz="1199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98862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4238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3" y="110970"/>
            <a:ext cx="769257" cy="10019821"/>
          </a:xfrm>
          <a:prstGeom prst="rect">
            <a:avLst/>
          </a:pr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344" tIns="45672" rIns="91344" bIns="45672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799" dirty="0">
              <a:latin typeface="CorpoS" pitchFamily="2" charset="0"/>
              <a:sym typeface="CorpoS" pitchFamily="2" charset="0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2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7319320" y="6506901"/>
            <a:ext cx="3414222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noProof="0" smtClean="0">
                <a:solidFill>
                  <a:srgbClr val="FFFFFF"/>
                </a:solidFill>
              </a:rPr>
              <a:t>2018-11-20_FORCE_Issues in data cleansing_v03.pptx</a:t>
            </a:r>
            <a:endParaRPr lang="en-US" sz="1199" noProof="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1794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5262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</p:spPr>
        <p:txBody>
          <a:bodyPr/>
          <a:lstStyle>
            <a:lvl1pPr>
              <a:defRPr sz="3298">
                <a:solidFill>
                  <a:schemeClr val="bg1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9" name="TextBox 8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7319320" y="6506901"/>
            <a:ext cx="3414222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noProof="0" smtClean="0">
                <a:solidFill>
                  <a:srgbClr val="FFFFFF"/>
                </a:solidFill>
              </a:rPr>
              <a:t>2018-11-20_FORCE_Issues in data cleansing_v03.pptx</a:t>
            </a:r>
            <a:endParaRPr lang="en-US" sz="1199" noProof="0" dirty="0">
              <a:solidFill>
                <a:srgbClr val="FFFFFF"/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latin typeface="CorpoS" pitchFamily="2" charset="0"/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latin typeface="CorpoS" pitchFamily="2" charset="0"/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latin typeface="CorpoS" pitchFamily="2" charset="0"/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637510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286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7319320" y="6506901"/>
            <a:ext cx="3414222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noProof="0" smtClean="0">
                <a:solidFill>
                  <a:schemeClr val="tx1"/>
                </a:solidFill>
              </a:rPr>
              <a:t>2018-11-20_FORCE_Issues in data cleansing_v03.pptx</a:t>
            </a:r>
            <a:endParaRPr lang="en-US" sz="1199" noProof="0" dirty="0">
              <a:solidFill>
                <a:schemeClr val="tx1"/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795341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310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Box 9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7319320" y="6506901"/>
            <a:ext cx="3414222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noProof="0" smtClean="0">
                <a:solidFill>
                  <a:srgbClr val="FFFFFF"/>
                </a:solidFill>
              </a:rPr>
              <a:t>2018-11-20_FORCE_Issues in data cleansing_v03.pptx</a:t>
            </a:r>
            <a:endParaRPr lang="en-US" sz="1199" noProof="0" dirty="0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latin typeface="CorpoS" pitchFamily="2" charset="0"/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latin typeface="CorpoS" pitchFamily="2" charset="0"/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latin typeface="CorpoS" pitchFamily="2" charset="0"/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47701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334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7319320" y="6506901"/>
            <a:ext cx="3414222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noProof="0" smtClean="0">
                <a:solidFill>
                  <a:schemeClr val="tx1"/>
                </a:solidFill>
              </a:rPr>
              <a:t>2018-11-20_FORCE_Issues in data cleansing_v03.pptx</a:t>
            </a:r>
            <a:endParaRPr lang="en-US" sz="1199" noProof="0" dirty="0">
              <a:solidFill>
                <a:schemeClr val="tx1"/>
              </a:solidFill>
            </a:endParaRPr>
          </a:p>
        </p:txBody>
      </p:sp>
      <p:sp>
        <p:nvSpPr>
          <p:cNvPr id="8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8237666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358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lowchart: Manual Input 7"/>
          <p:cNvSpPr/>
          <p:nvPr userDrawn="1"/>
        </p:nvSpPr>
        <p:spPr>
          <a:xfrm>
            <a:off x="0" y="3610066"/>
            <a:ext cx="12192000" cy="3247934"/>
          </a:xfrm>
          <a:prstGeom prst="flowChartManualInput">
            <a:avLst/>
          </a:prstGeom>
          <a:solidFill>
            <a:srgbClr val="E6E6E6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9E9E9E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99" dirty="0" err="1" smtClean="0"/>
          </a:p>
        </p:txBody>
      </p:sp>
      <p:sp>
        <p:nvSpPr>
          <p:cNvPr id="9" name="Flowchart: Manual Input 8"/>
          <p:cNvSpPr/>
          <p:nvPr userDrawn="1"/>
        </p:nvSpPr>
        <p:spPr>
          <a:xfrm flipH="1" flipV="1">
            <a:off x="0" y="0"/>
            <a:ext cx="12192000" cy="4532850"/>
          </a:xfrm>
          <a:prstGeom prst="flowChartManualInput">
            <a:avLst/>
          </a:prstGeom>
          <a:solidFill>
            <a:srgbClr val="00566D"/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99" dirty="0" err="1" smtClean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804" t="9756" r="6727" b="4972"/>
          <a:stretch/>
        </p:blipFill>
        <p:spPr>
          <a:xfrm>
            <a:off x="131974" y="3490768"/>
            <a:ext cx="3789529" cy="2442689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956" r="13359"/>
          <a:stretch>
            <a:fillRect/>
          </a:stretch>
        </p:blipFill>
        <p:spPr>
          <a:xfrm>
            <a:off x="9405114" y="3500651"/>
            <a:ext cx="2691445" cy="2418386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8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6741655" y="3672592"/>
            <a:ext cx="2935899" cy="2320471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40885" y="3474457"/>
            <a:ext cx="3570966" cy="2833362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10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04555" y="3766182"/>
            <a:ext cx="2312483" cy="2541637"/>
          </a:xfrm>
          <a:prstGeom prst="rect">
            <a:avLst/>
          </a:prstGeom>
        </p:spPr>
      </p:pic>
      <p:pic>
        <p:nvPicPr>
          <p:cNvPr id="17" name="Wortmarke DAIMLER" descr="Daimler_RGB_100mm.png"/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1254" y="791617"/>
            <a:ext cx="3417231" cy="462594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4648" y="613010"/>
            <a:ext cx="786654" cy="786882"/>
          </a:xfrm>
          <a:prstGeom prst="rect">
            <a:avLst/>
          </a:prstGeom>
        </p:spPr>
      </p:pic>
      <p:pic>
        <p:nvPicPr>
          <p:cNvPr id="20" name="Picture 3" descr="C:\Users\rajarrv\AppData\Local\Microsoft\Windows\Temporary Internet Files\Content.Outlook\3CY2KM7L\B-No Background FORCE LOGO.png"/>
          <p:cNvPicPr>
            <a:picLocks noChangeAspect="1" noChangeArrowheads="1"/>
          </p:cNvPicPr>
          <p:nvPr userDrawn="1"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419611" y="692628"/>
            <a:ext cx="2166326" cy="6188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789008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0382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 userDrawn="1"/>
        </p:nvGrpSpPr>
        <p:grpSpPr>
          <a:xfrm>
            <a:off x="-598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>
                <a:solidFill>
                  <a:schemeClr val="tx1"/>
                </a:solidFill>
                <a:latin typeface="CorpoS" pitchFamily="2" charset="0"/>
                <a:sym typeface="CorpoS" pitchFamily="2" charset="0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latin typeface="CorpoS" pitchFamily="2" charset="0"/>
                  <a:sym typeface="CorpoS" pitchFamily="2" charset="0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latin typeface="CorpoS" pitchFamily="2" charset="0"/>
                  <a:sym typeface="CorpoS" pitchFamily="2" charset="0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latin typeface="CorpoS" pitchFamily="2" charset="0"/>
                  <a:sym typeface="CorpoS" pitchFamily="2" charset="0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latin typeface="CorpoS" pitchFamily="2" charset="0"/>
                  <a:sym typeface="CorpoS" pitchFamily="2" charset="0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latin typeface="CorpoS" pitchFamily="2" charset="0"/>
                  <a:sym typeface="CorpoS" pitchFamily="2" charset="0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latin typeface="CorpoS" pitchFamily="2" charset="0"/>
                  <a:sym typeface="CorpoS" pitchFamily="2" charset="0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latin typeface="CorpoS" pitchFamily="2" charset="0"/>
                  <a:sym typeface="CorpoS" pitchFamily="2" charset="0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latin typeface="CorpoS" pitchFamily="2" charset="0"/>
                  <a:sym typeface="CorpoS" pitchFamily="2" charset="0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latin typeface="CorpoS" pitchFamily="2" charset="0"/>
                  <a:sym typeface="CorpoS" pitchFamily="2" charset="0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latin typeface="CorpoS" pitchFamily="2" charset="0"/>
                  <a:sym typeface="CorpoS" pitchFamily="2" charset="0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latin typeface="CorpoS" pitchFamily="2" charset="0"/>
                  <a:sym typeface="CorpoS" pitchFamily="2" charset="0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8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orpoS" pitchFamily="2" charset="0"/>
                <a:ea typeface="+mn-ea"/>
                <a:cs typeface="+mn-cs"/>
                <a:sym typeface="CorpoS" pitchFamily="2" charset="0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>
                <a:latin typeface="CorpoS" pitchFamily="2" charset="0"/>
                <a:sym typeface="CorpoS" pitchFamily="2" charset="0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>
                <a:latin typeface="CorpoS" pitchFamily="2" charset="0"/>
                <a:sym typeface="CorpoS" pitchFamily="2" charset="0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latin typeface="CorpoS" pitchFamily="2" charset="0"/>
                  <a:sym typeface="CorpoS" pitchFamily="2" charset="0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latin typeface="CorpoS" pitchFamily="2" charset="0"/>
                  <a:sym typeface="CorpoS" pitchFamily="2" charset="0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latin typeface="CorpoS" pitchFamily="2" charset="0"/>
                  <a:sym typeface="CorpoS" pitchFamily="2" charset="0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latin typeface="CorpoS" pitchFamily="2" charset="0"/>
                  <a:sym typeface="CorpoS" pitchFamily="2" charset="0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latin typeface="CorpoS" pitchFamily="2" charset="0"/>
                  <a:sym typeface="CorpoS" pitchFamily="2" charset="0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999"/>
                </a:spcAft>
              </a:pPr>
              <a:endParaRPr lang="en-US" sz="1198" dirty="0">
                <a:solidFill>
                  <a:schemeClr val="bg1"/>
                </a:solidFill>
                <a:latin typeface="CorpoS" pitchFamily="2" charset="0"/>
                <a:sym typeface="CorpoS" pitchFamily="2" charset="0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99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CorpoS" pitchFamily="2" charset="0"/>
                </a:rPr>
                <a:t>1. xxxx  2. xxxx  3. xxxx</a:t>
              </a:r>
            </a:p>
            <a:p>
              <a:pPr marL="0" marR="0" lvl="0" indent="0" algn="l" defTabSz="913486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99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CorpoS" pitchFamily="2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 marL="0" marR="0" lvl="0" indent="0" algn="l" defTabSz="913486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99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CorpoS" pitchFamily="2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94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7319320" y="6506901"/>
            <a:ext cx="3414222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noProof="0" smtClean="0">
                <a:solidFill>
                  <a:schemeClr val="tx1"/>
                </a:solidFill>
              </a:rPr>
              <a:t>2018-11-20_FORCE_Issues in data cleansing_v03.pptx</a:t>
            </a:r>
            <a:endParaRPr lang="en-US" sz="1199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9113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406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lowchart: Manual Input 7"/>
          <p:cNvSpPr/>
          <p:nvPr userDrawn="1"/>
        </p:nvSpPr>
        <p:spPr>
          <a:xfrm>
            <a:off x="0" y="3610066"/>
            <a:ext cx="12192000" cy="3247934"/>
          </a:xfrm>
          <a:prstGeom prst="flowChartManualInput">
            <a:avLst/>
          </a:prstGeom>
          <a:solidFill>
            <a:srgbClr val="E6E6E6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9E9E9E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99" dirty="0" err="1" smtClean="0"/>
          </a:p>
        </p:txBody>
      </p:sp>
      <p:sp>
        <p:nvSpPr>
          <p:cNvPr id="9" name="Flowchart: Manual Input 8"/>
          <p:cNvSpPr/>
          <p:nvPr userDrawn="1"/>
        </p:nvSpPr>
        <p:spPr>
          <a:xfrm flipH="1" flipV="1">
            <a:off x="0" y="0"/>
            <a:ext cx="12192000" cy="4532850"/>
          </a:xfrm>
          <a:prstGeom prst="flowChartManualInput">
            <a:avLst/>
          </a:prstGeom>
          <a:solidFill>
            <a:srgbClr val="00566D"/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99" dirty="0" err="1" smtClean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804" t="9756" r="6727" b="4972"/>
          <a:stretch/>
        </p:blipFill>
        <p:spPr>
          <a:xfrm>
            <a:off x="131974" y="3490768"/>
            <a:ext cx="3789529" cy="2442689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956" r="13359"/>
          <a:stretch>
            <a:fillRect/>
          </a:stretch>
        </p:blipFill>
        <p:spPr>
          <a:xfrm>
            <a:off x="9405114" y="3500651"/>
            <a:ext cx="2691445" cy="2418386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8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6741655" y="3672592"/>
            <a:ext cx="2935899" cy="2320471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40885" y="3474457"/>
            <a:ext cx="3570966" cy="2833362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10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04555" y="3766182"/>
            <a:ext cx="2312483" cy="2541637"/>
          </a:xfrm>
          <a:prstGeom prst="rect">
            <a:avLst/>
          </a:prstGeom>
        </p:spPr>
      </p:pic>
      <p:pic>
        <p:nvPicPr>
          <p:cNvPr id="17" name="Wortmarke DAIMLER" descr="Daimler_RGB_100mm.png"/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1254" y="791617"/>
            <a:ext cx="3417231" cy="462594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4648" y="613010"/>
            <a:ext cx="786654" cy="786882"/>
          </a:xfrm>
          <a:prstGeom prst="rect">
            <a:avLst/>
          </a:prstGeom>
        </p:spPr>
      </p:pic>
      <p:pic>
        <p:nvPicPr>
          <p:cNvPr id="20" name="Picture 3" descr="C:\Users\rajarrv\AppData\Local\Microsoft\Windows\Temporary Internet Files\Content.Outlook\3CY2KM7L\B-No Background FORCE LOGO.png"/>
          <p:cNvPicPr>
            <a:picLocks noChangeAspect="1" noChangeArrowheads="1"/>
          </p:cNvPicPr>
          <p:nvPr userDrawn="1"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419611" y="692628"/>
            <a:ext cx="2166326" cy="6188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itle 1"/>
          <p:cNvSpPr>
            <a:spLocks noGrp="1"/>
          </p:cNvSpPr>
          <p:nvPr>
            <p:ph type="title" hasCustomPrompt="1"/>
          </p:nvPr>
        </p:nvSpPr>
        <p:spPr>
          <a:xfrm>
            <a:off x="628326" y="2001480"/>
            <a:ext cx="10932181" cy="526176"/>
          </a:xfrm>
        </p:spPr>
        <p:txBody>
          <a:bodyPr anchor="b">
            <a:spAutoFit/>
          </a:bodyPr>
          <a:lstStyle>
            <a:lvl1pPr marL="0" indent="0" algn="l" defTabSz="1087871" rtl="0" eaLnBrk="1" latinLnBrk="0" hangingPunct="1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3598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CorpoS" pitchFamily="2" charset="0"/>
              </a:defRPr>
            </a:lvl1pPr>
          </a:lstStyle>
          <a:p>
            <a:pPr>
              <a:lnSpc>
                <a:spcPct val="95000"/>
              </a:lnSpc>
            </a:pPr>
            <a:r>
              <a:rPr lang="en-US" dirty="0" smtClean="0"/>
              <a:t>Title in </a:t>
            </a:r>
            <a:r>
              <a:rPr lang="en-US" dirty="0" err="1" smtClean="0"/>
              <a:t>CorpoS</a:t>
            </a:r>
            <a:r>
              <a:rPr lang="en-US" dirty="0" smtClean="0"/>
              <a:t> 35 </a:t>
            </a:r>
            <a:r>
              <a:rPr lang="en-US" dirty="0" err="1" smtClean="0"/>
              <a:t>pt</a:t>
            </a:r>
            <a:r>
              <a:rPr lang="en-US" dirty="0" smtClean="0"/>
              <a:t>, white, non-bold</a:t>
            </a:r>
            <a:endParaRPr lang="en-US" sz="2798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628326" y="6251051"/>
            <a:ext cx="10932181" cy="489060"/>
          </a:xfrm>
        </p:spPr>
        <p:txBody>
          <a:bodyPr/>
          <a:lstStyle>
            <a:lvl1pPr>
              <a:defRPr sz="1599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Date in 16 </a:t>
            </a:r>
            <a:r>
              <a:rPr lang="en-US" dirty="0" err="1" smtClean="0"/>
              <a:t>pt</a:t>
            </a:r>
            <a:r>
              <a:rPr lang="en-US" dirty="0" smtClean="0"/>
              <a:t>, black, non-bold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28326" y="2485504"/>
            <a:ext cx="10932181" cy="398371"/>
          </a:xfrm>
        </p:spPr>
        <p:txBody>
          <a:bodyPr/>
          <a:lstStyle>
            <a:lvl1pPr>
              <a:defRPr sz="2399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 smtClean="0"/>
              <a:t>Subtitle in </a:t>
            </a:r>
            <a:r>
              <a:rPr lang="en-US" dirty="0" err="1" smtClean="0"/>
              <a:t>CorposS</a:t>
            </a:r>
            <a:r>
              <a:rPr lang="en-US" dirty="0" smtClean="0"/>
              <a:t> 24 </a:t>
            </a:r>
            <a:r>
              <a:rPr lang="en-US" dirty="0" err="1" smtClean="0"/>
              <a:t>pt</a:t>
            </a:r>
            <a:r>
              <a:rPr lang="en-US" dirty="0" smtClean="0"/>
              <a:t>, white, non-bol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26665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2430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10933350" cy="456942"/>
          </a:xfrm>
        </p:spPr>
        <p:txBody>
          <a:bodyPr/>
          <a:lstStyle>
            <a:lvl1pPr>
              <a:defRPr sz="3298">
                <a:solidFill>
                  <a:schemeClr val="tx2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6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7319320" y="6506901"/>
            <a:ext cx="3414222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noProof="0" smtClean="0">
                <a:solidFill>
                  <a:schemeClr val="tx1"/>
                </a:solidFill>
              </a:rPr>
              <a:t>2018-11-20_FORCE_Issues in data cleansing_v03.pptx</a:t>
            </a:r>
            <a:endParaRPr lang="en-US" sz="1199" noProof="0" dirty="0">
              <a:solidFill>
                <a:schemeClr val="tx1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9806384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322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Headline 2 lines //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Headline in CorpoS (Body) 35 pt.</a:t>
            </a:r>
            <a:br>
              <a:rPr lang="en-GB" noProof="0" dirty="0" smtClean="0"/>
            </a:br>
            <a:r>
              <a:rPr lang="en-GB" noProof="0" dirty="0" smtClean="0"/>
              <a:t>in two lines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7178478-C14F-4056-BC7B-D4A0322B8D6E}" type="slidenum">
              <a:rPr lang="en-US" smtClean="0"/>
              <a:t>‹#›</a:t>
            </a:fld>
            <a:endParaRPr lang="en-US"/>
          </a:p>
        </p:txBody>
      </p:sp>
      <p:sp>
        <p:nvSpPr>
          <p:cNvPr id="19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78500" y="6564880"/>
            <a:ext cx="8120970" cy="215949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r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199">
                <a:latin typeface="+mn-lt"/>
              </a:defRPr>
            </a:lvl2pPr>
            <a:lvl3pPr marL="0" indent="0" algn="r">
              <a:spcBef>
                <a:spcPts val="0"/>
              </a:spcBef>
              <a:defRPr sz="1199">
                <a:latin typeface="+mn-lt"/>
              </a:defRPr>
            </a:lvl3pPr>
            <a:lvl4pPr marL="0" indent="0" algn="r">
              <a:spcBef>
                <a:spcPts val="0"/>
              </a:spcBef>
              <a:defRPr sz="1199">
                <a:latin typeface="+mn-lt"/>
              </a:defRPr>
            </a:lvl4pPr>
            <a:lvl5pPr marL="0" indent="0" algn="r">
              <a:spcBef>
                <a:spcPts val="0"/>
              </a:spcBef>
              <a:defRPr sz="1199">
                <a:latin typeface="+mn-lt"/>
              </a:defRPr>
            </a:lvl5pPr>
            <a:lvl6pPr marL="0" indent="0" algn="r">
              <a:spcBef>
                <a:spcPts val="0"/>
              </a:spcBef>
              <a:defRPr sz="1199">
                <a:latin typeface="+mn-lt"/>
              </a:defRPr>
            </a:lvl6pPr>
            <a:lvl7pPr marL="0" indent="0" algn="r">
              <a:spcBef>
                <a:spcPts val="0"/>
              </a:spcBef>
              <a:defRPr sz="1199">
                <a:latin typeface="+mn-lt"/>
              </a:defRPr>
            </a:lvl7pPr>
            <a:lvl8pPr marL="0" indent="0" algn="r">
              <a:spcBef>
                <a:spcPts val="0"/>
              </a:spcBef>
              <a:defRPr sz="1199">
                <a:latin typeface="+mn-lt"/>
              </a:defRPr>
            </a:lvl8pPr>
            <a:lvl9pPr marL="0" indent="0" algn="r">
              <a:spcBef>
                <a:spcPts val="0"/>
              </a:spcBef>
              <a:defRPr sz="1199">
                <a:latin typeface="+mn-lt"/>
              </a:defRPr>
            </a:lvl9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818094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  <p15:guide id="3" orient="horz" pos="950">
          <p15:clr>
            <a:srgbClr val="FBAE40"/>
          </p15:clr>
        </p15:guide>
      </p15:sldGuideLst>
    </p:ext>
  </p:extLst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3454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white">
          <a:xfrm>
            <a:off x="1" y="-1307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schemeClr val="bg1"/>
              </a:solidFill>
              <a:latin typeface="CorpoS" pitchFamily="2" charset="0"/>
              <a:sym typeface="CorpoS" pitchFamily="2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9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598">
                <a:solidFill>
                  <a:schemeClr val="tx2"/>
                </a:solidFill>
                <a:latin typeface="+mn-lt"/>
                <a:sym typeface="CorpoS" pitchFamily="2" charset="0"/>
              </a:defRPr>
            </a:lvl1pPr>
            <a:lvl2pPr marL="456743" indent="0" algn="ctr">
              <a:buNone/>
              <a:defRPr sz="1998"/>
            </a:lvl2pPr>
            <a:lvl3pPr marL="913486" indent="0" algn="ctr">
              <a:buNone/>
              <a:defRPr sz="1798"/>
            </a:lvl3pPr>
            <a:lvl4pPr marL="1370229" indent="0" algn="ctr">
              <a:buNone/>
              <a:defRPr sz="1598"/>
            </a:lvl4pPr>
            <a:lvl5pPr marL="1826972" indent="0" algn="ctr">
              <a:buNone/>
              <a:defRPr sz="1598"/>
            </a:lvl5pPr>
            <a:lvl6pPr marL="2283715" indent="0" algn="ctr">
              <a:buNone/>
              <a:defRPr sz="1598"/>
            </a:lvl6pPr>
            <a:lvl7pPr marL="2740457" indent="0" algn="ctr">
              <a:buNone/>
              <a:defRPr sz="1598"/>
            </a:lvl7pPr>
            <a:lvl8pPr marL="3197201" indent="0" algn="ctr">
              <a:buNone/>
              <a:defRPr sz="1598"/>
            </a:lvl8pPr>
            <a:lvl9pPr marL="3653943" indent="0" algn="ctr">
              <a:buNone/>
              <a:defRPr sz="1598"/>
            </a:lvl9pPr>
          </a:lstStyle>
          <a:p>
            <a:r>
              <a:rPr lang="en-US" dirty="0" smtClean="0"/>
              <a:t>Click to add subtitle</a:t>
            </a:r>
            <a:endParaRPr lang="en-US" dirty="0"/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50"/>
            <a:ext cx="3744000" cy="664797"/>
          </a:xfrm>
        </p:spPr>
        <p:txBody>
          <a:bodyPr anchor="t">
            <a:noAutofit/>
          </a:bodyPr>
          <a:lstStyle>
            <a:lvl1pPr>
              <a:defRPr sz="3298">
                <a:solidFill>
                  <a:schemeClr val="tx2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2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7319320" y="6506901"/>
            <a:ext cx="3414222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noProof="0" smtClean="0">
                <a:solidFill>
                  <a:schemeClr val="tx1"/>
                </a:solidFill>
              </a:rPr>
              <a:t>2018-11-20_FORCE_Issues in data cleansing_v03.pptx</a:t>
            </a:r>
            <a:endParaRPr lang="en-US" sz="1199" noProof="0" dirty="0">
              <a:solidFill>
                <a:schemeClr val="tx1"/>
              </a:solidFill>
            </a:endParaRPr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708543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2">
          <p15:clr>
            <a:srgbClr val="FBAE40"/>
          </p15:clr>
        </p15:guide>
        <p15:guide id="2" pos="3844">
          <p15:clr>
            <a:srgbClr val="FBAE40"/>
          </p15:clr>
        </p15:guide>
      </p15:sldGuideLst>
    </p:ext>
  </p:extLst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4478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3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3486" rtl="0" eaLnBrk="1" fontAlgn="auto" latinLnBrk="0" hangingPunct="1">
              <a:lnSpc>
                <a:spcPts val="5994"/>
              </a:lnSpc>
              <a:spcBef>
                <a:spcPts val="0"/>
              </a:spcBef>
              <a:spcAft>
                <a:spcPts val="0"/>
              </a:spcAft>
              <a:defRPr lang="en-US" sz="5394" kern="1200" baseline="0" dirty="0">
                <a:solidFill>
                  <a:schemeClr val="tx2"/>
                </a:solidFill>
                <a:latin typeface="+mj-lt"/>
                <a:ea typeface="+mn-ea"/>
                <a:cs typeface="+mj-cs"/>
                <a:sym typeface="CorpoS" pitchFamily="2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5" y="1424083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198" dirty="0">
              <a:solidFill>
                <a:schemeClr val="bg1"/>
              </a:solidFill>
              <a:latin typeface="CorpoS" pitchFamily="2" charset="0"/>
              <a:sym typeface="CorpoS" pitchFamily="2" charset="0"/>
            </a:endParaRPr>
          </a:p>
        </p:txBody>
      </p:sp>
      <p:sp>
        <p:nvSpPr>
          <p:cNvPr id="13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7319320" y="6506901"/>
            <a:ext cx="3414222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noProof="0" smtClean="0">
                <a:solidFill>
                  <a:schemeClr val="tx1"/>
                </a:solidFill>
              </a:rPr>
              <a:t>2018-11-20_FORCE_Issues in data cleansing_v03.pptx</a:t>
            </a:r>
            <a:endParaRPr lang="en-US" sz="1199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4585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5502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2"/>
            <a:ext cx="10936800" cy="2041200"/>
          </a:xfrm>
        </p:spPr>
        <p:txBody>
          <a:bodyPr anchor="t">
            <a:noAutofit/>
          </a:bodyPr>
          <a:lstStyle>
            <a:lvl1pPr>
              <a:defRPr sz="5394">
                <a:solidFill>
                  <a:schemeClr val="tx2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2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7319320" y="6506901"/>
            <a:ext cx="3414222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noProof="0" smtClean="0">
                <a:solidFill>
                  <a:schemeClr val="tx1"/>
                </a:solidFill>
              </a:rPr>
              <a:t>2018-11-20_FORCE_Issues in data cleansing_v03.pptx</a:t>
            </a:r>
            <a:endParaRPr lang="en-US" sz="1199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99172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526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6" y="0"/>
            <a:ext cx="416951" cy="6858000"/>
          </a:xfrm>
          <a:prstGeom prst="rect">
            <a:avLst/>
          </a:prstGeom>
        </p:spPr>
      </p:pic>
      <p:sp>
        <p:nvSpPr>
          <p:cNvPr id="24" name="Rectangle 23"/>
          <p:cNvSpPr/>
          <p:nvPr userDrawn="1"/>
        </p:nvSpPr>
        <p:spPr bwMode="white">
          <a:xfrm>
            <a:off x="2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98" dirty="0">
              <a:solidFill>
                <a:schemeClr val="bg1"/>
              </a:solidFill>
              <a:latin typeface="CorpoS" pitchFamily="2" charset="0"/>
              <a:sym typeface="CorpoS" pitchFamily="2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2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98">
                <a:solidFill>
                  <a:schemeClr val="tx2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26" name="TextBox 25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3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7319320" y="6506901"/>
            <a:ext cx="3414222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noProof="0" smtClean="0">
                <a:solidFill>
                  <a:srgbClr val="FFFFFF"/>
                </a:solidFill>
              </a:rPr>
              <a:t>2018-11-20_FORCE_Issues in data cleansing_v03.pptx</a:t>
            </a:r>
            <a:endParaRPr lang="en-US" sz="1199" noProof="0" dirty="0">
              <a:solidFill>
                <a:srgbClr val="FFFFFF"/>
              </a:solidFill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latin typeface="CorpoS" pitchFamily="2" charset="0"/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latin typeface="CorpoS" pitchFamily="2" charset="0"/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latin typeface="CorpoS" pitchFamily="2" charset="0"/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668703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550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8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98" dirty="0">
              <a:solidFill>
                <a:schemeClr val="bg1"/>
              </a:solidFill>
              <a:latin typeface="CorpoS" pitchFamily="2" charset="0"/>
              <a:sym typeface="CorpoS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2" y="622802"/>
            <a:ext cx="6276529" cy="456942"/>
          </a:xfrm>
          <a:prstGeom prst="rect">
            <a:avLst/>
          </a:prstGeom>
        </p:spPr>
        <p:txBody>
          <a:bodyPr/>
          <a:lstStyle>
            <a:lvl1pPr>
              <a:defRPr sz="3298">
                <a:solidFill>
                  <a:schemeClr val="tx2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8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7319320" y="6506901"/>
            <a:ext cx="3414222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noProof="0" smtClean="0">
                <a:solidFill>
                  <a:srgbClr val="FFFFFF"/>
                </a:solidFill>
              </a:rPr>
              <a:t>2018-11-20_FORCE_Issues in data cleansing_v03.pptx</a:t>
            </a:r>
            <a:endParaRPr lang="en-US" sz="1199" noProof="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8722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574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98" dirty="0">
              <a:solidFill>
                <a:schemeClr val="bg1"/>
              </a:solidFill>
              <a:latin typeface="CorpoS" pitchFamily="2" charset="0"/>
              <a:sym typeface="CorpoS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8101584" cy="456942"/>
          </a:xfrm>
          <a:prstGeom prst="rect">
            <a:avLst/>
          </a:prstGeom>
        </p:spPr>
        <p:txBody>
          <a:bodyPr/>
          <a:lstStyle>
            <a:lvl1pPr>
              <a:defRPr sz="3298">
                <a:solidFill>
                  <a:schemeClr val="tx2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311995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9598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70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2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98">
                <a:solidFill>
                  <a:schemeClr val="bg1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5" y="-1307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98" dirty="0">
              <a:solidFill>
                <a:schemeClr val="bg1"/>
              </a:solidFill>
              <a:latin typeface="CorpoS" pitchFamily="2" charset="0"/>
              <a:sym typeface="CorpoS" pitchFamily="2" charset="0"/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7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7319320" y="6506901"/>
            <a:ext cx="3414222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noProof="0" smtClean="0">
                <a:solidFill>
                  <a:schemeClr val="tx1"/>
                </a:solidFill>
              </a:rPr>
              <a:t>2018-11-20_FORCE_Issues in data cleansing_v03.pptx</a:t>
            </a:r>
            <a:endParaRPr lang="en-US" sz="1199" noProof="0" dirty="0">
              <a:solidFill>
                <a:schemeClr val="tx1"/>
              </a:solidFill>
            </a:endParaRPr>
          </a:p>
        </p:txBody>
      </p:sp>
      <p:sp>
        <p:nvSpPr>
          <p:cNvPr id="13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438377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0622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4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schemeClr val="bg1"/>
              </a:solidFill>
              <a:latin typeface="CorpoS" pitchFamily="2" charset="0"/>
              <a:sym typeface="CorpoS" pitchFamily="2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798" baseline="0">
                <a:latin typeface="CorpoS" pitchFamily="2" charset="0"/>
                <a:sym typeface="CorpoS" pitchFamily="2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2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3298">
                <a:solidFill>
                  <a:schemeClr val="bg1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23" name="TextBox 22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4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7319320" y="6506901"/>
            <a:ext cx="3414222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noProof="0" smtClean="0">
                <a:solidFill>
                  <a:schemeClr val="tx1"/>
                </a:solidFill>
              </a:rPr>
              <a:t>2018-11-20_FORCE_Issues in data cleansing_v03.pptx</a:t>
            </a:r>
            <a:endParaRPr lang="en-US" sz="1199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10308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1646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51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98" dirty="0">
              <a:solidFill>
                <a:schemeClr val="bg1"/>
              </a:solidFill>
              <a:latin typeface="CorpoS" pitchFamily="2" charset="0"/>
              <a:sym typeface="CorpoS" pitchFamily="2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598">
                <a:solidFill>
                  <a:schemeClr val="tx1"/>
                </a:solidFill>
                <a:latin typeface="CorpoS" pitchFamily="2" charset="0"/>
                <a:sym typeface="CorpoS" pitchFamily="2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2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98">
                <a:solidFill>
                  <a:schemeClr val="bg1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22" name="TextBox 21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691464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2670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8020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reeform 14"/>
          <p:cNvSpPr/>
          <p:nvPr userDrawn="1"/>
        </p:nvSpPr>
        <p:spPr bwMode="ltGray">
          <a:xfrm>
            <a:off x="1526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latin typeface="CorpoS" pitchFamily="2" charset="0"/>
              <a:sym typeface="CorpoS" pitchFamily="2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1" y="2764205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98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title</a:t>
            </a:r>
            <a:endParaRPr lang="en-US"/>
          </a:p>
        </p:txBody>
      </p:sp>
      <p:sp>
        <p:nvSpPr>
          <p:cNvPr id="21" name="TextBox 20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3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7319320" y="6506901"/>
            <a:ext cx="3414222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noProof="0" smtClean="0">
                <a:solidFill>
                  <a:srgbClr val="FFFFFF"/>
                </a:solidFill>
              </a:rPr>
              <a:t>2018-11-20_FORCE_Issues in data cleansing_v03.pptx</a:t>
            </a:r>
            <a:endParaRPr lang="en-US" sz="1199" noProof="0" dirty="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0881351" y="6506837"/>
            <a:ext cx="64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latin typeface="CorpoS" pitchFamily="2" charset="0"/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latin typeface="CorpoS" pitchFamily="2" charset="0"/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latin typeface="CorpoS" pitchFamily="2" charset="0"/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6381784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2/4 brushe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28323" y="5121280"/>
            <a:ext cx="10932181" cy="1025684"/>
          </a:xfrm>
        </p:spPr>
        <p:txBody>
          <a:bodyPr wrap="square" anchor="b" anchorCtr="0">
            <a:spAutoFit/>
          </a:bodyPr>
          <a:lstStyle>
            <a:lvl1pPr>
              <a:defRPr/>
            </a:lvl1pPr>
          </a:lstStyle>
          <a:p>
            <a:r>
              <a:rPr lang="de-DE" dirty="0" err="1"/>
              <a:t>Referent’s</a:t>
            </a:r>
            <a:r>
              <a:rPr lang="de-DE" dirty="0"/>
              <a:t> </a:t>
            </a:r>
            <a:r>
              <a:rPr lang="de-DE" dirty="0" err="1"/>
              <a:t>name</a:t>
            </a:r>
            <a:r>
              <a:rPr lang="de-DE" dirty="0"/>
              <a:t>: </a:t>
            </a:r>
            <a:r>
              <a:rPr lang="de-DE" noProof="0" dirty="0" err="1"/>
              <a:t>CorpoS</a:t>
            </a:r>
            <a:r>
              <a:rPr lang="de-DE" noProof="0" dirty="0"/>
              <a:t> </a:t>
            </a:r>
            <a:r>
              <a:rPr lang="de-DE" dirty="0"/>
              <a:t>(Body) 35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Presentation</a:t>
            </a:r>
            <a:r>
              <a:rPr lang="de-DE" dirty="0"/>
              <a:t> title</a:t>
            </a:r>
            <a:br>
              <a:rPr lang="de-DE" dirty="0"/>
            </a:br>
            <a:r>
              <a:rPr lang="de-DE" dirty="0"/>
              <a:t>in </a:t>
            </a:r>
            <a:r>
              <a:rPr lang="de-DE" dirty="0" err="1"/>
              <a:t>two</a:t>
            </a:r>
            <a:r>
              <a:rPr lang="de-DE" dirty="0"/>
              <a:t>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more</a:t>
            </a:r>
            <a:r>
              <a:rPr lang="de-DE" dirty="0"/>
              <a:t> </a:t>
            </a:r>
            <a:r>
              <a:rPr lang="de-DE" dirty="0" err="1"/>
              <a:t>lines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, </a:t>
            </a:r>
            <a:r>
              <a:rPr lang="de-DE" dirty="0" err="1"/>
              <a:t>dd</a:t>
            </a:r>
            <a:r>
              <a:rPr lang="de-DE" dirty="0"/>
              <a:t>. </a:t>
            </a:r>
            <a:r>
              <a:rPr lang="de-DE" dirty="0" err="1"/>
              <a:t>mmmm</a:t>
            </a:r>
            <a:r>
              <a:rPr lang="de-DE" dirty="0"/>
              <a:t> </a:t>
            </a:r>
            <a:r>
              <a:rPr lang="de-DE" dirty="0" err="1"/>
              <a:t>yyyy</a:t>
            </a:r>
            <a:endParaRPr lang="de-DE" dirty="0"/>
          </a:p>
        </p:txBody>
      </p:sp>
      <p:pic>
        <p:nvPicPr>
          <p:cNvPr id="28" name="Wortmarke DAIMLER" descr="Daimler_RGB_100mm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672" y="790853"/>
            <a:ext cx="3418220" cy="462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08704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3694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6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latin typeface="CorpoS" pitchFamily="2" charset="0"/>
              <a:sym typeface="CorpoS" pitchFamily="2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5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98">
                <a:solidFill>
                  <a:srgbClr val="FFFFFF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41310" y="3402830"/>
            <a:ext cx="2694666" cy="3461745"/>
          </a:xfrm>
          <a:prstGeom prst="rect">
            <a:avLst/>
          </a:prstGeom>
        </p:spPr>
      </p:pic>
      <p:sp>
        <p:nvSpPr>
          <p:cNvPr id="21" name="TextBox 20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5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7319320" y="6506901"/>
            <a:ext cx="3414222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noProof="0" smtClean="0">
                <a:solidFill>
                  <a:schemeClr val="tx1"/>
                </a:solidFill>
              </a:rPr>
              <a:t>2018-11-20_FORCE_Issues in data cleansing_v03.pptx</a:t>
            </a:r>
            <a:endParaRPr lang="en-US" sz="1199" noProof="0" dirty="0">
              <a:solidFill>
                <a:schemeClr val="tx1"/>
              </a:solidFill>
            </a:endParaRPr>
          </a:p>
        </p:txBody>
      </p:sp>
      <p:sp>
        <p:nvSpPr>
          <p:cNvPr id="14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1509564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4718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2"/>
          <p:cNvPicPr>
            <a:picLocks noChangeAspect="1" noChangeArrowheads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33902" y="3382964"/>
            <a:ext cx="1298575" cy="3571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Pentagon 3"/>
          <p:cNvSpPr/>
          <p:nvPr userDrawn="1"/>
        </p:nvSpPr>
        <p:spPr bwMode="white">
          <a:xfrm>
            <a:off x="3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latin typeface="CorpoS" pitchFamily="2" charset="0"/>
              <a:sym typeface="CorpoS" pitchFamily="2" charset="0"/>
            </a:endParaRPr>
          </a:p>
        </p:txBody>
      </p:sp>
      <p:sp>
        <p:nvSpPr>
          <p:cNvPr id="21" name="TextBox 20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3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7319320" y="6506901"/>
            <a:ext cx="3414222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noProof="0" smtClean="0">
                <a:solidFill>
                  <a:srgbClr val="FFFFFF"/>
                </a:solidFill>
              </a:rPr>
              <a:t>2018-11-20_FORCE_Issues in data cleansing_v03.pptx</a:t>
            </a:r>
            <a:endParaRPr lang="en-US" sz="1199" noProof="0" dirty="0">
              <a:solidFill>
                <a:srgbClr val="FFFFFF"/>
              </a:solidFill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latin typeface="CorpoS" pitchFamily="2" charset="0"/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latin typeface="CorpoS" pitchFamily="2" charset="0"/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latin typeface="CorpoS" pitchFamily="2" charset="0"/>
                <a:sym typeface="CorpoS" pitchFamily="2" charset="0"/>
              </a:rPr>
              <a:t>by The Boston Consulting Group, Inc. All rights reserved.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30352" y="2976710"/>
            <a:ext cx="4061884" cy="1085599"/>
          </a:xfrm>
        </p:spPr>
        <p:txBody>
          <a:bodyPr/>
          <a:lstStyle>
            <a:lvl1pPr>
              <a:lnSpc>
                <a:spcPct val="90000"/>
              </a:lnSpc>
              <a:defRPr sz="3298">
                <a:solidFill>
                  <a:schemeClr val="tx2"/>
                </a:solidFill>
              </a:defRPr>
            </a:lvl1pPr>
            <a:lvl2pPr>
              <a:defRPr sz="3298"/>
            </a:lvl2pPr>
            <a:lvl3pPr>
              <a:defRPr sz="3298"/>
            </a:lvl3pPr>
            <a:lvl4pPr>
              <a:defRPr sz="3298"/>
            </a:lvl4pPr>
            <a:lvl5pPr>
              <a:defRPr sz="3298"/>
            </a:lvl5pPr>
          </a:lstStyle>
          <a:p>
            <a:pPr lvl="0"/>
            <a:r>
              <a:rPr lang="ja-JP" altLang="en-US" smtClean="0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159557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5742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3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latin typeface="CorpoS" pitchFamily="2" charset="0"/>
              <a:sym typeface="CorpoS" pitchFamily="2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2" y="1785602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98" b="0">
                <a:solidFill>
                  <a:srgbClr val="FFFFFF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49483" y="3416300"/>
            <a:ext cx="2694666" cy="3441700"/>
          </a:xfrm>
          <a:prstGeom prst="rect">
            <a:avLst/>
          </a:prstGeom>
        </p:spPr>
      </p:pic>
      <p:sp>
        <p:nvSpPr>
          <p:cNvPr id="22" name="TextBox 21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3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7319320" y="6506901"/>
            <a:ext cx="3414222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noProof="0" smtClean="0">
                <a:solidFill>
                  <a:schemeClr val="tx1"/>
                </a:solidFill>
              </a:rPr>
              <a:t>2018-11-20_FORCE_Issues in data cleansing_v03.pptx</a:t>
            </a:r>
            <a:endParaRPr lang="en-US" sz="1199" noProof="0" dirty="0">
              <a:solidFill>
                <a:schemeClr val="tx1"/>
              </a:solidFill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614994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766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8758" y="3588020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latin typeface="CorpoS" pitchFamily="2" charset="0"/>
              <a:sym typeface="CorpoS" pitchFamily="2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4747822" cy="456942"/>
          </a:xfrm>
          <a:prstGeom prst="rect">
            <a:avLst/>
          </a:prstGeom>
        </p:spPr>
        <p:txBody>
          <a:bodyPr/>
          <a:lstStyle>
            <a:lvl1pPr>
              <a:defRPr sz="3298">
                <a:solidFill>
                  <a:schemeClr val="tx2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3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7319320" y="6506901"/>
            <a:ext cx="3414222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noProof="0" smtClean="0">
                <a:solidFill>
                  <a:srgbClr val="FFFFFF"/>
                </a:solidFill>
              </a:rPr>
              <a:t>2018-11-20_FORCE_Issues in data cleansing_v03.pptx</a:t>
            </a:r>
            <a:endParaRPr lang="en-US" sz="1199" noProof="0" dirty="0">
              <a:solidFill>
                <a:srgbClr val="FFFFFF"/>
              </a:solidFill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latin typeface="CorpoS" pitchFamily="2" charset="0"/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latin typeface="CorpoS" pitchFamily="2" charset="0"/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latin typeface="CorpoS" pitchFamily="2" charset="0"/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6778224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790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latin typeface="CorpoS" pitchFamily="2" charset="0"/>
              <a:sym typeface="CorpoS" pitchFamily="2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4747822" cy="456942"/>
          </a:xfrm>
          <a:prstGeom prst="rect">
            <a:avLst/>
          </a:prstGeom>
        </p:spPr>
        <p:txBody>
          <a:bodyPr/>
          <a:lstStyle>
            <a:lvl1pPr>
              <a:defRPr sz="3298">
                <a:solidFill>
                  <a:srgbClr val="FFFFFF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28424" y="3407805"/>
            <a:ext cx="2694666" cy="3456551"/>
          </a:xfrm>
          <a:prstGeom prst="rect">
            <a:avLst/>
          </a:prstGeom>
        </p:spPr>
      </p:pic>
      <p:sp>
        <p:nvSpPr>
          <p:cNvPr id="20" name="TextBox 19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4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7319320" y="6506901"/>
            <a:ext cx="3414222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noProof="0" smtClean="0">
                <a:solidFill>
                  <a:schemeClr val="tx1"/>
                </a:solidFill>
              </a:rPr>
              <a:t>2018-11-20_FORCE_Issues in data cleansing_v03.pptx</a:t>
            </a:r>
            <a:endParaRPr lang="en-US" sz="1199" noProof="0" dirty="0">
              <a:solidFill>
                <a:schemeClr val="tx1"/>
              </a:solidFill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1886600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814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41" y="3588020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reeform 18"/>
          <p:cNvSpPr/>
          <p:nvPr userDrawn="1"/>
        </p:nvSpPr>
        <p:spPr bwMode="white">
          <a:xfrm>
            <a:off x="2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schemeClr val="bg1"/>
              </a:solidFill>
              <a:latin typeface="CorpoS" pitchFamily="2" charset="0"/>
              <a:sym typeface="CorpoS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6476627" cy="456942"/>
          </a:xfrm>
          <a:prstGeom prst="rect">
            <a:avLst/>
          </a:prstGeom>
        </p:spPr>
        <p:txBody>
          <a:bodyPr/>
          <a:lstStyle>
            <a:lvl1pPr>
              <a:defRPr sz="3298">
                <a:solidFill>
                  <a:schemeClr val="tx2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3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7319320" y="6506901"/>
            <a:ext cx="3414222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noProof="0" smtClean="0">
                <a:solidFill>
                  <a:srgbClr val="FFFFFF"/>
                </a:solidFill>
              </a:rPr>
              <a:t>2018-11-20_FORCE_Issues in data cleansing_v03.pptx</a:t>
            </a:r>
            <a:endParaRPr lang="en-US" sz="1199" noProof="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73034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9838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2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schemeClr val="bg1"/>
              </a:solidFill>
              <a:latin typeface="CorpoS" pitchFamily="2" charset="0"/>
              <a:sym typeface="CorpoS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6476627" cy="456942"/>
          </a:xfrm>
          <a:prstGeom prst="rect">
            <a:avLst/>
          </a:prstGeom>
        </p:spPr>
        <p:txBody>
          <a:bodyPr/>
          <a:lstStyle>
            <a:lvl1pPr>
              <a:defRPr sz="3298">
                <a:solidFill>
                  <a:srgbClr val="FFFFFF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24772" y="3407805"/>
            <a:ext cx="2694666" cy="3456551"/>
          </a:xfrm>
          <a:prstGeom prst="rect">
            <a:avLst/>
          </a:prstGeom>
        </p:spPr>
      </p:pic>
      <p:sp>
        <p:nvSpPr>
          <p:cNvPr id="25" name="TextBox 24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3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7319320" y="6506901"/>
            <a:ext cx="3414222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noProof="0" smtClean="0">
                <a:solidFill>
                  <a:schemeClr val="tx1"/>
                </a:solidFill>
              </a:rPr>
              <a:t>2018-11-20_FORCE_Issues in data cleansing_v03.pptx</a:t>
            </a:r>
            <a:endParaRPr lang="en-US" sz="1199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2307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0862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3486" rtl="0" eaLnBrk="1" fontAlgn="auto" latinLnBrk="0" hangingPunct="1">
              <a:lnSpc>
                <a:spcPts val="5994"/>
              </a:lnSpc>
              <a:spcBef>
                <a:spcPts val="0"/>
              </a:spcBef>
              <a:spcAft>
                <a:spcPts val="0"/>
              </a:spcAft>
              <a:defRPr lang="en-US" sz="5394" kern="1200" baseline="0" dirty="0">
                <a:solidFill>
                  <a:schemeClr val="bg1"/>
                </a:solidFill>
                <a:latin typeface="+mj-lt"/>
                <a:ea typeface="+mn-ea"/>
                <a:cs typeface="+mj-cs"/>
                <a:sym typeface="CorpoS" pitchFamily="2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big statement text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3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7319320" y="6506901"/>
            <a:ext cx="3414222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noProof="0" smtClean="0">
                <a:solidFill>
                  <a:srgbClr val="FFFFFF"/>
                </a:solidFill>
              </a:rPr>
              <a:t>2018-11-20_FORCE_Issues in data cleansing_v03.pptx</a:t>
            </a:r>
            <a:endParaRPr lang="en-US" sz="1199" noProof="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9475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1886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198" dirty="0">
              <a:solidFill>
                <a:schemeClr val="bg1"/>
              </a:solidFill>
              <a:latin typeface="CorpoS" pitchFamily="2" charset="0"/>
              <a:sym typeface="CorpoS" pitchFamily="2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3486" rtl="0" eaLnBrk="1" fontAlgn="auto" latinLnBrk="0" hangingPunct="1">
              <a:lnSpc>
                <a:spcPts val="5994"/>
              </a:lnSpc>
              <a:spcBef>
                <a:spcPts val="0"/>
              </a:spcBef>
              <a:spcAft>
                <a:spcPts val="0"/>
              </a:spcAft>
              <a:defRPr lang="en-US" sz="5394" kern="1200" baseline="0" dirty="0">
                <a:solidFill>
                  <a:schemeClr val="accent4"/>
                </a:solidFill>
                <a:latin typeface="+mj-lt"/>
                <a:ea typeface="+mn-ea"/>
                <a:cs typeface="+mj-cs"/>
                <a:sym typeface="CorpoS" pitchFamily="2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big statement text</a:t>
            </a:r>
          </a:p>
        </p:txBody>
      </p:sp>
      <p:sp>
        <p:nvSpPr>
          <p:cNvPr id="8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7319320" y="6506901"/>
            <a:ext cx="3414222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noProof="0" smtClean="0">
                <a:solidFill>
                  <a:schemeClr val="tx1"/>
                </a:solidFill>
              </a:rPr>
              <a:t>2018-11-20_FORCE_Issues in data cleansing_v03.pptx</a:t>
            </a:r>
            <a:endParaRPr lang="en-US" sz="1199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4401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2910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3" y="110970"/>
            <a:ext cx="769257" cy="10019821"/>
          </a:xfrm>
          <a:prstGeom prst="rect">
            <a:avLst/>
          </a:pr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344" tIns="45672" rIns="91344" bIns="45672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799" dirty="0">
              <a:latin typeface="CorpoS" pitchFamily="2" charset="0"/>
              <a:sym typeface="CorpoS" pitchFamily="2" charset="0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9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7319320" y="6506901"/>
            <a:ext cx="3414222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noProof="0" smtClean="0">
                <a:solidFill>
                  <a:srgbClr val="FFFFFF"/>
                </a:solidFill>
              </a:rPr>
              <a:t>2018-11-20_FORCE_Issues in data cleansing_v03.pptx</a:t>
            </a:r>
            <a:endParaRPr lang="en-US" sz="1199" noProof="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6394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. Title tex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Regieanweisungen"/>
          <p:cNvGrpSpPr/>
          <p:nvPr/>
        </p:nvGrpSpPr>
        <p:grpSpPr>
          <a:xfrm>
            <a:off x="-2086913" y="-467892"/>
            <a:ext cx="13647691" cy="7792196"/>
            <a:chOff x="-2088000" y="-468000"/>
            <a:chExt cx="13654799" cy="7794000"/>
          </a:xfrm>
        </p:grpSpPr>
        <p:sp>
          <p:nvSpPr>
            <p:cNvPr id="15" name="Hilfslinien"/>
            <p:cNvSpPr txBox="1"/>
            <p:nvPr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1042388">
                <a:defRPr/>
              </a:pPr>
              <a:r>
                <a:rPr lang="en-GB" sz="1099" dirty="0">
                  <a:solidFill>
                    <a:srgbClr val="444444"/>
                  </a:solidFill>
                </a:rPr>
                <a:t>Show guides via menu bar: View // Show // tick Guides</a:t>
              </a:r>
            </a:p>
          </p:txBody>
        </p:sp>
        <p:sp>
          <p:nvSpPr>
            <p:cNvPr id="16" name="Fußzeile"/>
            <p:cNvSpPr txBox="1"/>
            <p:nvPr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 defTabSz="1042388">
                <a:defRPr/>
              </a:pPr>
              <a:r>
                <a:rPr lang="en-GB" sz="1099" dirty="0">
                  <a:solidFill>
                    <a:srgbClr val="444444"/>
                  </a:solidFill>
                </a:rPr>
                <a:t>Adjust footer (per slide or for several/all slides) via menu bar: Insert // Text // Header &amp; Footer</a:t>
              </a:r>
            </a:p>
          </p:txBody>
        </p:sp>
        <p:grpSp>
          <p:nvGrpSpPr>
            <p:cNvPr id="27" name="Hinweise links"/>
            <p:cNvGrpSpPr/>
            <p:nvPr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28" name="Folie Wechsel/Zurücksetzen/Textebenen"/>
              <p:cNvSpPr txBox="1"/>
              <p:nvPr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Reset the slide back to its </a:t>
                </a: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original form via menu bar:</a:t>
                </a: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Home // Slides // Reset</a:t>
                </a:r>
              </a:p>
              <a:p>
                <a:pPr algn="r"/>
                <a:endParaRPr lang="en-GB" sz="1099" dirty="0">
                  <a:solidFill>
                    <a:srgbClr val="444444"/>
                  </a:solidFill>
                </a:endParaRP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Change the slide layout </a:t>
                </a: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via menu bar:</a:t>
                </a: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Home // Slides // Layout</a:t>
                </a:r>
              </a:p>
              <a:p>
                <a:pPr algn="r"/>
                <a:endParaRPr lang="en-GB" sz="1099" dirty="0">
                  <a:solidFill>
                    <a:srgbClr val="444444"/>
                  </a:solidFill>
                </a:endParaRP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Change the text level</a:t>
                </a: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via menu bar: </a:t>
                </a:r>
                <a:br>
                  <a:rPr lang="en-GB" sz="1099" dirty="0">
                    <a:solidFill>
                      <a:srgbClr val="444444"/>
                    </a:solidFill>
                  </a:rPr>
                </a:br>
                <a:r>
                  <a:rPr lang="en-GB" sz="1099" dirty="0">
                    <a:solidFill>
                      <a:srgbClr val="444444"/>
                    </a:solidFill>
                  </a:rPr>
                  <a:t>Home // Paragraph // Increase/</a:t>
                </a: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Decrease List Level</a:t>
                </a:r>
              </a:p>
            </p:txBody>
          </p:sp>
          <p:grpSp>
            <p:nvGrpSpPr>
              <p:cNvPr id="30" name="Listenebenen"/>
              <p:cNvGrpSpPr/>
              <p:nvPr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31" name="Text // Listenebene erhöhen"/>
                <p:cNvSpPr txBox="1"/>
                <p:nvPr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r">
                    <a:defRPr/>
                  </a:pPr>
                  <a:r>
                    <a:rPr lang="en-GB" sz="999" dirty="0">
                      <a:solidFill>
                        <a:srgbClr val="444444"/>
                      </a:solidFill>
                    </a:rPr>
                    <a:t>Increase</a:t>
                  </a:r>
                </a:p>
                <a:p>
                  <a:pPr algn="r">
                    <a:defRPr/>
                  </a:pPr>
                  <a:r>
                    <a:rPr lang="en-GB" sz="999" dirty="0">
                      <a:solidFill>
                        <a:srgbClr val="444444"/>
                      </a:solidFill>
                    </a:rPr>
                    <a:t>List Level</a:t>
                  </a:r>
                </a:p>
              </p:txBody>
            </p:sp>
            <p:sp>
              <p:nvSpPr>
                <p:cNvPr id="32" name="Text // Listenebene verringern"/>
                <p:cNvSpPr txBox="1"/>
                <p:nvPr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r">
                    <a:defRPr/>
                  </a:pPr>
                  <a:r>
                    <a:rPr lang="en-GB" sz="999" dirty="0">
                      <a:solidFill>
                        <a:srgbClr val="444444"/>
                      </a:solidFill>
                    </a:rPr>
                    <a:t>Decrease </a:t>
                  </a:r>
                </a:p>
                <a:p>
                  <a:pPr algn="r">
                    <a:defRPr/>
                  </a:pPr>
                  <a:r>
                    <a:rPr lang="en-GB" sz="999" dirty="0">
                      <a:solidFill>
                        <a:srgbClr val="444444"/>
                      </a:solidFill>
                    </a:rPr>
                    <a:t>List Level</a:t>
                  </a:r>
                </a:p>
              </p:txBody>
            </p:sp>
            <p:pic>
              <p:nvPicPr>
                <p:cNvPr id="33" name="Listenebene erhöhen"/>
                <p:cNvPicPr>
                  <a:picLocks noChangeAspect="1"/>
                </p:cNvPicPr>
                <p:nvPr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34" name="Listenebene verringern"/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29672" y="5121280"/>
            <a:ext cx="10930832" cy="1025684"/>
          </a:xfrm>
        </p:spPr>
        <p:txBody>
          <a:bodyPr wrap="square" anchor="b" anchorCtr="0">
            <a:spAutoFit/>
          </a:bodyPr>
          <a:lstStyle>
            <a:lvl1pPr>
              <a:defRPr baseline="0"/>
            </a:lvl1pPr>
          </a:lstStyle>
          <a:p>
            <a:r>
              <a:rPr lang="en-GB" dirty="0"/>
              <a:t>Referent’s name: </a:t>
            </a:r>
            <a:r>
              <a:rPr lang="en-GB" noProof="0" dirty="0"/>
              <a:t>CorpoS </a:t>
            </a:r>
            <a:r>
              <a:rPr lang="en-GB" dirty="0"/>
              <a:t>(Body) 35 pt. Presentation title</a:t>
            </a:r>
            <a:br>
              <a:rPr lang="en-GB" dirty="0"/>
            </a:br>
            <a:r>
              <a:rPr lang="en-GB" dirty="0"/>
              <a:t>in two lines of text, dd. </a:t>
            </a:r>
            <a:r>
              <a:rPr lang="en-GB" dirty="0" err="1"/>
              <a:t>mmmm</a:t>
            </a:r>
            <a:r>
              <a:rPr lang="en-GB" dirty="0"/>
              <a:t> </a:t>
            </a:r>
            <a:r>
              <a:rPr lang="en-GB" dirty="0" err="1"/>
              <a:t>yyyy</a:t>
            </a:r>
            <a:endParaRPr lang="en-GB" dirty="0"/>
          </a:p>
        </p:txBody>
      </p:sp>
      <p:pic>
        <p:nvPicPr>
          <p:cNvPr id="29" name="Wortmarke DAIMLER" descr="Daimler_RGB_100mm.pn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672" y="790853"/>
            <a:ext cx="3418220" cy="462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843640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873">
          <p15:clr>
            <a:srgbClr val="FBAE40"/>
          </p15:clr>
        </p15:guide>
      </p15:sldGuideLst>
    </p:ext>
  </p:extLst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3934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10933200" cy="456942"/>
          </a:xfrm>
        </p:spPr>
        <p:txBody>
          <a:bodyPr/>
          <a:lstStyle>
            <a:lvl1pPr>
              <a:defRPr sz="3298">
                <a:solidFill>
                  <a:schemeClr val="bg1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9" name="TextBox 8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7319320" y="6506901"/>
            <a:ext cx="3414222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noProof="0" smtClean="0">
                <a:solidFill>
                  <a:srgbClr val="FFFFFF"/>
                </a:solidFill>
              </a:rPr>
              <a:t>2018-11-20_FORCE_Issues in data cleansing_v03.pptx</a:t>
            </a:r>
            <a:endParaRPr lang="en-US" sz="1199" noProof="0" dirty="0">
              <a:solidFill>
                <a:srgbClr val="FFFFFF"/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latin typeface="CorpoS" pitchFamily="2" charset="0"/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latin typeface="CorpoS" pitchFamily="2" charset="0"/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latin typeface="CorpoS" pitchFamily="2" charset="0"/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6006212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4958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9436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latin typeface="CorpoS" pitchFamily="2" charset="0"/>
              <a:sym typeface="CorpoS" pitchFamily="2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latin typeface="CorpoS" pitchFamily="2" charset="0"/>
              <a:sym typeface="CorpoS" pitchFamily="2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394" dirty="0">
                <a:solidFill>
                  <a:schemeClr val="tx2"/>
                </a:solidFill>
                <a:latin typeface="+mj-lt"/>
                <a:sym typeface="CorpoS" pitchFamily="2" charset="0"/>
              </a:rPr>
              <a:t>Table of Contents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9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7319320" y="6506901"/>
            <a:ext cx="3414222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noProof="0" smtClean="0">
                <a:solidFill>
                  <a:srgbClr val="FFFFFF"/>
                </a:solidFill>
              </a:rPr>
              <a:t>2018-11-20_FORCE_Issues in data cleansing_v03.pptx</a:t>
            </a:r>
            <a:endParaRPr lang="en-US" sz="1199" noProof="0" dirty="0">
              <a:solidFill>
                <a:srgbClr val="FFFFFF"/>
              </a:solidFill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latin typeface="CorpoS" pitchFamily="2" charset="0"/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latin typeface="CorpoS" pitchFamily="2" charset="0"/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latin typeface="CorpoS" pitchFamily="2" charset="0"/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224101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5982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7319320" y="6506901"/>
            <a:ext cx="3414222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noProof="0" smtClean="0">
                <a:solidFill>
                  <a:srgbClr val="FFFFFF"/>
                </a:solidFill>
              </a:rPr>
              <a:t>2018-11-20_FORCE_Issues in data cleansing_v03.pptx</a:t>
            </a:r>
            <a:endParaRPr lang="en-US" sz="1199" noProof="0" dirty="0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latin typeface="CorpoS" pitchFamily="2" charset="0"/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latin typeface="CorpoS" pitchFamily="2" charset="0"/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latin typeface="CorpoS" pitchFamily="2" charset="0"/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6715958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006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7319320" y="6506901"/>
            <a:ext cx="3414222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noProof="0" smtClean="0">
                <a:solidFill>
                  <a:schemeClr val="tx1"/>
                </a:solidFill>
              </a:rPr>
              <a:t>2018-11-20_FORCE_Issues in data cleansing_v03.pptx</a:t>
            </a:r>
            <a:endParaRPr lang="en-US" sz="1199" noProof="0" dirty="0">
              <a:solidFill>
                <a:schemeClr val="tx1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656207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030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7319320" y="6506901"/>
            <a:ext cx="3414222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noProof="0" smtClean="0">
                <a:solidFill>
                  <a:schemeClr val="tx1"/>
                </a:solidFill>
              </a:rPr>
              <a:t>2018-11-20_FORCE_Issues in data cleansing_v03.pptx</a:t>
            </a:r>
            <a:endParaRPr lang="en-US" sz="1199" noProof="0" dirty="0">
              <a:solidFill>
                <a:schemeClr val="tx1"/>
              </a:solidFill>
            </a:endParaRPr>
          </a:p>
        </p:txBody>
      </p:sp>
      <p:sp>
        <p:nvSpPr>
          <p:cNvPr id="8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537374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E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9054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lowchart: Manual Input 7"/>
          <p:cNvSpPr/>
          <p:nvPr userDrawn="1"/>
        </p:nvSpPr>
        <p:spPr>
          <a:xfrm>
            <a:off x="0" y="3610066"/>
            <a:ext cx="12192000" cy="3247934"/>
          </a:xfrm>
          <a:prstGeom prst="flowChartManualInput">
            <a:avLst/>
          </a:prstGeom>
          <a:solidFill>
            <a:srgbClr val="E6E6E6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9E9E9E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99" dirty="0" err="1" smtClean="0"/>
          </a:p>
        </p:txBody>
      </p:sp>
      <p:sp>
        <p:nvSpPr>
          <p:cNvPr id="9" name="Flowchart: Manual Input 8"/>
          <p:cNvSpPr/>
          <p:nvPr userDrawn="1"/>
        </p:nvSpPr>
        <p:spPr>
          <a:xfrm flipH="1" flipV="1">
            <a:off x="0" y="0"/>
            <a:ext cx="12192000" cy="4532850"/>
          </a:xfrm>
          <a:prstGeom prst="flowChartManualInput">
            <a:avLst/>
          </a:prstGeom>
          <a:solidFill>
            <a:srgbClr val="00566D"/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99" dirty="0" err="1" smtClean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804" t="9756" r="6727" b="4972"/>
          <a:stretch/>
        </p:blipFill>
        <p:spPr>
          <a:xfrm>
            <a:off x="131974" y="3490768"/>
            <a:ext cx="3789529" cy="2442689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956" r="13359"/>
          <a:stretch>
            <a:fillRect/>
          </a:stretch>
        </p:blipFill>
        <p:spPr>
          <a:xfrm>
            <a:off x="9405114" y="3500651"/>
            <a:ext cx="2691445" cy="2418386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8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6741655" y="3672592"/>
            <a:ext cx="2935899" cy="2320471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40885" y="3474457"/>
            <a:ext cx="3570966" cy="2833362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10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04555" y="3766182"/>
            <a:ext cx="2312483" cy="2541637"/>
          </a:xfrm>
          <a:prstGeom prst="rect">
            <a:avLst/>
          </a:prstGeom>
        </p:spPr>
      </p:pic>
      <p:pic>
        <p:nvPicPr>
          <p:cNvPr id="17" name="Wortmarke DAIMLER" descr="Daimler_RGB_100mm.png"/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1254" y="791617"/>
            <a:ext cx="3417231" cy="462594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4648" y="613010"/>
            <a:ext cx="786654" cy="786882"/>
          </a:xfrm>
          <a:prstGeom prst="rect">
            <a:avLst/>
          </a:prstGeom>
        </p:spPr>
      </p:pic>
      <p:pic>
        <p:nvPicPr>
          <p:cNvPr id="20" name="Picture 3" descr="C:\Users\rajarrv\AppData\Local\Microsoft\Windows\Temporary Internet Files\Content.Outlook\3CY2KM7L\B-No Background FORCE LOGO.png"/>
          <p:cNvPicPr>
            <a:picLocks noChangeAspect="1" noChangeArrowheads="1"/>
          </p:cNvPicPr>
          <p:nvPr userDrawn="1"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419611" y="692628"/>
            <a:ext cx="2166326" cy="6188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98188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0078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4" name="Group 143"/>
          <p:cNvGrpSpPr/>
          <p:nvPr userDrawn="1"/>
        </p:nvGrpSpPr>
        <p:grpSpPr>
          <a:xfrm>
            <a:off x="-598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>
                <a:solidFill>
                  <a:schemeClr val="tx1"/>
                </a:solidFill>
                <a:latin typeface="CorpoS" pitchFamily="2" charset="0"/>
                <a:sym typeface="CorpoS" pitchFamily="2" charset="0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latin typeface="CorpoS" pitchFamily="2" charset="0"/>
                  <a:sym typeface="CorpoS" pitchFamily="2" charset="0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latin typeface="CorpoS" pitchFamily="2" charset="0"/>
                  <a:sym typeface="CorpoS" pitchFamily="2" charset="0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latin typeface="CorpoS" pitchFamily="2" charset="0"/>
                  <a:sym typeface="CorpoS" pitchFamily="2" charset="0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latin typeface="CorpoS" pitchFamily="2" charset="0"/>
                  <a:sym typeface="CorpoS" pitchFamily="2" charset="0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latin typeface="CorpoS" pitchFamily="2" charset="0"/>
                  <a:sym typeface="CorpoS" pitchFamily="2" charset="0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latin typeface="CorpoS" pitchFamily="2" charset="0"/>
                  <a:sym typeface="CorpoS" pitchFamily="2" charset="0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latin typeface="CorpoS" pitchFamily="2" charset="0"/>
                  <a:sym typeface="CorpoS" pitchFamily="2" charset="0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latin typeface="CorpoS" pitchFamily="2" charset="0"/>
                  <a:sym typeface="CorpoS" pitchFamily="2" charset="0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latin typeface="CorpoS" pitchFamily="2" charset="0"/>
                  <a:sym typeface="CorpoS" pitchFamily="2" charset="0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latin typeface="CorpoS" pitchFamily="2" charset="0"/>
                  <a:sym typeface="CorpoS" pitchFamily="2" charset="0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latin typeface="CorpoS" pitchFamily="2" charset="0"/>
                  <a:sym typeface="CorpoS" pitchFamily="2" charset="0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8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orpoS" pitchFamily="2" charset="0"/>
                <a:ea typeface="+mn-ea"/>
                <a:cs typeface="+mn-cs"/>
                <a:sym typeface="CorpoS" pitchFamily="2" charset="0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>
                <a:latin typeface="CorpoS" pitchFamily="2" charset="0"/>
                <a:sym typeface="CorpoS" pitchFamily="2" charset="0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>
                <a:latin typeface="CorpoS" pitchFamily="2" charset="0"/>
                <a:sym typeface="CorpoS" pitchFamily="2" charset="0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latin typeface="CorpoS" pitchFamily="2" charset="0"/>
                  <a:sym typeface="CorpoS" pitchFamily="2" charset="0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latin typeface="CorpoS" pitchFamily="2" charset="0"/>
                  <a:sym typeface="CorpoS" pitchFamily="2" charset="0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latin typeface="CorpoS" pitchFamily="2" charset="0"/>
                  <a:sym typeface="CorpoS" pitchFamily="2" charset="0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latin typeface="CorpoS" pitchFamily="2" charset="0"/>
                  <a:sym typeface="CorpoS" pitchFamily="2" charset="0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latin typeface="CorpoS" pitchFamily="2" charset="0"/>
                  <a:sym typeface="CorpoS" pitchFamily="2" charset="0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999"/>
                </a:spcAft>
              </a:pPr>
              <a:endParaRPr lang="en-US" sz="1198" dirty="0">
                <a:solidFill>
                  <a:schemeClr val="bg1"/>
                </a:solidFill>
                <a:latin typeface="CorpoS" pitchFamily="2" charset="0"/>
                <a:sym typeface="CorpoS" pitchFamily="2" charset="0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99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CorpoS" pitchFamily="2" charset="0"/>
                  <a:ea typeface="+mn-ea"/>
                  <a:cs typeface="+mn-cs"/>
                  <a:sym typeface="CorpoS" pitchFamily="2" charset="0"/>
                </a:rPr>
                <a:t>1. xxxx  2. xxxx  3. xxxx</a:t>
              </a:r>
            </a:p>
            <a:p>
              <a:pPr marL="0" marR="0" lvl="0" indent="0" algn="l" defTabSz="913486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99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CorpoS" pitchFamily="2" charset="0"/>
                  <a:ea typeface="+mn-ea"/>
                  <a:cs typeface="+mn-cs"/>
                  <a:sym typeface="CorpoS" pitchFamily="2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 marL="0" marR="0" lvl="0" indent="0" algn="l" defTabSz="913486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99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CorpoS" pitchFamily="2" charset="0"/>
                  <a:ea typeface="+mn-ea"/>
                  <a:cs typeface="+mn-cs"/>
                  <a:sym typeface="CorpoS" pitchFamily="2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52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7319320" y="6506901"/>
            <a:ext cx="3414222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noProof="0" smtClean="0">
                <a:solidFill>
                  <a:schemeClr val="tx1"/>
                </a:solidFill>
              </a:rPr>
              <a:t>2018-11-20_FORCE_Issues in data cleansing_v03.pptx</a:t>
            </a:r>
            <a:endParaRPr lang="en-US" sz="1199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2479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375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lowchart: Manual Input 7"/>
          <p:cNvSpPr/>
          <p:nvPr userDrawn="1"/>
        </p:nvSpPr>
        <p:spPr>
          <a:xfrm>
            <a:off x="0" y="3610066"/>
            <a:ext cx="12192000" cy="3247934"/>
          </a:xfrm>
          <a:prstGeom prst="flowChartManualInput">
            <a:avLst/>
          </a:prstGeom>
          <a:solidFill>
            <a:srgbClr val="E6E6E6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9E9E9E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99" dirty="0" err="1" smtClean="0">
              <a:solidFill>
                <a:prstClr val="white"/>
              </a:solidFill>
            </a:endParaRPr>
          </a:p>
        </p:txBody>
      </p:sp>
      <p:sp>
        <p:nvSpPr>
          <p:cNvPr id="9" name="Flowchart: Manual Input 8"/>
          <p:cNvSpPr/>
          <p:nvPr userDrawn="1"/>
        </p:nvSpPr>
        <p:spPr>
          <a:xfrm flipH="1" flipV="1">
            <a:off x="0" y="0"/>
            <a:ext cx="12192000" cy="4532850"/>
          </a:xfrm>
          <a:prstGeom prst="flowChartManualInput">
            <a:avLst/>
          </a:prstGeom>
          <a:solidFill>
            <a:srgbClr val="00566D"/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99" dirty="0" err="1" smtClean="0">
              <a:solidFill>
                <a:prstClr val="white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804" t="9756" r="6727" b="4972"/>
          <a:stretch/>
        </p:blipFill>
        <p:spPr>
          <a:xfrm>
            <a:off x="131974" y="3490768"/>
            <a:ext cx="3789529" cy="2442689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956" r="13359"/>
          <a:stretch>
            <a:fillRect/>
          </a:stretch>
        </p:blipFill>
        <p:spPr>
          <a:xfrm>
            <a:off x="9405114" y="3500651"/>
            <a:ext cx="2691445" cy="2418386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8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6741655" y="3672592"/>
            <a:ext cx="2935899" cy="2320471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40885" y="3474457"/>
            <a:ext cx="3570966" cy="2833362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10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04555" y="3766182"/>
            <a:ext cx="2312483" cy="2541637"/>
          </a:xfrm>
          <a:prstGeom prst="rect">
            <a:avLst/>
          </a:prstGeom>
        </p:spPr>
      </p:pic>
      <p:pic>
        <p:nvPicPr>
          <p:cNvPr id="17" name="Wortmarke DAIMLER" descr="Daimler_RGB_100mm.png"/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1254" y="791617"/>
            <a:ext cx="3417231" cy="462594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4648" y="613010"/>
            <a:ext cx="786654" cy="786882"/>
          </a:xfrm>
          <a:prstGeom prst="rect">
            <a:avLst/>
          </a:prstGeom>
        </p:spPr>
      </p:pic>
      <p:pic>
        <p:nvPicPr>
          <p:cNvPr id="20" name="Picture 3" descr="C:\Users\rajarrv\AppData\Local\Microsoft\Windows\Temporary Internet Files\Content.Outlook\3CY2KM7L\B-No Background FORCE LOGO.png"/>
          <p:cNvPicPr>
            <a:picLocks noChangeAspect="1" noChangeArrowheads="1"/>
          </p:cNvPicPr>
          <p:nvPr userDrawn="1"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419611" y="692628"/>
            <a:ext cx="2166326" cy="6188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itle 1"/>
          <p:cNvSpPr>
            <a:spLocks noGrp="1"/>
          </p:cNvSpPr>
          <p:nvPr>
            <p:ph type="title" hasCustomPrompt="1"/>
          </p:nvPr>
        </p:nvSpPr>
        <p:spPr>
          <a:xfrm>
            <a:off x="628326" y="2001480"/>
            <a:ext cx="10932181" cy="526176"/>
          </a:xfrm>
        </p:spPr>
        <p:txBody>
          <a:bodyPr anchor="b">
            <a:spAutoFit/>
          </a:bodyPr>
          <a:lstStyle>
            <a:lvl1pPr marL="0" indent="0" algn="l" defTabSz="1087871" rtl="0" eaLnBrk="1" latinLnBrk="0" hangingPunct="1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3598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CorpoS" pitchFamily="2" charset="0"/>
              </a:defRPr>
            </a:lvl1pPr>
          </a:lstStyle>
          <a:p>
            <a:pPr>
              <a:lnSpc>
                <a:spcPct val="95000"/>
              </a:lnSpc>
            </a:pPr>
            <a:r>
              <a:rPr lang="en-US" dirty="0" smtClean="0"/>
              <a:t>Title in </a:t>
            </a:r>
            <a:r>
              <a:rPr lang="en-US" dirty="0" err="1" smtClean="0"/>
              <a:t>CorpoS</a:t>
            </a:r>
            <a:r>
              <a:rPr lang="en-US" dirty="0" smtClean="0"/>
              <a:t> 35 </a:t>
            </a:r>
            <a:r>
              <a:rPr lang="en-US" dirty="0" err="1" smtClean="0"/>
              <a:t>pt</a:t>
            </a:r>
            <a:r>
              <a:rPr lang="en-US" dirty="0" smtClean="0"/>
              <a:t>, white, non-bold</a:t>
            </a:r>
            <a:endParaRPr lang="en-US" sz="2798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628326" y="6251051"/>
            <a:ext cx="10932181" cy="489060"/>
          </a:xfrm>
        </p:spPr>
        <p:txBody>
          <a:bodyPr/>
          <a:lstStyle>
            <a:lvl1pPr>
              <a:defRPr sz="1599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Date in 16 </a:t>
            </a:r>
            <a:r>
              <a:rPr lang="en-US" dirty="0" err="1" smtClean="0"/>
              <a:t>pt</a:t>
            </a:r>
            <a:r>
              <a:rPr lang="en-US" dirty="0" smtClean="0"/>
              <a:t>, black, non-bold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28326" y="2485504"/>
            <a:ext cx="10932181" cy="398371"/>
          </a:xfrm>
        </p:spPr>
        <p:txBody>
          <a:bodyPr/>
          <a:lstStyle>
            <a:lvl1pPr>
              <a:defRPr sz="2399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 smtClean="0"/>
              <a:t>Subtitle in </a:t>
            </a:r>
            <a:r>
              <a:rPr lang="en-US" dirty="0" err="1" smtClean="0"/>
              <a:t>CorposS</a:t>
            </a:r>
            <a:r>
              <a:rPr lang="en-US" dirty="0" smtClean="0"/>
              <a:t> 24 </a:t>
            </a:r>
            <a:r>
              <a:rPr lang="en-US" dirty="0" err="1" smtClean="0"/>
              <a:t>pt</a:t>
            </a:r>
            <a:r>
              <a:rPr lang="en-US" dirty="0" smtClean="0"/>
              <a:t>, white, non-bol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49294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399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98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CorpoS" pitchFamily="2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9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815385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423" name="think-cell スライド" r:id="rId5" imgW="321" imgH="325" progId="TCLayout.ActiveDocument.1">
                  <p:embed/>
                </p:oleObj>
              </mc:Choice>
              <mc:Fallback>
                <p:oleObj name="think-cell スライド" r:id="rId5" imgW="321" imgH="32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1" y="-1307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298">
                <a:solidFill>
                  <a:schemeClr val="tx2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1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  <p:sp>
        <p:nvSpPr>
          <p:cNvPr id="13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249348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. Title tex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Regieanweisungen"/>
          <p:cNvGrpSpPr/>
          <p:nvPr/>
        </p:nvGrpSpPr>
        <p:grpSpPr>
          <a:xfrm>
            <a:off x="-2086913" y="-467892"/>
            <a:ext cx="13647691" cy="7792196"/>
            <a:chOff x="-2088000" y="-468000"/>
            <a:chExt cx="13654799" cy="7794000"/>
          </a:xfrm>
        </p:grpSpPr>
        <p:sp>
          <p:nvSpPr>
            <p:cNvPr id="15" name="Hilfslinien"/>
            <p:cNvSpPr txBox="1"/>
            <p:nvPr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1042388">
                <a:defRPr/>
              </a:pPr>
              <a:r>
                <a:rPr lang="en-GB" sz="1099" dirty="0">
                  <a:solidFill>
                    <a:srgbClr val="444444"/>
                  </a:solidFill>
                </a:rPr>
                <a:t>Show guides via menu bar: View // Show // tick Guides</a:t>
              </a:r>
            </a:p>
          </p:txBody>
        </p:sp>
        <p:sp>
          <p:nvSpPr>
            <p:cNvPr id="16" name="Fußzeile"/>
            <p:cNvSpPr txBox="1"/>
            <p:nvPr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 defTabSz="1042388">
                <a:defRPr/>
              </a:pPr>
              <a:r>
                <a:rPr lang="en-GB" sz="1099" dirty="0">
                  <a:solidFill>
                    <a:srgbClr val="444444"/>
                  </a:solidFill>
                </a:rPr>
                <a:t>Adjust footer (per slide or for several/all slides) via menu bar: Insert // Text // Header &amp; Footer</a:t>
              </a:r>
            </a:p>
          </p:txBody>
        </p:sp>
        <p:grpSp>
          <p:nvGrpSpPr>
            <p:cNvPr id="27" name="Hinweise links"/>
            <p:cNvGrpSpPr/>
            <p:nvPr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29" name="Folie Wechsel/Zurücksetzen/Textebenen"/>
              <p:cNvSpPr txBox="1"/>
              <p:nvPr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Reset the slide back to its </a:t>
                </a: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original form via menu bar:</a:t>
                </a: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Home // Slides // Reset</a:t>
                </a:r>
              </a:p>
              <a:p>
                <a:pPr algn="r"/>
                <a:endParaRPr lang="en-GB" sz="1099" dirty="0">
                  <a:solidFill>
                    <a:srgbClr val="444444"/>
                  </a:solidFill>
                </a:endParaRP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Change the slide layout </a:t>
                </a: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via menu bar:</a:t>
                </a: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Home // Slides // Layout</a:t>
                </a:r>
              </a:p>
              <a:p>
                <a:pPr algn="r"/>
                <a:endParaRPr lang="en-GB" sz="1099" dirty="0">
                  <a:solidFill>
                    <a:srgbClr val="444444"/>
                  </a:solidFill>
                </a:endParaRP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Change the text level</a:t>
                </a: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via menu bar: </a:t>
                </a:r>
                <a:br>
                  <a:rPr lang="en-GB" sz="1099" dirty="0">
                    <a:solidFill>
                      <a:srgbClr val="444444"/>
                    </a:solidFill>
                  </a:rPr>
                </a:br>
                <a:r>
                  <a:rPr lang="en-GB" sz="1099" dirty="0">
                    <a:solidFill>
                      <a:srgbClr val="444444"/>
                    </a:solidFill>
                  </a:rPr>
                  <a:t>Home // Paragraph // Increase/</a:t>
                </a: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Decrease List Level</a:t>
                </a:r>
              </a:p>
            </p:txBody>
          </p:sp>
          <p:grpSp>
            <p:nvGrpSpPr>
              <p:cNvPr id="30" name="Listenebenen"/>
              <p:cNvGrpSpPr/>
              <p:nvPr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31" name="Text // Listenebene erhöhen"/>
                <p:cNvSpPr txBox="1"/>
                <p:nvPr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r">
                    <a:defRPr/>
                  </a:pPr>
                  <a:r>
                    <a:rPr lang="en-GB" sz="999" dirty="0">
                      <a:solidFill>
                        <a:srgbClr val="444444"/>
                      </a:solidFill>
                    </a:rPr>
                    <a:t>Increase</a:t>
                  </a:r>
                </a:p>
                <a:p>
                  <a:pPr algn="r">
                    <a:defRPr/>
                  </a:pPr>
                  <a:r>
                    <a:rPr lang="en-GB" sz="999" dirty="0">
                      <a:solidFill>
                        <a:srgbClr val="444444"/>
                      </a:solidFill>
                    </a:rPr>
                    <a:t>List Level</a:t>
                  </a:r>
                </a:p>
              </p:txBody>
            </p:sp>
            <p:sp>
              <p:nvSpPr>
                <p:cNvPr id="32" name="Text // Listenebene verringern"/>
                <p:cNvSpPr txBox="1"/>
                <p:nvPr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r">
                    <a:defRPr/>
                  </a:pPr>
                  <a:r>
                    <a:rPr lang="en-GB" sz="999" dirty="0">
                      <a:solidFill>
                        <a:srgbClr val="444444"/>
                      </a:solidFill>
                    </a:rPr>
                    <a:t>Decrease </a:t>
                  </a:r>
                </a:p>
                <a:p>
                  <a:pPr algn="r">
                    <a:defRPr/>
                  </a:pPr>
                  <a:r>
                    <a:rPr lang="en-GB" sz="999" dirty="0">
                      <a:solidFill>
                        <a:srgbClr val="444444"/>
                      </a:solidFill>
                    </a:rPr>
                    <a:t>List Level</a:t>
                  </a:r>
                </a:p>
              </p:txBody>
            </p:sp>
            <p:pic>
              <p:nvPicPr>
                <p:cNvPr id="33" name="Listenebene erhöhen"/>
                <p:cNvPicPr>
                  <a:picLocks noChangeAspect="1"/>
                </p:cNvPicPr>
                <p:nvPr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34" name="Listenebene verringern"/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28323" y="5121280"/>
            <a:ext cx="10932181" cy="1025684"/>
          </a:xfrm>
        </p:spPr>
        <p:txBody>
          <a:bodyPr wrap="square" anchor="b" anchorCtr="0">
            <a:spAutoFit/>
          </a:bodyPr>
          <a:lstStyle>
            <a:lvl1pPr>
              <a:defRPr/>
            </a:lvl1pPr>
          </a:lstStyle>
          <a:p>
            <a:r>
              <a:rPr lang="en-GB" dirty="0"/>
              <a:t>Referent’s name: </a:t>
            </a:r>
            <a:r>
              <a:rPr lang="en-GB" noProof="0" dirty="0"/>
              <a:t>CorpoS </a:t>
            </a:r>
            <a:r>
              <a:rPr lang="en-GB" dirty="0"/>
              <a:t>(Body) 35 pt. Presentation title</a:t>
            </a:r>
            <a:br>
              <a:rPr lang="en-GB" dirty="0"/>
            </a:br>
            <a:r>
              <a:rPr lang="en-GB" dirty="0"/>
              <a:t>in two or more lines of text, dd. </a:t>
            </a:r>
            <a:r>
              <a:rPr lang="en-GB" dirty="0" err="1"/>
              <a:t>mmmm</a:t>
            </a:r>
            <a:r>
              <a:rPr lang="en-GB" dirty="0"/>
              <a:t> </a:t>
            </a:r>
            <a:r>
              <a:rPr lang="en-GB" dirty="0" err="1"/>
              <a:t>yyyy</a:t>
            </a:r>
            <a:endParaRPr lang="en-GB" dirty="0"/>
          </a:p>
        </p:txBody>
      </p:sp>
      <p:pic>
        <p:nvPicPr>
          <p:cNvPr id="28" name="Wortmarke DAIMLER" descr="Daimler_RGB_100mm.pn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672" y="790853"/>
            <a:ext cx="3418220" cy="462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67693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447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6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white">
          <a:xfrm>
            <a:off x="2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2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98">
                <a:solidFill>
                  <a:schemeClr val="tx2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TextBox 9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  <p:sp>
        <p:nvSpPr>
          <p:cNvPr id="11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srgbClr val="FFFFFF"/>
                </a:solidFill>
              </a:rPr>
              <a:t>2018-10-05_FORCE OpCo_No3_v03.pptx</a:t>
            </a:r>
            <a:endParaRPr lang="en-US" sz="1199" dirty="0">
              <a:solidFill>
                <a:srgbClr val="FFFFFF"/>
              </a:solidFill>
            </a:endParaRPr>
          </a:p>
        </p:txBody>
      </p:sp>
      <p:sp>
        <p:nvSpPr>
          <p:cNvPr id="14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49476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471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98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CorpoS" pitchFamily="2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  <p:sp>
        <p:nvSpPr>
          <p:cNvPr id="11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srgbClr val="FFFFFF"/>
                </a:solidFill>
              </a:rPr>
              <a:t>2018-10-05_FORCE OpCo_No3_v03.pptx</a:t>
            </a:r>
            <a:endParaRPr lang="en-US" sz="1199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7588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495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70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2" y="2681103"/>
            <a:ext cx="2940678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98">
                <a:solidFill>
                  <a:schemeClr val="bg1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8021" y="-1307"/>
            <a:ext cx="8103981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000000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000000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000000"/>
              </a:solidFill>
            </a:endParaRPr>
          </a:p>
        </p:txBody>
      </p:sp>
      <p:sp>
        <p:nvSpPr>
          <p:cNvPr id="12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8932566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19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2"/>
          <p:cNvPicPr>
            <a:picLocks noChangeAspect="1" noChangeArrowheads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9436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reeform 14"/>
          <p:cNvSpPr/>
          <p:nvPr userDrawn="1"/>
        </p:nvSpPr>
        <p:spPr bwMode="ltGray">
          <a:xfrm>
            <a:off x="1526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5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98" baseline="0">
                <a:solidFill>
                  <a:schemeClr val="tx2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</a:t>
            </a:r>
            <a:r>
              <a:rPr lang="en-US" dirty="0" smtClean="0">
                <a:solidFill>
                  <a:schemeClr val="tx2"/>
                </a:solidFill>
              </a:rPr>
              <a:t>add title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  <p:sp>
        <p:nvSpPr>
          <p:cNvPr id="10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srgbClr val="FFFFFF"/>
                </a:solidFill>
              </a:rPr>
              <a:t>2018-10-05_FORCE OpCo_No3_v03.pptx</a:t>
            </a:r>
            <a:endParaRPr lang="en-US" sz="1199" dirty="0">
              <a:solidFill>
                <a:srgbClr val="FFFFFF"/>
              </a:solidFill>
            </a:endParaRPr>
          </a:p>
        </p:txBody>
      </p:sp>
      <p:sp>
        <p:nvSpPr>
          <p:cNvPr id="14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551506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543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5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98" baseline="0">
                <a:solidFill>
                  <a:srgbClr val="FFFFFF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41310" y="3402830"/>
            <a:ext cx="2694666" cy="3461745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000000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000000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000000"/>
              </a:solidFill>
            </a:endParaRPr>
          </a:p>
        </p:txBody>
      </p:sp>
      <p:sp>
        <p:nvSpPr>
          <p:cNvPr id="11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  <p:sp>
        <p:nvSpPr>
          <p:cNvPr id="14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2054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9567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33902" y="3395664"/>
            <a:ext cx="1298575" cy="3571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Pentagon 3"/>
          <p:cNvSpPr/>
          <p:nvPr userDrawn="1"/>
        </p:nvSpPr>
        <p:spPr bwMode="white">
          <a:xfrm>
            <a:off x="3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32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2" y="1785602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98" b="0">
                <a:solidFill>
                  <a:schemeClr val="tx2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  <p:sp>
        <p:nvSpPr>
          <p:cNvPr id="10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srgbClr val="FFFFFF"/>
                </a:solidFill>
              </a:rPr>
              <a:t>2018-10-05_FORCE OpCo_No3_v03.pptx</a:t>
            </a:r>
            <a:endParaRPr lang="en-US" sz="1199" dirty="0">
              <a:solidFill>
                <a:srgbClr val="FFFFFF"/>
              </a:solidFill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833741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0591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3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2" y="1785602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98" b="0">
                <a:solidFill>
                  <a:srgbClr val="FFFFFF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49483" y="3416300"/>
            <a:ext cx="2694666" cy="3441700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000000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000000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000000"/>
              </a:solidFill>
            </a:endParaRPr>
          </a:p>
        </p:txBody>
      </p:sp>
      <p:sp>
        <p:nvSpPr>
          <p:cNvPr id="11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88275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1615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8758" y="3589606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98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CorpoS" pitchFamily="2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  <p:sp>
        <p:nvSpPr>
          <p:cNvPr id="10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srgbClr val="FFFFFF"/>
                </a:solidFill>
              </a:rPr>
              <a:t>2018-10-05_FORCE OpCo_No3_v03.pptx</a:t>
            </a:r>
            <a:endParaRPr lang="en-US" sz="1199" dirty="0">
              <a:solidFill>
                <a:srgbClr val="FFFFFF"/>
              </a:solidFill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5729423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2639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98" b="0" i="0" u="none" kern="1200" spc="0">
                <a:solidFill>
                  <a:srgbClr val="FFFFFF"/>
                </a:solidFill>
                <a:latin typeface="+mj-lt"/>
                <a:sym typeface="CorpoS" pitchFamily="2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28424" y="3407805"/>
            <a:ext cx="2694666" cy="3456551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000000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000000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000000"/>
              </a:solidFill>
            </a:endParaRPr>
          </a:p>
        </p:txBody>
      </p:sp>
      <p:sp>
        <p:nvSpPr>
          <p:cNvPr id="11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826653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3663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41" y="3589606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reeform 18"/>
          <p:cNvSpPr/>
          <p:nvPr userDrawn="1"/>
        </p:nvSpPr>
        <p:spPr bwMode="white">
          <a:xfrm>
            <a:off x="-675056" y="0"/>
            <a:ext cx="9147670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98" b="0" i="0" u="none" kern="1200" spc="0">
                <a:solidFill>
                  <a:schemeClr val="tx2">
                    <a:lumMod val="100000"/>
                  </a:schemeClr>
                </a:solidFill>
                <a:latin typeface="CorpoS" pitchFamily="2" charset="0"/>
                <a:sym typeface="CorpoS" pitchFamily="2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1987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. Title tex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Regieanweisungen"/>
          <p:cNvGrpSpPr/>
          <p:nvPr/>
        </p:nvGrpSpPr>
        <p:grpSpPr>
          <a:xfrm>
            <a:off x="-2086913" y="-467892"/>
            <a:ext cx="13647691" cy="7792196"/>
            <a:chOff x="-2088000" y="-468000"/>
            <a:chExt cx="13654799" cy="7794000"/>
          </a:xfrm>
        </p:grpSpPr>
        <p:sp>
          <p:nvSpPr>
            <p:cNvPr id="15" name="Hilfslinien"/>
            <p:cNvSpPr txBox="1"/>
            <p:nvPr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1042388">
                <a:defRPr/>
              </a:pPr>
              <a:r>
                <a:rPr lang="en-GB" sz="1099" dirty="0">
                  <a:solidFill>
                    <a:srgbClr val="444444"/>
                  </a:solidFill>
                </a:rPr>
                <a:t>Show guides via menu bar: View // Show // tick Guides</a:t>
              </a:r>
            </a:p>
          </p:txBody>
        </p:sp>
        <p:sp>
          <p:nvSpPr>
            <p:cNvPr id="16" name="Fußzeile"/>
            <p:cNvSpPr txBox="1"/>
            <p:nvPr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 defTabSz="1042388">
                <a:defRPr/>
              </a:pPr>
              <a:r>
                <a:rPr lang="en-GB" sz="1099" dirty="0">
                  <a:solidFill>
                    <a:srgbClr val="444444"/>
                  </a:solidFill>
                </a:rPr>
                <a:t>Adjust footer (per slide or for several/all slides) via menu bar: Insert // Text // Header &amp; Footer</a:t>
              </a:r>
            </a:p>
          </p:txBody>
        </p:sp>
        <p:grpSp>
          <p:nvGrpSpPr>
            <p:cNvPr id="27" name="Hinweise links"/>
            <p:cNvGrpSpPr/>
            <p:nvPr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29" name="Folie Wechsel/Zurücksetzen/Textebenen"/>
              <p:cNvSpPr txBox="1"/>
              <p:nvPr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Reset the slide back to its </a:t>
                </a: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original form via menu bar:</a:t>
                </a: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Home // Slides // Reset</a:t>
                </a:r>
              </a:p>
              <a:p>
                <a:pPr algn="r"/>
                <a:endParaRPr lang="en-GB" sz="1099" dirty="0">
                  <a:solidFill>
                    <a:srgbClr val="444444"/>
                  </a:solidFill>
                </a:endParaRP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Change the slide layout </a:t>
                </a: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via menu bar:</a:t>
                </a: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Home // Slides // Layout</a:t>
                </a:r>
              </a:p>
              <a:p>
                <a:pPr algn="r"/>
                <a:endParaRPr lang="en-GB" sz="1099" dirty="0">
                  <a:solidFill>
                    <a:srgbClr val="444444"/>
                  </a:solidFill>
                </a:endParaRP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Change the text level</a:t>
                </a: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via menu bar: </a:t>
                </a:r>
                <a:br>
                  <a:rPr lang="en-GB" sz="1099" dirty="0">
                    <a:solidFill>
                      <a:srgbClr val="444444"/>
                    </a:solidFill>
                  </a:rPr>
                </a:br>
                <a:r>
                  <a:rPr lang="en-GB" sz="1099" dirty="0">
                    <a:solidFill>
                      <a:srgbClr val="444444"/>
                    </a:solidFill>
                  </a:rPr>
                  <a:t>Home // Paragraph // Increase/</a:t>
                </a: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Decrease List Level</a:t>
                </a:r>
              </a:p>
            </p:txBody>
          </p:sp>
          <p:grpSp>
            <p:nvGrpSpPr>
              <p:cNvPr id="30" name="Listenebenen"/>
              <p:cNvGrpSpPr/>
              <p:nvPr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31" name="Text // Listenebene erhöhen"/>
                <p:cNvSpPr txBox="1"/>
                <p:nvPr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r">
                    <a:defRPr/>
                  </a:pPr>
                  <a:r>
                    <a:rPr lang="en-GB" sz="999" dirty="0">
                      <a:solidFill>
                        <a:srgbClr val="444444"/>
                      </a:solidFill>
                    </a:rPr>
                    <a:t>Increase</a:t>
                  </a:r>
                </a:p>
                <a:p>
                  <a:pPr algn="r">
                    <a:defRPr/>
                  </a:pPr>
                  <a:r>
                    <a:rPr lang="en-GB" sz="999" dirty="0">
                      <a:solidFill>
                        <a:srgbClr val="444444"/>
                      </a:solidFill>
                    </a:rPr>
                    <a:t>List Level</a:t>
                  </a:r>
                </a:p>
              </p:txBody>
            </p:sp>
            <p:sp>
              <p:nvSpPr>
                <p:cNvPr id="32" name="Text // Listenebene verringern"/>
                <p:cNvSpPr txBox="1"/>
                <p:nvPr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r">
                    <a:defRPr/>
                  </a:pPr>
                  <a:r>
                    <a:rPr lang="en-GB" sz="999" dirty="0">
                      <a:solidFill>
                        <a:srgbClr val="444444"/>
                      </a:solidFill>
                    </a:rPr>
                    <a:t>Decrease </a:t>
                  </a:r>
                </a:p>
                <a:p>
                  <a:pPr algn="r">
                    <a:defRPr/>
                  </a:pPr>
                  <a:r>
                    <a:rPr lang="en-GB" sz="999" dirty="0">
                      <a:solidFill>
                        <a:srgbClr val="444444"/>
                      </a:solidFill>
                    </a:rPr>
                    <a:t>List Level</a:t>
                  </a:r>
                </a:p>
              </p:txBody>
            </p:sp>
            <p:pic>
              <p:nvPicPr>
                <p:cNvPr id="33" name="Listenebene erhöhen"/>
                <p:cNvPicPr>
                  <a:picLocks noChangeAspect="1"/>
                </p:cNvPicPr>
                <p:nvPr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34" name="Listenebene verringern"/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29672" y="4608438"/>
            <a:ext cx="10930832" cy="1538527"/>
          </a:xfrm>
        </p:spPr>
        <p:txBody>
          <a:bodyPr wrap="square" anchor="b" anchorCtr="0">
            <a:spAutoFit/>
          </a:bodyPr>
          <a:lstStyle>
            <a:lvl1pPr>
              <a:defRPr baseline="0"/>
            </a:lvl1pPr>
          </a:lstStyle>
          <a:p>
            <a:r>
              <a:rPr lang="en-GB" dirty="0"/>
              <a:t>Referent’s name: </a:t>
            </a:r>
            <a:r>
              <a:rPr lang="en-GB" noProof="0" dirty="0"/>
              <a:t>CorpoS </a:t>
            </a:r>
            <a:r>
              <a:rPr lang="en-GB" dirty="0"/>
              <a:t>(Body) 35 pt.</a:t>
            </a:r>
            <a:br>
              <a:rPr lang="en-GB" dirty="0"/>
            </a:br>
            <a:r>
              <a:rPr lang="en-GB" dirty="0"/>
              <a:t>Presentation title in two lines or </a:t>
            </a:r>
            <a:br>
              <a:rPr lang="en-GB" dirty="0"/>
            </a:br>
            <a:r>
              <a:rPr lang="en-GB" dirty="0"/>
              <a:t>more lines of text, dd. </a:t>
            </a:r>
            <a:r>
              <a:rPr lang="en-GB" dirty="0" err="1"/>
              <a:t>mmmm</a:t>
            </a:r>
            <a:r>
              <a:rPr lang="en-GB" dirty="0"/>
              <a:t> </a:t>
            </a:r>
            <a:r>
              <a:rPr lang="en-GB" dirty="0" err="1"/>
              <a:t>yyyy</a:t>
            </a:r>
            <a:endParaRPr lang="en-GB" dirty="0"/>
          </a:p>
        </p:txBody>
      </p:sp>
      <p:pic>
        <p:nvPicPr>
          <p:cNvPr id="28" name="Wortmarke DAIMLER" descr="Daimler_RGB_100mm.pn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672" y="790853"/>
            <a:ext cx="3418220" cy="462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05203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1" orient="horz" pos="3873">
          <p15:clr>
            <a:srgbClr val="FBAE40"/>
          </p15:clr>
        </p15:guide>
      </p15:sldGuideLst>
    </p:ext>
  </p:extLst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4687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2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98" b="0" i="0" u="none" kern="1200" spc="0">
                <a:solidFill>
                  <a:srgbClr val="FFFFFF"/>
                </a:solidFill>
                <a:latin typeface="+mj-lt"/>
                <a:sym typeface="CorpoS" pitchFamily="2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24772" y="3407805"/>
            <a:ext cx="2694666" cy="3456551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000000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000000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54023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5711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3486" rtl="0" eaLnBrk="1" fontAlgn="auto" latinLnBrk="0" hangingPunct="1">
              <a:lnSpc>
                <a:spcPts val="5994"/>
              </a:lnSpc>
              <a:spcBef>
                <a:spcPts val="0"/>
              </a:spcBef>
              <a:spcAft>
                <a:spcPts val="0"/>
              </a:spcAft>
              <a:defRPr lang="en-US" sz="5394" kern="1200" baseline="0" dirty="0">
                <a:solidFill>
                  <a:schemeClr val="bg1"/>
                </a:solidFill>
                <a:latin typeface="+mj-lt"/>
                <a:ea typeface="+mn-ea"/>
                <a:cs typeface="+mj-cs"/>
                <a:sym typeface="CorpoS" pitchFamily="2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big statement text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  <p:sp>
        <p:nvSpPr>
          <p:cNvPr id="6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srgbClr val="FFFFFF"/>
                </a:solidFill>
              </a:rPr>
              <a:t>2018-10-05_FORCE OpCo_No3_v03.pptx</a:t>
            </a:r>
            <a:endParaRPr lang="en-US" sz="1199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90376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6735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3486" rtl="0" eaLnBrk="1" fontAlgn="auto" latinLnBrk="0" hangingPunct="1">
              <a:lnSpc>
                <a:spcPts val="5994"/>
              </a:lnSpc>
              <a:spcBef>
                <a:spcPts val="0"/>
              </a:spcBef>
              <a:spcAft>
                <a:spcPts val="0"/>
              </a:spcAft>
              <a:defRPr lang="en-US" sz="5394" kern="1200" baseline="0" dirty="0">
                <a:solidFill>
                  <a:schemeClr val="accent4"/>
                </a:solidFill>
                <a:latin typeface="+mj-lt"/>
                <a:ea typeface="+mn-ea"/>
                <a:cs typeface="+mj-cs"/>
                <a:sym typeface="CorpoS" pitchFamily="2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big statement text</a:t>
            </a:r>
          </a:p>
        </p:txBody>
      </p:sp>
      <p:sp>
        <p:nvSpPr>
          <p:cNvPr id="8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4478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59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292453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783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Box 9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  <p:sp>
        <p:nvSpPr>
          <p:cNvPr id="7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srgbClr val="FFFFFF"/>
                </a:solidFill>
              </a:rPr>
              <a:t>2018-10-05_FORCE OpCo_No3_v03.pptx</a:t>
            </a:r>
            <a:endParaRPr lang="en-US" sz="1199" dirty="0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288615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9807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  <p:sp>
        <p:nvSpPr>
          <p:cNvPr id="8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453702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0831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lowchart: Manual Input 7"/>
          <p:cNvSpPr/>
          <p:nvPr userDrawn="1"/>
        </p:nvSpPr>
        <p:spPr>
          <a:xfrm>
            <a:off x="0" y="3610066"/>
            <a:ext cx="12192000" cy="3247934"/>
          </a:xfrm>
          <a:prstGeom prst="flowChartManualInput">
            <a:avLst/>
          </a:prstGeom>
          <a:solidFill>
            <a:srgbClr val="E6E6E6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9E9E9E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99" dirty="0" err="1" smtClean="0">
              <a:solidFill>
                <a:prstClr val="white"/>
              </a:solidFill>
            </a:endParaRPr>
          </a:p>
        </p:txBody>
      </p:sp>
      <p:sp>
        <p:nvSpPr>
          <p:cNvPr id="9" name="Flowchart: Manual Input 8"/>
          <p:cNvSpPr/>
          <p:nvPr userDrawn="1"/>
        </p:nvSpPr>
        <p:spPr>
          <a:xfrm flipH="1" flipV="1">
            <a:off x="0" y="0"/>
            <a:ext cx="12192000" cy="4532850"/>
          </a:xfrm>
          <a:prstGeom prst="flowChartManualInput">
            <a:avLst/>
          </a:prstGeom>
          <a:solidFill>
            <a:srgbClr val="00566D"/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99" dirty="0" err="1" smtClean="0">
              <a:solidFill>
                <a:prstClr val="white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804" t="9756" r="6727" b="4972"/>
          <a:stretch/>
        </p:blipFill>
        <p:spPr>
          <a:xfrm>
            <a:off x="131974" y="3490768"/>
            <a:ext cx="3789529" cy="2442689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956" r="13359"/>
          <a:stretch>
            <a:fillRect/>
          </a:stretch>
        </p:blipFill>
        <p:spPr>
          <a:xfrm>
            <a:off x="9405114" y="3500651"/>
            <a:ext cx="2691445" cy="2418386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8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6741655" y="3672592"/>
            <a:ext cx="2935899" cy="2320471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40885" y="3474457"/>
            <a:ext cx="3570966" cy="2833362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10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04555" y="3766182"/>
            <a:ext cx="2312483" cy="2541637"/>
          </a:xfrm>
          <a:prstGeom prst="rect">
            <a:avLst/>
          </a:prstGeom>
        </p:spPr>
      </p:pic>
      <p:pic>
        <p:nvPicPr>
          <p:cNvPr id="17" name="Wortmarke DAIMLER" descr="Daimler_RGB_100mm.png"/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1254" y="791617"/>
            <a:ext cx="3417231" cy="462594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4648" y="613010"/>
            <a:ext cx="786654" cy="786882"/>
          </a:xfrm>
          <a:prstGeom prst="rect">
            <a:avLst/>
          </a:prstGeom>
        </p:spPr>
      </p:pic>
      <p:pic>
        <p:nvPicPr>
          <p:cNvPr id="20" name="Picture 3" descr="C:\Users\rajarrv\AppData\Local\Microsoft\Windows\Temporary Internet Files\Content.Outlook\3CY2KM7L\B-No Background FORCE LOGO.png"/>
          <p:cNvPicPr>
            <a:picLocks noChangeAspect="1" noChangeArrowheads="1"/>
          </p:cNvPicPr>
          <p:nvPr userDrawn="1"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419611" y="692628"/>
            <a:ext cx="2166326" cy="6188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33089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1854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 userDrawn="1"/>
        </p:nvGrpSpPr>
        <p:grpSpPr>
          <a:xfrm>
            <a:off x="-598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>
                <a:solidFill>
                  <a:prstClr val="black"/>
                </a:solidFill>
                <a:sym typeface="CorpoS" pitchFamily="2" charset="0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486">
                <a:defRPr/>
              </a:pPr>
              <a:endParaRPr lang="en-US" sz="1798" dirty="0">
                <a:solidFill>
                  <a:srgbClr val="575757"/>
                </a:solidFill>
                <a:sym typeface="CorpoS" pitchFamily="2" charset="0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>
                <a:solidFill>
                  <a:prstClr val="black"/>
                </a:solidFill>
                <a:sym typeface="CorpoS" pitchFamily="2" charset="0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>
                <a:solidFill>
                  <a:prstClr val="black"/>
                </a:solidFill>
                <a:sym typeface="CorpoS" pitchFamily="2" charset="0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999"/>
                </a:spcAft>
              </a:pPr>
              <a:endParaRPr lang="en-US" sz="1198" dirty="0">
                <a:solidFill>
                  <a:prstClr val="white"/>
                </a:solidFill>
                <a:sym typeface="CorpoS" pitchFamily="2" charset="0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defTabSz="913486">
                <a:lnSpc>
                  <a:spcPct val="90000"/>
                </a:lnSpc>
                <a:defRPr/>
              </a:pPr>
              <a:r>
                <a:rPr lang="en-US" sz="999" dirty="0">
                  <a:solidFill>
                    <a:prstClr val="white">
                      <a:lumMod val="50000"/>
                    </a:prstClr>
                  </a:solidFill>
                  <a:sym typeface="CorpoS" pitchFamily="2" charset="0"/>
                </a:rPr>
                <a:t>1. xxxx  2. xxxx  3. xxxx</a:t>
              </a:r>
            </a:p>
            <a:p>
              <a:pPr defTabSz="913486">
                <a:lnSpc>
                  <a:spcPct val="90000"/>
                </a:lnSpc>
                <a:defRPr/>
              </a:pPr>
              <a:r>
                <a:rPr lang="en-US" sz="999" dirty="0">
                  <a:solidFill>
                    <a:prstClr val="white">
                      <a:lumMod val="50000"/>
                    </a:prstClr>
                  </a:solidFill>
                  <a:sym typeface="CorpoS" pitchFamily="2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 defTabSz="913486">
                <a:lnSpc>
                  <a:spcPct val="90000"/>
                </a:lnSpc>
                <a:defRPr/>
              </a:pPr>
              <a:r>
                <a:rPr lang="en-US" sz="999" dirty="0">
                  <a:solidFill>
                    <a:prstClr val="white">
                      <a:lumMod val="50000"/>
                    </a:prstClr>
                  </a:solidFill>
                  <a:sym typeface="CorpoS" pitchFamily="2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94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245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2878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lowchart: Manual Input 7"/>
          <p:cNvSpPr/>
          <p:nvPr userDrawn="1"/>
        </p:nvSpPr>
        <p:spPr>
          <a:xfrm>
            <a:off x="0" y="3610066"/>
            <a:ext cx="12192000" cy="3247934"/>
          </a:xfrm>
          <a:prstGeom prst="flowChartManualInput">
            <a:avLst/>
          </a:prstGeom>
          <a:solidFill>
            <a:srgbClr val="E6E6E6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9E9E9E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99" dirty="0" err="1" smtClean="0">
              <a:solidFill>
                <a:prstClr val="white"/>
              </a:solidFill>
            </a:endParaRPr>
          </a:p>
        </p:txBody>
      </p:sp>
      <p:sp>
        <p:nvSpPr>
          <p:cNvPr id="9" name="Flowchart: Manual Input 8"/>
          <p:cNvSpPr/>
          <p:nvPr userDrawn="1"/>
        </p:nvSpPr>
        <p:spPr>
          <a:xfrm flipH="1" flipV="1">
            <a:off x="0" y="0"/>
            <a:ext cx="12192000" cy="4532850"/>
          </a:xfrm>
          <a:prstGeom prst="flowChartManualInput">
            <a:avLst/>
          </a:prstGeom>
          <a:solidFill>
            <a:srgbClr val="00566D"/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99" dirty="0" err="1" smtClean="0">
              <a:solidFill>
                <a:prstClr val="white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804" t="9756" r="6727" b="4972"/>
          <a:stretch/>
        </p:blipFill>
        <p:spPr>
          <a:xfrm>
            <a:off x="131974" y="3490768"/>
            <a:ext cx="3789529" cy="2442689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956" r="13359"/>
          <a:stretch>
            <a:fillRect/>
          </a:stretch>
        </p:blipFill>
        <p:spPr>
          <a:xfrm>
            <a:off x="9405114" y="3500651"/>
            <a:ext cx="2691445" cy="2418386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8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6741655" y="3672592"/>
            <a:ext cx="2935899" cy="2320471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40885" y="3474457"/>
            <a:ext cx="3570966" cy="2833362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10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04555" y="3766182"/>
            <a:ext cx="2312483" cy="2541637"/>
          </a:xfrm>
          <a:prstGeom prst="rect">
            <a:avLst/>
          </a:prstGeom>
        </p:spPr>
      </p:pic>
      <p:pic>
        <p:nvPicPr>
          <p:cNvPr id="17" name="Wortmarke DAIMLER" descr="Daimler_RGB_100mm.png"/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1254" y="791617"/>
            <a:ext cx="3417231" cy="462594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4648" y="613010"/>
            <a:ext cx="786654" cy="786882"/>
          </a:xfrm>
          <a:prstGeom prst="rect">
            <a:avLst/>
          </a:prstGeom>
        </p:spPr>
      </p:pic>
      <p:pic>
        <p:nvPicPr>
          <p:cNvPr id="20" name="Picture 3" descr="C:\Users\rajarrv\AppData\Local\Microsoft\Windows\Temporary Internet Files\Content.Outlook\3CY2KM7L\B-No Background FORCE LOGO.png"/>
          <p:cNvPicPr>
            <a:picLocks noChangeAspect="1" noChangeArrowheads="1"/>
          </p:cNvPicPr>
          <p:nvPr userDrawn="1"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419611" y="692628"/>
            <a:ext cx="2166326" cy="6188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itle 1"/>
          <p:cNvSpPr>
            <a:spLocks noGrp="1"/>
          </p:cNvSpPr>
          <p:nvPr>
            <p:ph type="title" hasCustomPrompt="1"/>
          </p:nvPr>
        </p:nvSpPr>
        <p:spPr>
          <a:xfrm>
            <a:off x="628326" y="2001480"/>
            <a:ext cx="10932181" cy="526176"/>
          </a:xfrm>
        </p:spPr>
        <p:txBody>
          <a:bodyPr anchor="b">
            <a:spAutoFit/>
          </a:bodyPr>
          <a:lstStyle>
            <a:lvl1pPr marL="0" indent="0" algn="l" defTabSz="1087871" rtl="0" eaLnBrk="1" latinLnBrk="0" hangingPunct="1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3598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CorpoS" pitchFamily="2" charset="0"/>
              </a:defRPr>
            </a:lvl1pPr>
          </a:lstStyle>
          <a:p>
            <a:pPr>
              <a:lnSpc>
                <a:spcPct val="95000"/>
              </a:lnSpc>
            </a:pPr>
            <a:r>
              <a:rPr lang="en-US" dirty="0" smtClean="0"/>
              <a:t>Title in </a:t>
            </a:r>
            <a:r>
              <a:rPr lang="en-US" dirty="0" err="1" smtClean="0"/>
              <a:t>CorpoS</a:t>
            </a:r>
            <a:r>
              <a:rPr lang="en-US" dirty="0" smtClean="0"/>
              <a:t> 35 </a:t>
            </a:r>
            <a:r>
              <a:rPr lang="en-US" dirty="0" err="1" smtClean="0"/>
              <a:t>pt</a:t>
            </a:r>
            <a:r>
              <a:rPr lang="en-US" dirty="0" smtClean="0"/>
              <a:t>, white, non-bold</a:t>
            </a:r>
            <a:endParaRPr lang="en-US" sz="2798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628326" y="6251051"/>
            <a:ext cx="10932181" cy="489060"/>
          </a:xfrm>
        </p:spPr>
        <p:txBody>
          <a:bodyPr/>
          <a:lstStyle>
            <a:lvl1pPr>
              <a:defRPr sz="1599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Date in 16 </a:t>
            </a:r>
            <a:r>
              <a:rPr lang="en-US" dirty="0" err="1" smtClean="0"/>
              <a:t>pt</a:t>
            </a:r>
            <a:r>
              <a:rPr lang="en-US" dirty="0" smtClean="0"/>
              <a:t>, black, non-bold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28326" y="2485504"/>
            <a:ext cx="10932181" cy="398371"/>
          </a:xfrm>
        </p:spPr>
        <p:txBody>
          <a:bodyPr/>
          <a:lstStyle>
            <a:lvl1pPr>
              <a:defRPr sz="2399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 smtClean="0"/>
              <a:t>Subtitle in </a:t>
            </a:r>
            <a:r>
              <a:rPr lang="en-US" dirty="0" err="1" smtClean="0"/>
              <a:t>CorposS</a:t>
            </a:r>
            <a:r>
              <a:rPr lang="en-US" dirty="0" smtClean="0"/>
              <a:t> 24 </a:t>
            </a:r>
            <a:r>
              <a:rPr lang="en-US" dirty="0" err="1" smtClean="0"/>
              <a:t>pt</a:t>
            </a:r>
            <a:r>
              <a:rPr lang="en-US" dirty="0" smtClean="0"/>
              <a:t>, white, non-bol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7458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3902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10933350" cy="456942"/>
          </a:xfrm>
        </p:spPr>
        <p:txBody>
          <a:bodyPr/>
          <a:lstStyle>
            <a:lvl1pPr>
              <a:defRPr sz="3298">
                <a:solidFill>
                  <a:schemeClr val="tx2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6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968908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32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. Title ima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Regieanweisungen"/>
          <p:cNvGrpSpPr/>
          <p:nvPr/>
        </p:nvGrpSpPr>
        <p:grpSpPr>
          <a:xfrm>
            <a:off x="-2086913" y="-467892"/>
            <a:ext cx="13647691" cy="7792196"/>
            <a:chOff x="-2088000" y="-468000"/>
            <a:chExt cx="13654799" cy="7794000"/>
          </a:xfrm>
        </p:grpSpPr>
        <p:sp>
          <p:nvSpPr>
            <p:cNvPr id="16" name="Hilfslinien"/>
            <p:cNvSpPr txBox="1"/>
            <p:nvPr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1042388">
                <a:defRPr/>
              </a:pPr>
              <a:r>
                <a:rPr lang="en-GB" sz="1099" dirty="0">
                  <a:solidFill>
                    <a:srgbClr val="444444"/>
                  </a:solidFill>
                </a:rPr>
                <a:t>Show guides via menu bar: View // Show // tick Guides</a:t>
              </a:r>
            </a:p>
          </p:txBody>
        </p:sp>
        <p:sp>
          <p:nvSpPr>
            <p:cNvPr id="17" name="Fußzeile"/>
            <p:cNvSpPr txBox="1"/>
            <p:nvPr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 defTabSz="1042388">
                <a:defRPr/>
              </a:pPr>
              <a:r>
                <a:rPr lang="en-GB" sz="1099" dirty="0">
                  <a:solidFill>
                    <a:srgbClr val="444444"/>
                  </a:solidFill>
                </a:rPr>
                <a:t>Adjust footer (per slide or for several/all slides) via menu bar: Insert // Text // Header &amp; Footer</a:t>
              </a:r>
            </a:p>
          </p:txBody>
        </p:sp>
        <p:grpSp>
          <p:nvGrpSpPr>
            <p:cNvPr id="28" name="Hinweise links"/>
            <p:cNvGrpSpPr/>
            <p:nvPr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29" name="Folie Wechsel/Zurücksetzen/Textebenen"/>
              <p:cNvSpPr txBox="1"/>
              <p:nvPr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Reset the slide back to its </a:t>
                </a: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original form via menu bar:</a:t>
                </a: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Home // Slides // Reset</a:t>
                </a:r>
              </a:p>
              <a:p>
                <a:pPr algn="r"/>
                <a:endParaRPr lang="en-GB" sz="1099" dirty="0">
                  <a:solidFill>
                    <a:srgbClr val="444444"/>
                  </a:solidFill>
                </a:endParaRP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Change the slide layout </a:t>
                </a: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via menu bar:</a:t>
                </a: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Home // Slides // Layout</a:t>
                </a:r>
              </a:p>
              <a:p>
                <a:pPr algn="r"/>
                <a:endParaRPr lang="en-GB" sz="1099" dirty="0">
                  <a:solidFill>
                    <a:srgbClr val="444444"/>
                  </a:solidFill>
                </a:endParaRP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Change the text level</a:t>
                </a: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via menu bar: </a:t>
                </a:r>
                <a:br>
                  <a:rPr lang="en-GB" sz="1099" dirty="0">
                    <a:solidFill>
                      <a:srgbClr val="444444"/>
                    </a:solidFill>
                  </a:rPr>
                </a:br>
                <a:r>
                  <a:rPr lang="en-GB" sz="1099" dirty="0">
                    <a:solidFill>
                      <a:srgbClr val="444444"/>
                    </a:solidFill>
                  </a:rPr>
                  <a:t>Home // Paragraph // Increase/</a:t>
                </a: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Decrease List Level</a:t>
                </a:r>
              </a:p>
            </p:txBody>
          </p:sp>
          <p:grpSp>
            <p:nvGrpSpPr>
              <p:cNvPr id="31" name="Listenebenen"/>
              <p:cNvGrpSpPr/>
              <p:nvPr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32" name="Text // Listenebene erhöhen"/>
                <p:cNvSpPr txBox="1"/>
                <p:nvPr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r">
                    <a:defRPr/>
                  </a:pPr>
                  <a:r>
                    <a:rPr lang="en-GB" sz="999" dirty="0">
                      <a:solidFill>
                        <a:srgbClr val="444444"/>
                      </a:solidFill>
                    </a:rPr>
                    <a:t>Increase</a:t>
                  </a:r>
                </a:p>
                <a:p>
                  <a:pPr algn="r">
                    <a:defRPr/>
                  </a:pPr>
                  <a:r>
                    <a:rPr lang="en-GB" sz="999" dirty="0">
                      <a:solidFill>
                        <a:srgbClr val="444444"/>
                      </a:solidFill>
                    </a:rPr>
                    <a:t>List Level</a:t>
                  </a:r>
                </a:p>
              </p:txBody>
            </p:sp>
            <p:sp>
              <p:nvSpPr>
                <p:cNvPr id="33" name="Text // Listenebene verringern"/>
                <p:cNvSpPr txBox="1"/>
                <p:nvPr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r">
                    <a:defRPr/>
                  </a:pPr>
                  <a:r>
                    <a:rPr lang="en-GB" sz="999" dirty="0">
                      <a:solidFill>
                        <a:srgbClr val="444444"/>
                      </a:solidFill>
                    </a:rPr>
                    <a:t>Decrease </a:t>
                  </a:r>
                </a:p>
                <a:p>
                  <a:pPr algn="r">
                    <a:defRPr/>
                  </a:pPr>
                  <a:r>
                    <a:rPr lang="en-GB" sz="999" dirty="0">
                      <a:solidFill>
                        <a:srgbClr val="444444"/>
                      </a:solidFill>
                    </a:rPr>
                    <a:t>List Level</a:t>
                  </a:r>
                </a:p>
              </p:txBody>
            </p:sp>
            <p:pic>
              <p:nvPicPr>
                <p:cNvPr id="34" name="Listenebene erhöhen"/>
                <p:cNvPicPr>
                  <a:picLocks noChangeAspect="1"/>
                </p:cNvPicPr>
                <p:nvPr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35" name="Listenebene verringern"/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 bwMode="auto">
          <a:xfrm>
            <a:off x="-2380" y="3429000"/>
            <a:ext cx="12192830" cy="3429000"/>
          </a:xfrm>
          <a:custGeom>
            <a:avLst/>
            <a:gdLst>
              <a:gd name="connsiteX0" fmla="*/ 0 w 12196799"/>
              <a:gd name="connsiteY0" fmla="*/ 0 h 3429794"/>
              <a:gd name="connsiteX1" fmla="*/ 12196799 w 12196799"/>
              <a:gd name="connsiteY1" fmla="*/ 0 h 3429794"/>
              <a:gd name="connsiteX2" fmla="*/ 12196799 w 12196799"/>
              <a:gd name="connsiteY2" fmla="*/ 3429794 h 3429794"/>
              <a:gd name="connsiteX3" fmla="*/ 0 w 12196799"/>
              <a:gd name="connsiteY3" fmla="*/ 3429794 h 3429794"/>
              <a:gd name="connsiteX4" fmla="*/ 0 w 12196799"/>
              <a:gd name="connsiteY4" fmla="*/ 0 h 3429794"/>
              <a:gd name="connsiteX0" fmla="*/ 2381 w 12199180"/>
              <a:gd name="connsiteY0" fmla="*/ 0 h 3429794"/>
              <a:gd name="connsiteX1" fmla="*/ 12199180 w 12199180"/>
              <a:gd name="connsiteY1" fmla="*/ 0 h 3429794"/>
              <a:gd name="connsiteX2" fmla="*/ 12199180 w 12199180"/>
              <a:gd name="connsiteY2" fmla="*/ 3429794 h 3429794"/>
              <a:gd name="connsiteX3" fmla="*/ 2381 w 12199180"/>
              <a:gd name="connsiteY3" fmla="*/ 3429794 h 3429794"/>
              <a:gd name="connsiteX4" fmla="*/ 0 w 12199180"/>
              <a:gd name="connsiteY4" fmla="*/ 1070769 h 3429794"/>
              <a:gd name="connsiteX5" fmla="*/ 2381 w 12199180"/>
              <a:gd name="connsiteY5" fmla="*/ 0 h 3429794"/>
              <a:gd name="connsiteX0" fmla="*/ 0 w 12199180"/>
              <a:gd name="connsiteY0" fmla="*/ 1167730 h 3526755"/>
              <a:gd name="connsiteX1" fmla="*/ 12199180 w 12199180"/>
              <a:gd name="connsiteY1" fmla="*/ 96961 h 3526755"/>
              <a:gd name="connsiteX2" fmla="*/ 12199180 w 12199180"/>
              <a:gd name="connsiteY2" fmla="*/ 3526755 h 3526755"/>
              <a:gd name="connsiteX3" fmla="*/ 2381 w 12199180"/>
              <a:gd name="connsiteY3" fmla="*/ 3526755 h 3526755"/>
              <a:gd name="connsiteX4" fmla="*/ 0 w 12199180"/>
              <a:gd name="connsiteY4" fmla="*/ 1167730 h 3526755"/>
              <a:gd name="connsiteX0" fmla="*/ 0 w 12199180"/>
              <a:gd name="connsiteY0" fmla="*/ 1070769 h 3429794"/>
              <a:gd name="connsiteX1" fmla="*/ 12199180 w 12199180"/>
              <a:gd name="connsiteY1" fmla="*/ 0 h 3429794"/>
              <a:gd name="connsiteX2" fmla="*/ 12199180 w 12199180"/>
              <a:gd name="connsiteY2" fmla="*/ 3429794 h 3429794"/>
              <a:gd name="connsiteX3" fmla="*/ 2381 w 12199180"/>
              <a:gd name="connsiteY3" fmla="*/ 3429794 h 3429794"/>
              <a:gd name="connsiteX4" fmla="*/ 0 w 12199180"/>
              <a:gd name="connsiteY4" fmla="*/ 1070769 h 34297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9180" h="3429794">
                <a:moveTo>
                  <a:pt x="0" y="1070769"/>
                </a:moveTo>
                <a:lnTo>
                  <a:pt x="12199180" y="0"/>
                </a:lnTo>
                <a:lnTo>
                  <a:pt x="12199180" y="3429794"/>
                </a:lnTo>
                <a:lnTo>
                  <a:pt x="2381" y="3429794"/>
                </a:lnTo>
                <a:cubicBezTo>
                  <a:pt x="1587" y="2643452"/>
                  <a:pt x="794" y="1857111"/>
                  <a:pt x="0" y="1070769"/>
                </a:cubicBezTo>
                <a:close/>
              </a:path>
            </a:pathLst>
          </a:custGeom>
          <a:noFill/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>Insert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28323" y="2045814"/>
            <a:ext cx="10932181" cy="1619625"/>
          </a:xfrm>
          <a:custGeom>
            <a:avLst/>
            <a:gdLst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75 w 10937875"/>
              <a:gd name="connsiteY2" fmla="*/ 1620000 h 1620000"/>
              <a:gd name="connsiteX3" fmla="*/ 0 w 10937875"/>
              <a:gd name="connsiteY3" fmla="*/ 1620000 h 1620000"/>
              <a:gd name="connsiteX4" fmla="*/ 0 w 10937875"/>
              <a:gd name="connsiteY4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75 w 10937875"/>
              <a:gd name="connsiteY2" fmla="*/ 1620000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10937875 w 10937875"/>
              <a:gd name="connsiteY3" fmla="*/ 1620000 h 1620000"/>
              <a:gd name="connsiteX4" fmla="*/ 6569541 w 10937875"/>
              <a:gd name="connsiteY4" fmla="*/ 1619979 h 1620000"/>
              <a:gd name="connsiteX5" fmla="*/ 0 w 10937875"/>
              <a:gd name="connsiteY5" fmla="*/ 1620000 h 1620000"/>
              <a:gd name="connsiteX6" fmla="*/ 0 w 10937875"/>
              <a:gd name="connsiteY6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937875" h="1620000">
                <a:moveTo>
                  <a:pt x="0" y="0"/>
                </a:moveTo>
                <a:lnTo>
                  <a:pt x="10937875" y="0"/>
                </a:lnTo>
                <a:cubicBezTo>
                  <a:pt x="10937870" y="414317"/>
                  <a:pt x="10937865" y="828635"/>
                  <a:pt x="10937860" y="1242952"/>
                </a:cubicBezTo>
                <a:lnTo>
                  <a:pt x="6569541" y="1619979"/>
                </a:lnTo>
                <a:lnTo>
                  <a:pt x="0" y="1620000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 anchor="t" anchorCtr="0">
            <a:noAutofit/>
          </a:bodyPr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Referent’s name: </a:t>
            </a:r>
            <a:r>
              <a:rPr lang="en-GB" noProof="0" dirty="0"/>
              <a:t>CorpoS </a:t>
            </a:r>
            <a:r>
              <a:rPr lang="en-GB" dirty="0"/>
              <a:t>(Body) 35 pt.</a:t>
            </a:r>
            <a:br>
              <a:rPr lang="en-GB" dirty="0"/>
            </a:br>
            <a:r>
              <a:rPr lang="en-GB" dirty="0"/>
              <a:t>Presentation title in two or three </a:t>
            </a:r>
            <a:br>
              <a:rPr lang="en-GB" dirty="0"/>
            </a:br>
            <a:r>
              <a:rPr lang="en-GB" dirty="0"/>
              <a:t>lines of text, dd. </a:t>
            </a:r>
            <a:r>
              <a:rPr lang="en-GB" dirty="0" err="1"/>
              <a:t>mmmm</a:t>
            </a:r>
            <a:r>
              <a:rPr lang="en-GB" dirty="0"/>
              <a:t> </a:t>
            </a:r>
            <a:r>
              <a:rPr lang="en-GB" dirty="0" err="1"/>
              <a:t>yyyy</a:t>
            </a:r>
            <a:endParaRPr lang="en-GB" dirty="0"/>
          </a:p>
        </p:txBody>
      </p:sp>
      <p:pic>
        <p:nvPicPr>
          <p:cNvPr id="30" name="Wortmarke DAIMLER" descr="Daimler_RGB_100mm.pn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672" y="790853"/>
            <a:ext cx="3418220" cy="462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88494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1" orient="horz" pos="1289">
          <p15:clr>
            <a:srgbClr val="FBAE40"/>
          </p15:clr>
        </p15:guide>
      </p15:sldGuideLst>
    </p:ext>
  </p:extLst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4926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white">
          <a:xfrm>
            <a:off x="1" y="-1307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9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598">
                <a:solidFill>
                  <a:schemeClr val="tx2"/>
                </a:solidFill>
                <a:latin typeface="+mn-lt"/>
                <a:sym typeface="CorpoS" pitchFamily="2" charset="0"/>
              </a:defRPr>
            </a:lvl1pPr>
            <a:lvl2pPr marL="456743" indent="0" algn="ctr">
              <a:buNone/>
              <a:defRPr sz="1998"/>
            </a:lvl2pPr>
            <a:lvl3pPr marL="913486" indent="0" algn="ctr">
              <a:buNone/>
              <a:defRPr sz="1798"/>
            </a:lvl3pPr>
            <a:lvl4pPr marL="1370229" indent="0" algn="ctr">
              <a:buNone/>
              <a:defRPr sz="1598"/>
            </a:lvl4pPr>
            <a:lvl5pPr marL="1826972" indent="0" algn="ctr">
              <a:buNone/>
              <a:defRPr sz="1598"/>
            </a:lvl5pPr>
            <a:lvl6pPr marL="2283715" indent="0" algn="ctr">
              <a:buNone/>
              <a:defRPr sz="1598"/>
            </a:lvl6pPr>
            <a:lvl7pPr marL="2740457" indent="0" algn="ctr">
              <a:buNone/>
              <a:defRPr sz="1598"/>
            </a:lvl7pPr>
            <a:lvl8pPr marL="3197201" indent="0" algn="ctr">
              <a:buNone/>
              <a:defRPr sz="1598"/>
            </a:lvl8pPr>
            <a:lvl9pPr marL="3653943" indent="0" algn="ctr">
              <a:buNone/>
              <a:defRPr sz="1598"/>
            </a:lvl9pPr>
          </a:lstStyle>
          <a:p>
            <a:r>
              <a:rPr lang="en-US" dirty="0" smtClean="0"/>
              <a:t>Click to add subtitle</a:t>
            </a:r>
            <a:endParaRPr lang="en-US" dirty="0"/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50"/>
            <a:ext cx="3744000" cy="664797"/>
          </a:xfrm>
        </p:spPr>
        <p:txBody>
          <a:bodyPr anchor="t">
            <a:noAutofit/>
          </a:bodyPr>
          <a:lstStyle>
            <a:lvl1pPr>
              <a:defRPr sz="3298">
                <a:solidFill>
                  <a:schemeClr val="tx2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2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3618641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2">
          <p15:clr>
            <a:srgbClr val="FBAE40"/>
          </p15:clr>
        </p15:guide>
        <p15:guide id="2" pos="3844">
          <p15:clr>
            <a:srgbClr val="FBAE40"/>
          </p15:clr>
        </p15:guide>
      </p15:sldGuideLst>
    </p:ext>
  </p:extLst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5950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3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3486" rtl="0" eaLnBrk="1" fontAlgn="auto" latinLnBrk="0" hangingPunct="1">
              <a:lnSpc>
                <a:spcPts val="5994"/>
              </a:lnSpc>
              <a:spcBef>
                <a:spcPts val="0"/>
              </a:spcBef>
              <a:spcAft>
                <a:spcPts val="0"/>
              </a:spcAft>
              <a:defRPr lang="en-US" sz="5394" kern="1200" baseline="0" dirty="0">
                <a:solidFill>
                  <a:schemeClr val="tx2"/>
                </a:solidFill>
                <a:latin typeface="+mj-lt"/>
                <a:ea typeface="+mn-ea"/>
                <a:cs typeface="+mj-cs"/>
                <a:sym typeface="CorpoS" pitchFamily="2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5" y="1424083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13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3974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6974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2"/>
            <a:ext cx="10936800" cy="2041200"/>
          </a:xfrm>
        </p:spPr>
        <p:txBody>
          <a:bodyPr anchor="t">
            <a:noAutofit/>
          </a:bodyPr>
          <a:lstStyle>
            <a:lvl1pPr>
              <a:defRPr sz="5394">
                <a:solidFill>
                  <a:schemeClr val="tx2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2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90253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98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6" y="0"/>
            <a:ext cx="416951" cy="6858000"/>
          </a:xfrm>
          <a:prstGeom prst="rect">
            <a:avLst/>
          </a:prstGeom>
        </p:spPr>
      </p:pic>
      <p:sp>
        <p:nvSpPr>
          <p:cNvPr id="24" name="Rectangle 23"/>
          <p:cNvSpPr/>
          <p:nvPr userDrawn="1"/>
        </p:nvSpPr>
        <p:spPr bwMode="white">
          <a:xfrm>
            <a:off x="2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2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98">
                <a:solidFill>
                  <a:schemeClr val="tx2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26" name="TextBox 25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  <p:sp>
        <p:nvSpPr>
          <p:cNvPr id="13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srgbClr val="FFFFFF"/>
                </a:solidFill>
              </a:rPr>
              <a:t>2018-10-05_FORCE OpCo_No3_v03.pptx</a:t>
            </a:r>
            <a:endParaRPr lang="en-US" sz="1199" dirty="0">
              <a:solidFill>
                <a:srgbClr val="FFFFFF"/>
              </a:solidFill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243276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022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8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2" y="622802"/>
            <a:ext cx="6276529" cy="456942"/>
          </a:xfrm>
          <a:prstGeom prst="rect">
            <a:avLst/>
          </a:prstGeom>
        </p:spPr>
        <p:txBody>
          <a:bodyPr/>
          <a:lstStyle>
            <a:lvl1pPr>
              <a:defRPr sz="3298">
                <a:solidFill>
                  <a:schemeClr val="tx2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  <p:sp>
        <p:nvSpPr>
          <p:cNvPr id="18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srgbClr val="FFFFFF"/>
                </a:solidFill>
              </a:rPr>
              <a:t>2018-10-05_FORCE OpCo_No3_v03.pptx</a:t>
            </a:r>
            <a:endParaRPr lang="en-US" sz="1199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376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0046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8101584" cy="456942"/>
          </a:xfrm>
          <a:prstGeom prst="rect">
            <a:avLst/>
          </a:prstGeom>
        </p:spPr>
        <p:txBody>
          <a:bodyPr/>
          <a:lstStyle>
            <a:lvl1pPr>
              <a:defRPr sz="3298">
                <a:solidFill>
                  <a:schemeClr val="tx2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1352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1070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70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2" y="2681103"/>
            <a:ext cx="1659160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98">
                <a:solidFill>
                  <a:schemeClr val="bg1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3037709" y="-1307"/>
            <a:ext cx="9154293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000000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000000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000000"/>
              </a:solidFill>
            </a:endParaRPr>
          </a:p>
        </p:txBody>
      </p:sp>
      <p:sp>
        <p:nvSpPr>
          <p:cNvPr id="17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  <p:sp>
        <p:nvSpPr>
          <p:cNvPr id="13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253278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2094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4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798" baseline="0">
                <a:latin typeface="CorpoS" pitchFamily="2" charset="0"/>
                <a:sym typeface="CorpoS" pitchFamily="2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2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3298">
                <a:solidFill>
                  <a:schemeClr val="bg1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23" name="TextBox 22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000000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000000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000000"/>
              </a:solidFill>
            </a:endParaRPr>
          </a:p>
        </p:txBody>
      </p:sp>
      <p:sp>
        <p:nvSpPr>
          <p:cNvPr id="14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85872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3118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51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598">
                <a:solidFill>
                  <a:schemeClr val="tx1"/>
                </a:solidFill>
                <a:latin typeface="CorpoS" pitchFamily="2" charset="0"/>
                <a:sym typeface="CorpoS" pitchFamily="2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2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98">
                <a:solidFill>
                  <a:schemeClr val="bg1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22" name="TextBox 21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000000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000000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4307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4142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8020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reeform 14"/>
          <p:cNvSpPr/>
          <p:nvPr userDrawn="1"/>
        </p:nvSpPr>
        <p:spPr bwMode="ltGray">
          <a:xfrm>
            <a:off x="1526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1" y="2764205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98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title</a:t>
            </a:r>
            <a:endParaRPr lang="en-US"/>
          </a:p>
        </p:txBody>
      </p:sp>
      <p:sp>
        <p:nvSpPr>
          <p:cNvPr id="21" name="TextBox 20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  <p:sp>
        <p:nvSpPr>
          <p:cNvPr id="13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srgbClr val="FFFFFF"/>
                </a:solidFill>
              </a:rPr>
              <a:t>2018-10-05_FORCE OpCo_No3_v03.pptx</a:t>
            </a:r>
            <a:endParaRPr lang="en-US" sz="1199" dirty="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0881351" y="6506837"/>
            <a:ext cx="64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endParaRPr lang="en-US" sz="1199" dirty="0" smtClean="0">
              <a:solidFill>
                <a:srgbClr val="FFFFFF"/>
              </a:solidFill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441094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. Title ima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Regieanweisungen"/>
          <p:cNvGrpSpPr/>
          <p:nvPr/>
        </p:nvGrpSpPr>
        <p:grpSpPr>
          <a:xfrm>
            <a:off x="-2086913" y="-467892"/>
            <a:ext cx="13647691" cy="7792196"/>
            <a:chOff x="-2088000" y="-468000"/>
            <a:chExt cx="13654799" cy="7794000"/>
          </a:xfrm>
        </p:grpSpPr>
        <p:sp>
          <p:nvSpPr>
            <p:cNvPr id="16" name="Hilfslinien"/>
            <p:cNvSpPr txBox="1"/>
            <p:nvPr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1042388">
                <a:defRPr/>
              </a:pPr>
              <a:r>
                <a:rPr lang="en-GB" sz="1099" dirty="0">
                  <a:solidFill>
                    <a:srgbClr val="444444"/>
                  </a:solidFill>
                </a:rPr>
                <a:t>Show guides via menu bar: View // Show // tick Guides</a:t>
              </a:r>
            </a:p>
          </p:txBody>
        </p:sp>
        <p:sp>
          <p:nvSpPr>
            <p:cNvPr id="17" name="Fußzeile"/>
            <p:cNvSpPr txBox="1"/>
            <p:nvPr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 defTabSz="1042388">
                <a:defRPr/>
              </a:pPr>
              <a:r>
                <a:rPr lang="en-GB" sz="1099" dirty="0">
                  <a:solidFill>
                    <a:srgbClr val="444444"/>
                  </a:solidFill>
                </a:rPr>
                <a:t>Adjust footer (per slide or for several/all slides) via menu bar: Insert // Text // Header &amp; Footer</a:t>
              </a:r>
            </a:p>
          </p:txBody>
        </p:sp>
        <p:grpSp>
          <p:nvGrpSpPr>
            <p:cNvPr id="28" name="Hinweise links"/>
            <p:cNvGrpSpPr/>
            <p:nvPr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29" name="Folie Wechsel/Zurücksetzen/Textebenen"/>
              <p:cNvSpPr txBox="1"/>
              <p:nvPr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Reset the slide back to its </a:t>
                </a: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original form via menu bar:</a:t>
                </a: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Home // Slides // Reset</a:t>
                </a:r>
              </a:p>
              <a:p>
                <a:pPr algn="r"/>
                <a:endParaRPr lang="en-GB" sz="1099" dirty="0">
                  <a:solidFill>
                    <a:srgbClr val="444444"/>
                  </a:solidFill>
                </a:endParaRP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Change the slide layout </a:t>
                </a: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via menu bar:</a:t>
                </a: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Home // Slides // Layout</a:t>
                </a:r>
              </a:p>
              <a:p>
                <a:pPr algn="r"/>
                <a:endParaRPr lang="en-GB" sz="1099" dirty="0">
                  <a:solidFill>
                    <a:srgbClr val="444444"/>
                  </a:solidFill>
                </a:endParaRP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Change the text level</a:t>
                </a: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via menu bar: </a:t>
                </a:r>
                <a:br>
                  <a:rPr lang="en-GB" sz="1099" dirty="0">
                    <a:solidFill>
                      <a:srgbClr val="444444"/>
                    </a:solidFill>
                  </a:rPr>
                </a:br>
                <a:r>
                  <a:rPr lang="en-GB" sz="1099" dirty="0">
                    <a:solidFill>
                      <a:srgbClr val="444444"/>
                    </a:solidFill>
                  </a:rPr>
                  <a:t>Home // Paragraph // Increase/</a:t>
                </a: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Decrease List Level</a:t>
                </a:r>
              </a:p>
            </p:txBody>
          </p:sp>
          <p:grpSp>
            <p:nvGrpSpPr>
              <p:cNvPr id="31" name="Listenebenen"/>
              <p:cNvGrpSpPr/>
              <p:nvPr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32" name="Text // Listenebene erhöhen"/>
                <p:cNvSpPr txBox="1"/>
                <p:nvPr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r">
                    <a:defRPr/>
                  </a:pPr>
                  <a:r>
                    <a:rPr lang="en-GB" sz="999" dirty="0">
                      <a:solidFill>
                        <a:srgbClr val="444444"/>
                      </a:solidFill>
                    </a:rPr>
                    <a:t>Increase</a:t>
                  </a:r>
                </a:p>
                <a:p>
                  <a:pPr algn="r">
                    <a:defRPr/>
                  </a:pPr>
                  <a:r>
                    <a:rPr lang="en-GB" sz="999" dirty="0">
                      <a:solidFill>
                        <a:srgbClr val="444444"/>
                      </a:solidFill>
                    </a:rPr>
                    <a:t>List Level</a:t>
                  </a:r>
                </a:p>
              </p:txBody>
            </p:sp>
            <p:sp>
              <p:nvSpPr>
                <p:cNvPr id="33" name="Text // Listenebene verringern"/>
                <p:cNvSpPr txBox="1"/>
                <p:nvPr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r">
                    <a:defRPr/>
                  </a:pPr>
                  <a:r>
                    <a:rPr lang="en-GB" sz="999" dirty="0">
                      <a:solidFill>
                        <a:srgbClr val="444444"/>
                      </a:solidFill>
                    </a:rPr>
                    <a:t>Decrease </a:t>
                  </a:r>
                </a:p>
                <a:p>
                  <a:pPr algn="r">
                    <a:defRPr/>
                  </a:pPr>
                  <a:r>
                    <a:rPr lang="en-GB" sz="999" dirty="0">
                      <a:solidFill>
                        <a:srgbClr val="444444"/>
                      </a:solidFill>
                    </a:rPr>
                    <a:t>List Level</a:t>
                  </a:r>
                </a:p>
              </p:txBody>
            </p:sp>
            <p:pic>
              <p:nvPicPr>
                <p:cNvPr id="34" name="Listenebene erhöhen"/>
                <p:cNvPicPr>
                  <a:picLocks noChangeAspect="1"/>
                </p:cNvPicPr>
                <p:nvPr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35" name="Listenebene verringern"/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-2380" y="2281900"/>
            <a:ext cx="12192831" cy="4576100"/>
          </a:xfrm>
          <a:custGeom>
            <a:avLst/>
            <a:gdLst>
              <a:gd name="connsiteX0" fmla="*/ 0 w 12196800"/>
              <a:gd name="connsiteY0" fmla="*/ 0 h 4581922"/>
              <a:gd name="connsiteX1" fmla="*/ 12196800 w 12196800"/>
              <a:gd name="connsiteY1" fmla="*/ 0 h 4581922"/>
              <a:gd name="connsiteX2" fmla="*/ 12196800 w 12196800"/>
              <a:gd name="connsiteY2" fmla="*/ 4581922 h 4581922"/>
              <a:gd name="connsiteX3" fmla="*/ 0 w 12196800"/>
              <a:gd name="connsiteY3" fmla="*/ 4581922 h 4581922"/>
              <a:gd name="connsiteX4" fmla="*/ 0 w 12196800"/>
              <a:gd name="connsiteY4" fmla="*/ 0 h 4581922"/>
              <a:gd name="connsiteX0" fmla="*/ 2381 w 12199181"/>
              <a:gd name="connsiteY0" fmla="*/ 0 h 4581922"/>
              <a:gd name="connsiteX1" fmla="*/ 12199181 w 12199181"/>
              <a:gd name="connsiteY1" fmla="*/ 0 h 4581922"/>
              <a:gd name="connsiteX2" fmla="*/ 12199181 w 12199181"/>
              <a:gd name="connsiteY2" fmla="*/ 4581922 h 4581922"/>
              <a:gd name="connsiteX3" fmla="*/ 2381 w 12199181"/>
              <a:gd name="connsiteY3" fmla="*/ 4581922 h 4581922"/>
              <a:gd name="connsiteX4" fmla="*/ 0 w 12199181"/>
              <a:gd name="connsiteY4" fmla="*/ 1075135 h 4581922"/>
              <a:gd name="connsiteX5" fmla="*/ 2381 w 12199181"/>
              <a:gd name="connsiteY5" fmla="*/ 0 h 4581922"/>
              <a:gd name="connsiteX0" fmla="*/ 0 w 12199181"/>
              <a:gd name="connsiteY0" fmla="*/ 1263181 h 4769968"/>
              <a:gd name="connsiteX1" fmla="*/ 12199181 w 12199181"/>
              <a:gd name="connsiteY1" fmla="*/ 188046 h 4769968"/>
              <a:gd name="connsiteX2" fmla="*/ 12199181 w 12199181"/>
              <a:gd name="connsiteY2" fmla="*/ 4769968 h 4769968"/>
              <a:gd name="connsiteX3" fmla="*/ 2381 w 12199181"/>
              <a:gd name="connsiteY3" fmla="*/ 4769968 h 4769968"/>
              <a:gd name="connsiteX4" fmla="*/ 0 w 12199181"/>
              <a:gd name="connsiteY4" fmla="*/ 1263181 h 4769968"/>
              <a:gd name="connsiteX0" fmla="*/ 0 w 12199181"/>
              <a:gd name="connsiteY0" fmla="*/ 1075135 h 4581922"/>
              <a:gd name="connsiteX1" fmla="*/ 12199181 w 12199181"/>
              <a:gd name="connsiteY1" fmla="*/ 0 h 4581922"/>
              <a:gd name="connsiteX2" fmla="*/ 12199181 w 12199181"/>
              <a:gd name="connsiteY2" fmla="*/ 4581922 h 4581922"/>
              <a:gd name="connsiteX3" fmla="*/ 2381 w 12199181"/>
              <a:gd name="connsiteY3" fmla="*/ 4581922 h 4581922"/>
              <a:gd name="connsiteX4" fmla="*/ 0 w 12199181"/>
              <a:gd name="connsiteY4" fmla="*/ 1075135 h 4581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9181" h="4581922">
                <a:moveTo>
                  <a:pt x="0" y="1075135"/>
                </a:moveTo>
                <a:lnTo>
                  <a:pt x="12199181" y="0"/>
                </a:lnTo>
                <a:lnTo>
                  <a:pt x="12199181" y="4581922"/>
                </a:lnTo>
                <a:lnTo>
                  <a:pt x="2381" y="4581922"/>
                </a:lnTo>
                <a:cubicBezTo>
                  <a:pt x="1587" y="3412993"/>
                  <a:pt x="794" y="2244064"/>
                  <a:pt x="0" y="1075135"/>
                </a:cubicBezTo>
                <a:close/>
              </a:path>
            </a:pathLst>
          </a:custGeom>
          <a:noFill/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>Insert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28323" y="2044433"/>
            <a:ext cx="7232233" cy="648964"/>
          </a:xfrm>
          <a:custGeom>
            <a:avLst/>
            <a:gdLst>
              <a:gd name="connsiteX0" fmla="*/ 0 w 7236000"/>
              <a:gd name="connsiteY0" fmla="*/ 0 h 649114"/>
              <a:gd name="connsiteX1" fmla="*/ 7236000 w 7236000"/>
              <a:gd name="connsiteY1" fmla="*/ 0 h 649114"/>
              <a:gd name="connsiteX2" fmla="*/ 7236000 w 7236000"/>
              <a:gd name="connsiteY2" fmla="*/ 649114 h 649114"/>
              <a:gd name="connsiteX3" fmla="*/ 0 w 7236000"/>
              <a:gd name="connsiteY3" fmla="*/ 649114 h 649114"/>
              <a:gd name="connsiteX4" fmla="*/ 0 w 7236000"/>
              <a:gd name="connsiteY4" fmla="*/ 0 h 649114"/>
              <a:gd name="connsiteX0" fmla="*/ 0 w 7236000"/>
              <a:gd name="connsiteY0" fmla="*/ 0 h 649114"/>
              <a:gd name="connsiteX1" fmla="*/ 7236000 w 7236000"/>
              <a:gd name="connsiteY1" fmla="*/ 0 h 649114"/>
              <a:gd name="connsiteX2" fmla="*/ 7234238 w 7236000"/>
              <a:gd name="connsiteY2" fmla="*/ 514937 h 649114"/>
              <a:gd name="connsiteX3" fmla="*/ 7236000 w 7236000"/>
              <a:gd name="connsiteY3" fmla="*/ 649114 h 649114"/>
              <a:gd name="connsiteX4" fmla="*/ 0 w 7236000"/>
              <a:gd name="connsiteY4" fmla="*/ 649114 h 649114"/>
              <a:gd name="connsiteX5" fmla="*/ 0 w 7236000"/>
              <a:gd name="connsiteY5" fmla="*/ 0 h 649114"/>
              <a:gd name="connsiteX0" fmla="*/ 0 w 7236000"/>
              <a:gd name="connsiteY0" fmla="*/ 0 h 649114"/>
              <a:gd name="connsiteX1" fmla="*/ 7236000 w 7236000"/>
              <a:gd name="connsiteY1" fmla="*/ 0 h 649114"/>
              <a:gd name="connsiteX2" fmla="*/ 7234238 w 7236000"/>
              <a:gd name="connsiteY2" fmla="*/ 514937 h 649114"/>
              <a:gd name="connsiteX3" fmla="*/ 7236000 w 7236000"/>
              <a:gd name="connsiteY3" fmla="*/ 649114 h 649114"/>
              <a:gd name="connsiteX4" fmla="*/ 5812631 w 7236000"/>
              <a:gd name="connsiteY4" fmla="*/ 648287 h 649114"/>
              <a:gd name="connsiteX5" fmla="*/ 0 w 7236000"/>
              <a:gd name="connsiteY5" fmla="*/ 649114 h 649114"/>
              <a:gd name="connsiteX6" fmla="*/ 0 w 7236000"/>
              <a:gd name="connsiteY6" fmla="*/ 0 h 649114"/>
              <a:gd name="connsiteX0" fmla="*/ 0 w 7236000"/>
              <a:gd name="connsiteY0" fmla="*/ 0 h 649114"/>
              <a:gd name="connsiteX1" fmla="*/ 7236000 w 7236000"/>
              <a:gd name="connsiteY1" fmla="*/ 0 h 649114"/>
              <a:gd name="connsiteX2" fmla="*/ 7234238 w 7236000"/>
              <a:gd name="connsiteY2" fmla="*/ 514937 h 649114"/>
              <a:gd name="connsiteX3" fmla="*/ 5812631 w 7236000"/>
              <a:gd name="connsiteY3" fmla="*/ 648287 h 649114"/>
              <a:gd name="connsiteX4" fmla="*/ 0 w 7236000"/>
              <a:gd name="connsiteY4" fmla="*/ 649114 h 649114"/>
              <a:gd name="connsiteX5" fmla="*/ 0 w 7236000"/>
              <a:gd name="connsiteY5" fmla="*/ 0 h 649114"/>
              <a:gd name="connsiteX0" fmla="*/ 0 w 7236000"/>
              <a:gd name="connsiteY0" fmla="*/ 0 h 649114"/>
              <a:gd name="connsiteX1" fmla="*/ 7236000 w 7236000"/>
              <a:gd name="connsiteY1" fmla="*/ 0 h 649114"/>
              <a:gd name="connsiteX2" fmla="*/ 7234238 w 7236000"/>
              <a:gd name="connsiteY2" fmla="*/ 514937 h 649114"/>
              <a:gd name="connsiteX3" fmla="*/ 5812631 w 7236000"/>
              <a:gd name="connsiteY3" fmla="*/ 648287 h 649114"/>
              <a:gd name="connsiteX4" fmla="*/ 0 w 7236000"/>
              <a:gd name="connsiteY4" fmla="*/ 649114 h 649114"/>
              <a:gd name="connsiteX5" fmla="*/ 0 w 7236000"/>
              <a:gd name="connsiteY5" fmla="*/ 0 h 6491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236000" h="649114">
                <a:moveTo>
                  <a:pt x="0" y="0"/>
                </a:moveTo>
                <a:lnTo>
                  <a:pt x="7236000" y="0"/>
                </a:lnTo>
                <a:cubicBezTo>
                  <a:pt x="7235413" y="171646"/>
                  <a:pt x="7234825" y="343291"/>
                  <a:pt x="7234238" y="514937"/>
                </a:cubicBezTo>
                <a:lnTo>
                  <a:pt x="5812631" y="648287"/>
                </a:lnTo>
                <a:lnTo>
                  <a:pt x="0" y="649114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Headline for presentation</a:t>
            </a:r>
          </a:p>
        </p:txBody>
      </p:sp>
      <p:pic>
        <p:nvPicPr>
          <p:cNvPr id="30" name="Wortmarke DAIMLER" descr="Daimler_RGB_100mm.pn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672" y="790853"/>
            <a:ext cx="3418220" cy="462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72839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1" orient="horz" pos="1288">
          <p15:clr>
            <a:srgbClr val="FBAE40"/>
          </p15:clr>
        </p15:guide>
      </p15:sldGuideLst>
    </p:ext>
  </p:extLst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5166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6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5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98">
                <a:solidFill>
                  <a:srgbClr val="FFFFFF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41310" y="3402830"/>
            <a:ext cx="2694666" cy="3461745"/>
          </a:xfrm>
          <a:prstGeom prst="rect">
            <a:avLst/>
          </a:prstGeom>
        </p:spPr>
      </p:pic>
      <p:sp>
        <p:nvSpPr>
          <p:cNvPr id="21" name="TextBox 20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000000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000000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000000"/>
              </a:solidFill>
            </a:endParaRPr>
          </a:p>
        </p:txBody>
      </p:sp>
      <p:sp>
        <p:nvSpPr>
          <p:cNvPr id="15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  <p:sp>
        <p:nvSpPr>
          <p:cNvPr id="14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425878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6190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41" y="3588020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reeform 18"/>
          <p:cNvSpPr/>
          <p:nvPr userDrawn="1"/>
        </p:nvSpPr>
        <p:spPr bwMode="white">
          <a:xfrm>
            <a:off x="2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6476627" cy="456942"/>
          </a:xfrm>
          <a:prstGeom prst="rect">
            <a:avLst/>
          </a:prstGeom>
        </p:spPr>
        <p:txBody>
          <a:bodyPr/>
          <a:lstStyle>
            <a:lvl1pPr>
              <a:defRPr sz="3298">
                <a:solidFill>
                  <a:schemeClr val="tx2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  <p:sp>
        <p:nvSpPr>
          <p:cNvPr id="13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srgbClr val="FFFFFF"/>
                </a:solidFill>
              </a:rPr>
              <a:t>2018-10-05_FORCE OpCo_No3_v03.pptx</a:t>
            </a:r>
            <a:endParaRPr lang="en-US" sz="1199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8364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7214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2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6476627" cy="456942"/>
          </a:xfrm>
          <a:prstGeom prst="rect">
            <a:avLst/>
          </a:prstGeom>
        </p:spPr>
        <p:txBody>
          <a:bodyPr/>
          <a:lstStyle>
            <a:lvl1pPr>
              <a:defRPr sz="3298">
                <a:solidFill>
                  <a:srgbClr val="FFFFFF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24772" y="3407805"/>
            <a:ext cx="2694666" cy="3456551"/>
          </a:xfrm>
          <a:prstGeom prst="rect">
            <a:avLst/>
          </a:prstGeom>
        </p:spPr>
      </p:pic>
      <p:sp>
        <p:nvSpPr>
          <p:cNvPr id="25" name="TextBox 24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000000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000000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000000"/>
              </a:solidFill>
            </a:endParaRPr>
          </a:p>
        </p:txBody>
      </p:sp>
      <p:sp>
        <p:nvSpPr>
          <p:cNvPr id="13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1636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38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3486" rtl="0" eaLnBrk="1" fontAlgn="auto" latinLnBrk="0" hangingPunct="1">
              <a:lnSpc>
                <a:spcPts val="5994"/>
              </a:lnSpc>
              <a:spcBef>
                <a:spcPts val="0"/>
              </a:spcBef>
              <a:spcAft>
                <a:spcPts val="0"/>
              </a:spcAft>
              <a:defRPr lang="en-US" sz="5394" kern="1200" baseline="0" dirty="0">
                <a:solidFill>
                  <a:schemeClr val="bg1"/>
                </a:solidFill>
                <a:latin typeface="+mj-lt"/>
                <a:ea typeface="+mn-ea"/>
                <a:cs typeface="+mj-cs"/>
                <a:sym typeface="CorpoS" pitchFamily="2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big statement text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  <p:sp>
        <p:nvSpPr>
          <p:cNvPr id="13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srgbClr val="FFFFFF"/>
                </a:solidFill>
              </a:rPr>
              <a:t>2018-10-05_FORCE OpCo_No3_v03.pptx</a:t>
            </a:r>
            <a:endParaRPr lang="en-US" sz="1199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8005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262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3486" rtl="0" eaLnBrk="1" fontAlgn="auto" latinLnBrk="0" hangingPunct="1">
              <a:lnSpc>
                <a:spcPts val="5994"/>
              </a:lnSpc>
              <a:spcBef>
                <a:spcPts val="0"/>
              </a:spcBef>
              <a:spcAft>
                <a:spcPts val="0"/>
              </a:spcAft>
              <a:defRPr lang="en-US" sz="5394" kern="1200" baseline="0" dirty="0">
                <a:solidFill>
                  <a:schemeClr val="accent4"/>
                </a:solidFill>
                <a:latin typeface="+mj-lt"/>
                <a:ea typeface="+mn-ea"/>
                <a:cs typeface="+mj-cs"/>
                <a:sym typeface="CorpoS" pitchFamily="2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big statement text</a:t>
            </a:r>
          </a:p>
        </p:txBody>
      </p:sp>
      <p:sp>
        <p:nvSpPr>
          <p:cNvPr id="8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16214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0286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3" y="110970"/>
            <a:ext cx="769257" cy="10019821"/>
          </a:xfrm>
          <a:prstGeom prst="rect">
            <a:avLst/>
          </a:pr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344" tIns="45672" rIns="91344" bIns="45672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799" dirty="0">
              <a:solidFill>
                <a:prstClr val="black"/>
              </a:solidFill>
              <a:sym typeface="CorpoS" pitchFamily="2" charset="0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  <p:sp>
        <p:nvSpPr>
          <p:cNvPr id="9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srgbClr val="FFFFFF"/>
                </a:solidFill>
              </a:rPr>
              <a:t>2018-10-05_FORCE OpCo_No3_v03.pptx</a:t>
            </a:r>
            <a:endParaRPr lang="en-US" sz="1199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7407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1310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9436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06000"/>
              </a:lnSpc>
              <a:spcAft>
                <a:spcPts val="700"/>
              </a:spcAft>
            </a:pPr>
            <a:r>
              <a:rPr lang="en-US" sz="5394" dirty="0">
                <a:solidFill>
                  <a:srgbClr val="00647F"/>
                </a:solidFill>
                <a:sym typeface="CorpoS" pitchFamily="2" charset="0"/>
              </a:rPr>
              <a:t>Table of Contents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  <p:sp>
        <p:nvSpPr>
          <p:cNvPr id="9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srgbClr val="FFFFFF"/>
                </a:solidFill>
              </a:rPr>
              <a:t>2018-10-05_FORCE OpCo_No3_v03.pptx</a:t>
            </a:r>
            <a:endParaRPr lang="en-US" sz="1199" dirty="0">
              <a:solidFill>
                <a:srgbClr val="FFFFFF"/>
              </a:solidFill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454691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2334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  <p:sp>
        <p:nvSpPr>
          <p:cNvPr id="8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srgbClr val="FFFFFF"/>
                </a:solidFill>
              </a:rPr>
              <a:t>2018-10-05_FORCE OpCo_No3_v03.pptx</a:t>
            </a:r>
            <a:endParaRPr lang="en-US" sz="1199" dirty="0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8578362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3358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2052463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4382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  <p:sp>
        <p:nvSpPr>
          <p:cNvPr id="8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3630945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char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Regieanweisungen"/>
          <p:cNvGrpSpPr/>
          <p:nvPr/>
        </p:nvGrpSpPr>
        <p:grpSpPr>
          <a:xfrm>
            <a:off x="-2086913" y="-467892"/>
            <a:ext cx="13647691" cy="7792196"/>
            <a:chOff x="-2088000" y="-468000"/>
            <a:chExt cx="13654799" cy="7794000"/>
          </a:xfrm>
        </p:grpSpPr>
        <p:sp>
          <p:nvSpPr>
            <p:cNvPr id="19" name="Hilfslinien"/>
            <p:cNvSpPr txBox="1"/>
            <p:nvPr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1042388">
                <a:defRPr/>
              </a:pPr>
              <a:r>
                <a:rPr lang="en-GB" sz="1099" dirty="0">
                  <a:solidFill>
                    <a:srgbClr val="444444"/>
                  </a:solidFill>
                </a:rPr>
                <a:t>Show guides via menu bar: View // Show // tick Guides</a:t>
              </a:r>
            </a:p>
          </p:txBody>
        </p:sp>
        <p:sp>
          <p:nvSpPr>
            <p:cNvPr id="20" name="Fußzeile"/>
            <p:cNvSpPr txBox="1"/>
            <p:nvPr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 defTabSz="1042388">
                <a:defRPr/>
              </a:pPr>
              <a:r>
                <a:rPr lang="en-GB" sz="1099" dirty="0">
                  <a:solidFill>
                    <a:srgbClr val="444444"/>
                  </a:solidFill>
                </a:rPr>
                <a:t>Adjust footer (per slide or for several/all slides) via menu bar: Insert // Text // Header &amp; Footer</a:t>
              </a:r>
            </a:p>
          </p:txBody>
        </p:sp>
        <p:grpSp>
          <p:nvGrpSpPr>
            <p:cNvPr id="21" name="Hinweise links"/>
            <p:cNvGrpSpPr/>
            <p:nvPr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22" name="Folie Wechsel/Zurücksetzen/Textebenen"/>
              <p:cNvSpPr txBox="1"/>
              <p:nvPr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Reset the slide back to its </a:t>
                </a: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original form via menu bar:</a:t>
                </a: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Home // Slides // Reset</a:t>
                </a:r>
              </a:p>
              <a:p>
                <a:pPr algn="r"/>
                <a:endParaRPr lang="en-GB" sz="1099" dirty="0">
                  <a:solidFill>
                    <a:srgbClr val="444444"/>
                  </a:solidFill>
                </a:endParaRP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Change the slide layout </a:t>
                </a: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via menu bar:</a:t>
                </a: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Home // Slides // Layout</a:t>
                </a:r>
              </a:p>
              <a:p>
                <a:pPr algn="r"/>
                <a:endParaRPr lang="en-GB" sz="1099" dirty="0">
                  <a:solidFill>
                    <a:srgbClr val="444444"/>
                  </a:solidFill>
                </a:endParaRP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Change the text level</a:t>
                </a: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via menu bar: </a:t>
                </a:r>
                <a:br>
                  <a:rPr lang="en-GB" sz="1099" dirty="0">
                    <a:solidFill>
                      <a:srgbClr val="444444"/>
                    </a:solidFill>
                  </a:rPr>
                </a:br>
                <a:r>
                  <a:rPr lang="en-GB" sz="1099" dirty="0">
                    <a:solidFill>
                      <a:srgbClr val="444444"/>
                    </a:solidFill>
                  </a:rPr>
                  <a:t>Home // Paragraph // Increase/</a:t>
                </a: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Decrease List Level</a:t>
                </a:r>
              </a:p>
            </p:txBody>
          </p:sp>
          <p:grpSp>
            <p:nvGrpSpPr>
              <p:cNvPr id="23" name="Listenebenen"/>
              <p:cNvGrpSpPr/>
              <p:nvPr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24" name="Text // Listenebene erhöhen"/>
                <p:cNvSpPr txBox="1"/>
                <p:nvPr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r">
                    <a:defRPr/>
                  </a:pPr>
                  <a:r>
                    <a:rPr lang="en-GB" sz="999" dirty="0">
                      <a:solidFill>
                        <a:srgbClr val="444444"/>
                      </a:solidFill>
                    </a:rPr>
                    <a:t>Increase</a:t>
                  </a:r>
                </a:p>
                <a:p>
                  <a:pPr algn="r">
                    <a:defRPr/>
                  </a:pPr>
                  <a:r>
                    <a:rPr lang="en-GB" sz="999" dirty="0">
                      <a:solidFill>
                        <a:srgbClr val="444444"/>
                      </a:solidFill>
                    </a:rPr>
                    <a:t>List Level</a:t>
                  </a:r>
                </a:p>
              </p:txBody>
            </p:sp>
            <p:sp>
              <p:nvSpPr>
                <p:cNvPr id="37" name="Text // Listenebene verringern"/>
                <p:cNvSpPr txBox="1"/>
                <p:nvPr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r">
                    <a:defRPr/>
                  </a:pPr>
                  <a:r>
                    <a:rPr lang="en-GB" sz="999" dirty="0">
                      <a:solidFill>
                        <a:srgbClr val="444444"/>
                      </a:solidFill>
                    </a:rPr>
                    <a:t>Decrease </a:t>
                  </a:r>
                </a:p>
                <a:p>
                  <a:pPr algn="r">
                    <a:defRPr/>
                  </a:pPr>
                  <a:r>
                    <a:rPr lang="en-GB" sz="999" dirty="0">
                      <a:solidFill>
                        <a:srgbClr val="444444"/>
                      </a:solidFill>
                    </a:rPr>
                    <a:t>List Level</a:t>
                  </a:r>
                </a:p>
              </p:txBody>
            </p:sp>
            <p:pic>
              <p:nvPicPr>
                <p:cNvPr id="38" name="Listenebene erhöhen"/>
                <p:cNvPicPr>
                  <a:picLocks noChangeAspect="1"/>
                </p:cNvPicPr>
                <p:nvPr/>
              </p:nvPicPr>
              <p:blipFill>
                <a:blip r:embed="rId2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39" name="Listenebene verringern"/>
                <p:cNvPicPr>
                  <a:picLocks noChangeAspect="1"/>
                </p:cNvPicPr>
                <p:nvPr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pic>
        <p:nvPicPr>
          <p:cNvPr id="36" name="Buerstung O_L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white">
          <a:xfrm>
            <a:off x="-1" y="0"/>
            <a:ext cx="12190451" cy="6487838"/>
          </a:xfrm>
          <a:prstGeom prst="rect">
            <a:avLst/>
          </a:prstGeom>
        </p:spPr>
      </p:pic>
      <p:sp>
        <p:nvSpPr>
          <p:cNvPr id="25" name="Daimler AG (Wortmarke)"/>
          <p:cNvSpPr>
            <a:spLocks noChangeArrowheads="1"/>
          </p:cNvSpPr>
          <p:nvPr/>
        </p:nvSpPr>
        <p:spPr bwMode="auto">
          <a:xfrm>
            <a:off x="629672" y="6564880"/>
            <a:ext cx="2086913" cy="2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r>
              <a:rPr lang="en-GB" sz="1199" dirty="0">
                <a:solidFill>
                  <a:prstClr val="black"/>
                </a:solidFill>
                <a:latin typeface="CorpoS"/>
                <a:cs typeface="Daimler CS"/>
              </a:rPr>
              <a:t>Daimler AG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28323" y="288859"/>
            <a:ext cx="10932455" cy="1025684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Image-chart, Headline </a:t>
            </a:r>
            <a:r>
              <a:rPr lang="en-GB" noProof="0" dirty="0"/>
              <a:t>CorpoS </a:t>
            </a:r>
            <a:r>
              <a:rPr lang="en-GB" dirty="0"/>
              <a:t>(Body) 35 pt. </a:t>
            </a:r>
            <a:br>
              <a:rPr lang="en-GB" dirty="0"/>
            </a:br>
            <a:r>
              <a:rPr lang="en-GB" dirty="0"/>
              <a:t>in two or more lines of text</a:t>
            </a: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DI-Lama Project Update | Phani Sarraju | 4.Sep.2018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>
                <a:solidFill>
                  <a:prstClr val="black"/>
                </a:solidFill>
              </a:rPr>
              <a:t>Page </a:t>
            </a:r>
            <a:fld id="{52531704-8F80-415D-BD2B-6B9991AE822F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3427197"/>
            <a:ext cx="12190451" cy="3059413"/>
          </a:xfrm>
          <a:custGeom>
            <a:avLst/>
            <a:gdLst>
              <a:gd name="connsiteX0" fmla="*/ 0 w 12196800"/>
              <a:gd name="connsiteY0" fmla="*/ 0 h 3060123"/>
              <a:gd name="connsiteX1" fmla="*/ 12196800 w 12196800"/>
              <a:gd name="connsiteY1" fmla="*/ 0 h 3060123"/>
              <a:gd name="connsiteX2" fmla="*/ 12196800 w 12196800"/>
              <a:gd name="connsiteY2" fmla="*/ 3060123 h 3060123"/>
              <a:gd name="connsiteX3" fmla="*/ 0 w 12196800"/>
              <a:gd name="connsiteY3" fmla="*/ 3060123 h 3060123"/>
              <a:gd name="connsiteX4" fmla="*/ 0 w 12196800"/>
              <a:gd name="connsiteY4" fmla="*/ 0 h 3060123"/>
              <a:gd name="connsiteX0" fmla="*/ 0 w 12196800"/>
              <a:gd name="connsiteY0" fmla="*/ 0 h 3060123"/>
              <a:gd name="connsiteX1" fmla="*/ 12196800 w 12196800"/>
              <a:gd name="connsiteY1" fmla="*/ 0 h 3060123"/>
              <a:gd name="connsiteX2" fmla="*/ 12196800 w 12196800"/>
              <a:gd name="connsiteY2" fmla="*/ 3060123 h 3060123"/>
              <a:gd name="connsiteX3" fmla="*/ 0 w 12196800"/>
              <a:gd name="connsiteY3" fmla="*/ 3060123 h 3060123"/>
              <a:gd name="connsiteX4" fmla="*/ 0 w 12196800"/>
              <a:gd name="connsiteY4" fmla="*/ 1070191 h 3060123"/>
              <a:gd name="connsiteX5" fmla="*/ 0 w 12196800"/>
              <a:gd name="connsiteY5" fmla="*/ 0 h 3060123"/>
              <a:gd name="connsiteX0" fmla="*/ 0 w 12196800"/>
              <a:gd name="connsiteY0" fmla="*/ 1070191 h 3060123"/>
              <a:gd name="connsiteX1" fmla="*/ 12196800 w 12196800"/>
              <a:gd name="connsiteY1" fmla="*/ 0 h 3060123"/>
              <a:gd name="connsiteX2" fmla="*/ 12196800 w 12196800"/>
              <a:gd name="connsiteY2" fmla="*/ 3060123 h 3060123"/>
              <a:gd name="connsiteX3" fmla="*/ 0 w 12196800"/>
              <a:gd name="connsiteY3" fmla="*/ 3060123 h 3060123"/>
              <a:gd name="connsiteX4" fmla="*/ 0 w 12196800"/>
              <a:gd name="connsiteY4" fmla="*/ 1070191 h 30601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6800" h="3060123">
                <a:moveTo>
                  <a:pt x="0" y="1070191"/>
                </a:moveTo>
                <a:lnTo>
                  <a:pt x="12196800" y="0"/>
                </a:lnTo>
                <a:lnTo>
                  <a:pt x="12196800" y="3060123"/>
                </a:lnTo>
                <a:lnTo>
                  <a:pt x="0" y="3060123"/>
                </a:lnTo>
                <a:lnTo>
                  <a:pt x="0" y="1070191"/>
                </a:lnTo>
                <a:close/>
              </a:path>
            </a:pathLst>
          </a:custGeom>
          <a:noFill/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>Insert picture</a:t>
            </a:r>
          </a:p>
        </p:txBody>
      </p:sp>
    </p:spTree>
    <p:extLst>
      <p:ext uri="{BB962C8B-B14F-4D97-AF65-F5344CB8AC3E}">
        <p14:creationId xmlns:p14="http://schemas.microsoft.com/office/powerpoint/2010/main" val="40352217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88">
          <p15:clr>
            <a:srgbClr val="FBAE40"/>
          </p15:clr>
        </p15:guide>
      </p15:sldGuideLst>
    </p:ext>
  </p:extLst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E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5406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lowchart: Manual Input 7"/>
          <p:cNvSpPr/>
          <p:nvPr userDrawn="1"/>
        </p:nvSpPr>
        <p:spPr>
          <a:xfrm>
            <a:off x="0" y="3610066"/>
            <a:ext cx="12192000" cy="3247934"/>
          </a:xfrm>
          <a:prstGeom prst="flowChartManualInput">
            <a:avLst/>
          </a:prstGeom>
          <a:solidFill>
            <a:srgbClr val="E6E6E6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9E9E9E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99" dirty="0" err="1" smtClean="0">
              <a:solidFill>
                <a:prstClr val="white"/>
              </a:solidFill>
            </a:endParaRPr>
          </a:p>
        </p:txBody>
      </p:sp>
      <p:sp>
        <p:nvSpPr>
          <p:cNvPr id="9" name="Flowchart: Manual Input 8"/>
          <p:cNvSpPr/>
          <p:nvPr userDrawn="1"/>
        </p:nvSpPr>
        <p:spPr>
          <a:xfrm flipH="1" flipV="1">
            <a:off x="0" y="0"/>
            <a:ext cx="12192000" cy="4532850"/>
          </a:xfrm>
          <a:prstGeom prst="flowChartManualInput">
            <a:avLst/>
          </a:prstGeom>
          <a:solidFill>
            <a:srgbClr val="00566D"/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99" dirty="0" err="1" smtClean="0">
              <a:solidFill>
                <a:prstClr val="white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804" t="9756" r="6727" b="4972"/>
          <a:stretch/>
        </p:blipFill>
        <p:spPr>
          <a:xfrm>
            <a:off x="131974" y="3490768"/>
            <a:ext cx="3789529" cy="2442689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956" r="13359"/>
          <a:stretch>
            <a:fillRect/>
          </a:stretch>
        </p:blipFill>
        <p:spPr>
          <a:xfrm>
            <a:off x="9405114" y="3500651"/>
            <a:ext cx="2691445" cy="2418386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8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6741655" y="3672592"/>
            <a:ext cx="2935899" cy="2320471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40885" y="3474457"/>
            <a:ext cx="3570966" cy="2833362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10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04555" y="3766182"/>
            <a:ext cx="2312483" cy="2541637"/>
          </a:xfrm>
          <a:prstGeom prst="rect">
            <a:avLst/>
          </a:prstGeom>
        </p:spPr>
      </p:pic>
      <p:pic>
        <p:nvPicPr>
          <p:cNvPr id="17" name="Wortmarke DAIMLER" descr="Daimler_RGB_100mm.png"/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1254" y="791617"/>
            <a:ext cx="3417231" cy="462594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4648" y="613010"/>
            <a:ext cx="786654" cy="786882"/>
          </a:xfrm>
          <a:prstGeom prst="rect">
            <a:avLst/>
          </a:prstGeom>
        </p:spPr>
      </p:pic>
      <p:pic>
        <p:nvPicPr>
          <p:cNvPr id="20" name="Picture 3" descr="C:\Users\rajarrv\AppData\Local\Microsoft\Windows\Temporary Internet Files\Content.Outlook\3CY2KM7L\B-No Background FORCE LOGO.png"/>
          <p:cNvPicPr>
            <a:picLocks noChangeAspect="1" noChangeArrowheads="1"/>
          </p:cNvPicPr>
          <p:nvPr userDrawn="1"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419611" y="692628"/>
            <a:ext cx="2166326" cy="6188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636351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6430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4" name="Group 143"/>
          <p:cNvGrpSpPr/>
          <p:nvPr userDrawn="1"/>
        </p:nvGrpSpPr>
        <p:grpSpPr>
          <a:xfrm>
            <a:off x="-598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>
                <a:solidFill>
                  <a:prstClr val="black"/>
                </a:solidFill>
                <a:sym typeface="CorpoS" pitchFamily="2" charset="0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486">
                <a:defRPr/>
              </a:pPr>
              <a:endParaRPr lang="en-US" sz="1798" dirty="0">
                <a:solidFill>
                  <a:srgbClr val="575757"/>
                </a:solidFill>
                <a:sym typeface="CorpoS" pitchFamily="2" charset="0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>
                <a:solidFill>
                  <a:prstClr val="black"/>
                </a:solidFill>
                <a:sym typeface="CorpoS" pitchFamily="2" charset="0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>
                <a:solidFill>
                  <a:prstClr val="black"/>
                </a:solidFill>
                <a:sym typeface="CorpoS" pitchFamily="2" charset="0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999"/>
                </a:spcAft>
              </a:pPr>
              <a:endParaRPr lang="en-US" sz="1198" dirty="0">
                <a:solidFill>
                  <a:prstClr val="white"/>
                </a:solidFill>
                <a:sym typeface="CorpoS" pitchFamily="2" charset="0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defTabSz="913486">
                <a:lnSpc>
                  <a:spcPct val="90000"/>
                </a:lnSpc>
                <a:defRPr/>
              </a:pPr>
              <a:r>
                <a:rPr lang="en-US" sz="999" dirty="0">
                  <a:solidFill>
                    <a:prstClr val="white">
                      <a:lumMod val="50000"/>
                    </a:prstClr>
                  </a:solidFill>
                  <a:sym typeface="CorpoS" pitchFamily="2" charset="0"/>
                </a:rPr>
                <a:t>1. xxxx  2. xxxx  3. xxxx</a:t>
              </a:r>
            </a:p>
            <a:p>
              <a:pPr defTabSz="913486">
                <a:lnSpc>
                  <a:spcPct val="90000"/>
                </a:lnSpc>
                <a:defRPr/>
              </a:pPr>
              <a:r>
                <a:rPr lang="en-US" sz="999" dirty="0">
                  <a:solidFill>
                    <a:prstClr val="white">
                      <a:lumMod val="50000"/>
                    </a:prstClr>
                  </a:solidFill>
                  <a:sym typeface="CorpoS" pitchFamily="2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 defTabSz="913486">
                <a:lnSpc>
                  <a:spcPct val="90000"/>
                </a:lnSpc>
                <a:defRPr/>
              </a:pPr>
              <a:r>
                <a:rPr lang="en-US" sz="999" dirty="0">
                  <a:solidFill>
                    <a:prstClr val="white">
                      <a:lumMod val="50000"/>
                    </a:prstClr>
                  </a:solidFill>
                  <a:sym typeface="CorpoS" pitchFamily="2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52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24856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/ content/ Headline 2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10933350" cy="664284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Headline in CorpoS (Body) 35 pt.</a:t>
            </a:r>
            <a:br>
              <a:rPr lang="en-GB" noProof="0" dirty="0" smtClean="0"/>
            </a:br>
            <a:r>
              <a:rPr lang="en-GB" noProof="0" dirty="0" smtClean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FORCE “Touch and Feel” for SC Minami Kanto and Koshin / FORCE WS 2.0 /16/10/2018</a:t>
            </a:r>
            <a:endParaRPr lang="en-GB" dirty="0" smtClean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629909" y="1504602"/>
            <a:ext cx="10930594" cy="4983236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noProof="0" dirty="0" smtClean="0"/>
              <a:t>Insert content or text in CorpoS (Body) 24 pt. (Mark-ups in Bold) // for conclusion, summary or short highlight: Home // Paragraph// Increase Li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 (Conclusion, summary or short highlight)</a:t>
            </a:r>
          </a:p>
          <a:p>
            <a:pPr lvl="4"/>
            <a:r>
              <a:rPr lang="en-GB" dirty="0" smtClean="0"/>
              <a:t>Fifth level</a:t>
            </a:r>
          </a:p>
          <a:p>
            <a:pPr lvl="5"/>
            <a:r>
              <a:rPr lang="en-GB" dirty="0" smtClean="0"/>
              <a:t>Sixth level</a:t>
            </a:r>
          </a:p>
          <a:p>
            <a:pPr lvl="6"/>
            <a:r>
              <a:rPr lang="en-GB" dirty="0" smtClean="0"/>
              <a:t>Sevens level</a:t>
            </a:r>
          </a:p>
          <a:p>
            <a:pPr lvl="7"/>
            <a:r>
              <a:rPr lang="en-GB" dirty="0" smtClean="0"/>
              <a:t>Eight level</a:t>
            </a:r>
          </a:p>
          <a:p>
            <a:pPr lvl="8"/>
            <a:r>
              <a:rPr lang="en-GB" dirty="0" smtClean="0"/>
              <a:t>Ninth level</a:t>
            </a: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 smtClean="0"/>
              <a:t> </a:t>
            </a:r>
            <a:fld id="{52531704-8F80-415D-BD2B-6B9991AE822F}" type="slidenum">
              <a:rPr lang="en-GB" smtClean="0"/>
              <a:pPr algn="r"/>
              <a:t>‹#›</a:t>
            </a:fld>
            <a:endParaRPr lang="en-GB" dirty="0"/>
          </a:p>
        </p:txBody>
      </p:sp>
      <p:sp>
        <p:nvSpPr>
          <p:cNvPr id="8" name="Oval 1"/>
          <p:cNvSpPr>
            <a:spLocks noChangeArrowheads="1"/>
          </p:cNvSpPr>
          <p:nvPr userDrawn="1"/>
        </p:nvSpPr>
        <p:spPr bwMode="gray">
          <a:xfrm>
            <a:off x="125107" y="76358"/>
            <a:ext cx="226226" cy="226292"/>
          </a:xfrm>
          <a:prstGeom prst="ellipse">
            <a:avLst/>
          </a:prstGeom>
          <a:solidFill>
            <a:srgbClr val="00677F"/>
          </a:solidFill>
          <a:ln w="9525" algn="ctr">
            <a:solidFill>
              <a:srgbClr val="00677F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endParaRPr lang="en-US" sz="1099" b="1" dirty="0">
              <a:solidFill>
                <a:srgbClr val="FFFFFF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137800" y="76359"/>
            <a:ext cx="200839" cy="223003"/>
          </a:xfrm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 sz="1199" b="1">
                <a:solidFill>
                  <a:schemeClr val="bg1"/>
                </a:solidFill>
              </a:defRPr>
            </a:lvl1pPr>
            <a:lvl2pPr marL="237481" indent="0">
              <a:buNone/>
              <a:defRPr sz="1199" b="1">
                <a:solidFill>
                  <a:schemeClr val="bg1"/>
                </a:solidFill>
              </a:defRPr>
            </a:lvl2pPr>
            <a:lvl3pPr marL="474962" indent="0">
              <a:buNone/>
              <a:defRPr sz="1199" b="1"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1199" b="1"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1199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418337" y="-56045"/>
            <a:ext cx="2132489" cy="380118"/>
          </a:xfrm>
        </p:spPr>
        <p:txBody>
          <a:bodyPr anchor="ctr"/>
          <a:lstStyle>
            <a:lvl1pPr marL="0" indent="0">
              <a:buNone/>
              <a:defRPr lang="en-US" sz="1199" kern="1200" dirty="0" smtClean="0">
                <a:solidFill>
                  <a:srgbClr val="707070"/>
                </a:solidFill>
                <a:latin typeface="+mn-lt"/>
                <a:ea typeface="+mn-ea"/>
                <a:cs typeface="Daimler CS"/>
              </a:defRPr>
            </a:lvl1pPr>
            <a:lvl2pPr marL="237481" indent="0">
              <a:buNone/>
              <a:defRPr lang="en-US" sz="1199" kern="1200" dirty="0" smtClean="0">
                <a:solidFill>
                  <a:srgbClr val="707070"/>
                </a:solidFill>
                <a:latin typeface="+mn-lt"/>
                <a:ea typeface="+mn-ea"/>
                <a:cs typeface="Daimler CS"/>
              </a:defRPr>
            </a:lvl2pPr>
            <a:lvl3pPr marL="474962" indent="0">
              <a:buNone/>
              <a:defRPr lang="en-US" sz="1199" kern="1200" dirty="0" smtClean="0">
                <a:solidFill>
                  <a:srgbClr val="707070"/>
                </a:solidFill>
                <a:latin typeface="+mn-lt"/>
                <a:ea typeface="+mn-ea"/>
                <a:cs typeface="Daimler CS"/>
              </a:defRPr>
            </a:lvl3pPr>
            <a:lvl4pPr marL="0" indent="0">
              <a:buFont typeface="Arial" panose="020B0604020202020204" pitchFamily="34" charset="0"/>
              <a:buNone/>
              <a:defRPr lang="en-US" sz="1199" kern="1200" dirty="0" smtClean="0">
                <a:solidFill>
                  <a:srgbClr val="707070"/>
                </a:solidFill>
                <a:latin typeface="+mn-lt"/>
                <a:ea typeface="+mn-ea"/>
                <a:cs typeface="Daimler CS"/>
              </a:defRPr>
            </a:lvl4pPr>
            <a:lvl5pPr marL="0" indent="0">
              <a:buFont typeface="Arial" panose="020B0604020202020204" pitchFamily="34" charset="0"/>
              <a:buNone/>
              <a:defRPr lang="en-US" sz="1199" kern="1200" dirty="0">
                <a:solidFill>
                  <a:srgbClr val="707070"/>
                </a:solidFill>
                <a:latin typeface="+mn-lt"/>
                <a:ea typeface="+mn-ea"/>
                <a:cs typeface="Daimler 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3163169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  <p15:guide id="3" orient="horz" pos="950">
          <p15:clr>
            <a:srgbClr val="FBAE40"/>
          </p15:clr>
        </p15:guide>
      </p15:sldGuideLst>
    </p:ext>
  </p:extLst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/ Headline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7454" name="think-cell スライド" r:id="rId4" imgW="216" imgH="216" progId="TCLayout.ActiveDocument.1">
                  <p:embed/>
                </p:oleObj>
              </mc:Choice>
              <mc:Fallback>
                <p:oleObj name="think-cell スライド" r:id="rId4" imgW="216" imgH="216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10933350" cy="664284"/>
          </a:xfrm>
        </p:spPr>
        <p:txBody>
          <a:bodyPr/>
          <a:lstStyle/>
          <a:p>
            <a:r>
              <a:rPr lang="en-GB" noProof="0" dirty="0" smtClean="0"/>
              <a:t>Headline in CorpoS (Body) 35 pt.</a:t>
            </a:r>
            <a:br>
              <a:rPr lang="en-GB" noProof="0" dirty="0" smtClean="0"/>
            </a:br>
            <a:r>
              <a:rPr lang="en-GB" noProof="0" dirty="0" smtClean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FORCE “Touch and Feel” for SC Minami Kanto and Koshin / FORCE WS 2.0 /16/10/2018</a:t>
            </a:r>
            <a:endParaRPr lang="en-GB" dirty="0" smtClean="0"/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 smtClean="0"/>
              <a:t> </a:t>
            </a:r>
            <a:fld id="{52531704-8F80-415D-BD2B-6B9991AE822F}" type="slidenum">
              <a:rPr lang="en-GB" smtClean="0"/>
              <a:pPr algn="r"/>
              <a:t>‹#›</a:t>
            </a:fld>
            <a:endParaRPr lang="en-GB" dirty="0"/>
          </a:p>
        </p:txBody>
      </p:sp>
      <p:sp>
        <p:nvSpPr>
          <p:cNvPr id="6" name="Oval 1"/>
          <p:cNvSpPr>
            <a:spLocks noChangeArrowheads="1"/>
          </p:cNvSpPr>
          <p:nvPr userDrawn="1"/>
        </p:nvSpPr>
        <p:spPr bwMode="gray">
          <a:xfrm>
            <a:off x="137799" y="76358"/>
            <a:ext cx="226226" cy="226292"/>
          </a:xfrm>
          <a:prstGeom prst="ellipse">
            <a:avLst/>
          </a:prstGeom>
          <a:solidFill>
            <a:srgbClr val="00677F"/>
          </a:solidFill>
          <a:ln w="9525" algn="ctr">
            <a:solidFill>
              <a:srgbClr val="00677F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endParaRPr lang="en-US" sz="1099" b="1" dirty="0">
              <a:solidFill>
                <a:srgbClr val="FFFFFF"/>
              </a:solidFill>
            </a:endParaRP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154580" y="40220"/>
            <a:ext cx="192665" cy="298568"/>
          </a:xfrm>
        </p:spPr>
        <p:txBody>
          <a:bodyPr anchor="ctr"/>
          <a:lstStyle>
            <a:lvl1pPr marL="0" indent="0" algn="ctr">
              <a:lnSpc>
                <a:spcPts val="1399"/>
              </a:lnSpc>
              <a:buNone/>
              <a:defRPr sz="1199" b="1">
                <a:solidFill>
                  <a:schemeClr val="bg1"/>
                </a:solidFill>
              </a:defRPr>
            </a:lvl1pPr>
            <a:lvl2pPr marL="237481" indent="0">
              <a:buNone/>
              <a:defRPr sz="1199" b="1">
                <a:solidFill>
                  <a:schemeClr val="bg1"/>
                </a:solidFill>
              </a:defRPr>
            </a:lvl2pPr>
            <a:lvl3pPr marL="474962" indent="0">
              <a:buNone/>
              <a:defRPr sz="1199" b="1"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1199" b="1"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1199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</a:t>
            </a:r>
            <a:endParaRPr lang="en-US" dirty="0"/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418337" y="-56045"/>
            <a:ext cx="2132489" cy="380118"/>
          </a:xfrm>
        </p:spPr>
        <p:txBody>
          <a:bodyPr anchor="ctr"/>
          <a:lstStyle>
            <a:lvl1pPr marL="0" indent="0">
              <a:buNone/>
              <a:defRPr lang="en-US" sz="1199" kern="1200" dirty="0" smtClean="0">
                <a:solidFill>
                  <a:srgbClr val="707070"/>
                </a:solidFill>
                <a:latin typeface="+mn-lt"/>
                <a:ea typeface="+mn-ea"/>
                <a:cs typeface="Daimler CS"/>
              </a:defRPr>
            </a:lvl1pPr>
            <a:lvl2pPr marL="237481" indent="0">
              <a:buNone/>
              <a:defRPr lang="en-US" sz="1199" kern="1200" dirty="0" smtClean="0">
                <a:solidFill>
                  <a:srgbClr val="707070"/>
                </a:solidFill>
                <a:latin typeface="+mn-lt"/>
                <a:ea typeface="+mn-ea"/>
                <a:cs typeface="Daimler CS"/>
              </a:defRPr>
            </a:lvl2pPr>
            <a:lvl3pPr marL="474962" indent="0">
              <a:buNone/>
              <a:defRPr lang="en-US" sz="1199" kern="1200" dirty="0" smtClean="0">
                <a:solidFill>
                  <a:srgbClr val="707070"/>
                </a:solidFill>
                <a:latin typeface="+mn-lt"/>
                <a:ea typeface="+mn-ea"/>
                <a:cs typeface="Daimler CS"/>
              </a:defRPr>
            </a:lvl3pPr>
            <a:lvl4pPr marL="0" indent="0">
              <a:buFont typeface="Arial" panose="020B0604020202020204" pitchFamily="34" charset="0"/>
              <a:buNone/>
              <a:defRPr lang="en-US" sz="1199" kern="1200" dirty="0" smtClean="0">
                <a:solidFill>
                  <a:srgbClr val="707070"/>
                </a:solidFill>
                <a:latin typeface="+mn-lt"/>
                <a:ea typeface="+mn-ea"/>
                <a:cs typeface="Daimler CS"/>
              </a:defRPr>
            </a:lvl4pPr>
            <a:lvl5pPr marL="0" indent="0">
              <a:buFont typeface="Arial" panose="020B0604020202020204" pitchFamily="34" charset="0"/>
              <a:buNone/>
              <a:defRPr lang="en-US" sz="1199" kern="1200" dirty="0">
                <a:solidFill>
                  <a:srgbClr val="707070"/>
                </a:solidFill>
                <a:latin typeface="+mn-lt"/>
                <a:ea typeface="+mn-ea"/>
                <a:cs typeface="Daimler 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929357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</p15:sldGuideLst>
    </p:ext>
  </p:extLst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lank/ Headline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78" name="think-cell スライド" r:id="rId4" imgW="216" imgH="216" progId="TCLayout.ActiveDocument.1">
                  <p:embed/>
                </p:oleObj>
              </mc:Choice>
              <mc:Fallback>
                <p:oleObj name="think-cell スライド" r:id="rId4" imgW="216" imgH="216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10933350" cy="664284"/>
          </a:xfrm>
        </p:spPr>
        <p:txBody>
          <a:bodyPr/>
          <a:lstStyle/>
          <a:p>
            <a:r>
              <a:rPr lang="en-GB" noProof="0" dirty="0" smtClean="0"/>
              <a:t>Headline in CorpoS (Body) 35 pt.</a:t>
            </a:r>
            <a:br>
              <a:rPr lang="en-GB" noProof="0" dirty="0" smtClean="0"/>
            </a:br>
            <a:r>
              <a:rPr lang="en-GB" noProof="0" dirty="0" smtClean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FORCE Rollout comprehensive plan / FORCE WS 2.0 / 12/7/2018</a:t>
            </a:r>
            <a:endParaRPr lang="en-GB" dirty="0" smtClean="0"/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 smtClean="0"/>
              <a:t> </a:t>
            </a:r>
            <a:fld id="{52531704-8F80-415D-BD2B-6B9991AE822F}" type="slidenum">
              <a:rPr lang="en-GB" smtClean="0"/>
              <a:pPr algn="r"/>
              <a:t>‹#›</a:t>
            </a:fld>
            <a:endParaRPr lang="en-GB" dirty="0"/>
          </a:p>
        </p:txBody>
      </p:sp>
      <p:sp>
        <p:nvSpPr>
          <p:cNvPr id="6" name="Oval 1"/>
          <p:cNvSpPr>
            <a:spLocks noChangeArrowheads="1"/>
          </p:cNvSpPr>
          <p:nvPr userDrawn="1"/>
        </p:nvSpPr>
        <p:spPr bwMode="gray">
          <a:xfrm>
            <a:off x="137799" y="76358"/>
            <a:ext cx="226226" cy="226292"/>
          </a:xfrm>
          <a:prstGeom prst="ellipse">
            <a:avLst/>
          </a:prstGeom>
          <a:solidFill>
            <a:srgbClr val="00677F"/>
          </a:solidFill>
          <a:ln w="9525" algn="ctr">
            <a:solidFill>
              <a:srgbClr val="00677F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endParaRPr lang="en-US" sz="1099" b="1" dirty="0">
              <a:solidFill>
                <a:srgbClr val="FFFFFF"/>
              </a:solidFill>
            </a:endParaRP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154580" y="40220"/>
            <a:ext cx="192665" cy="298568"/>
          </a:xfrm>
        </p:spPr>
        <p:txBody>
          <a:bodyPr anchor="ctr"/>
          <a:lstStyle>
            <a:lvl1pPr marL="0" indent="0" algn="ctr">
              <a:lnSpc>
                <a:spcPts val="1399"/>
              </a:lnSpc>
              <a:buNone/>
              <a:defRPr sz="1199" b="1">
                <a:solidFill>
                  <a:schemeClr val="bg1"/>
                </a:solidFill>
              </a:defRPr>
            </a:lvl1pPr>
            <a:lvl2pPr marL="237481" indent="0">
              <a:buNone/>
              <a:defRPr sz="1199" b="1">
                <a:solidFill>
                  <a:schemeClr val="bg1"/>
                </a:solidFill>
              </a:defRPr>
            </a:lvl2pPr>
            <a:lvl3pPr marL="474962" indent="0">
              <a:buNone/>
              <a:defRPr sz="1199" b="1"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1199" b="1"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1199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</a:t>
            </a:r>
            <a:endParaRPr lang="en-US" dirty="0"/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418337" y="-56045"/>
            <a:ext cx="2132489" cy="380118"/>
          </a:xfrm>
        </p:spPr>
        <p:txBody>
          <a:bodyPr anchor="ctr"/>
          <a:lstStyle>
            <a:lvl1pPr marL="0" indent="0">
              <a:buNone/>
              <a:defRPr lang="en-US" sz="1199" kern="1200" dirty="0" smtClean="0">
                <a:solidFill>
                  <a:srgbClr val="707070"/>
                </a:solidFill>
                <a:latin typeface="+mn-lt"/>
                <a:ea typeface="+mn-ea"/>
                <a:cs typeface="Daimler CS"/>
              </a:defRPr>
            </a:lvl1pPr>
            <a:lvl2pPr marL="237481" indent="0">
              <a:buNone/>
              <a:defRPr lang="en-US" sz="1199" kern="1200" dirty="0" smtClean="0">
                <a:solidFill>
                  <a:srgbClr val="707070"/>
                </a:solidFill>
                <a:latin typeface="+mn-lt"/>
                <a:ea typeface="+mn-ea"/>
                <a:cs typeface="Daimler CS"/>
              </a:defRPr>
            </a:lvl2pPr>
            <a:lvl3pPr marL="474962" indent="0">
              <a:buNone/>
              <a:defRPr lang="en-US" sz="1199" kern="1200" dirty="0" smtClean="0">
                <a:solidFill>
                  <a:srgbClr val="707070"/>
                </a:solidFill>
                <a:latin typeface="+mn-lt"/>
                <a:ea typeface="+mn-ea"/>
                <a:cs typeface="Daimler CS"/>
              </a:defRPr>
            </a:lvl3pPr>
            <a:lvl4pPr marL="0" indent="0">
              <a:buFont typeface="Arial" panose="020B0604020202020204" pitchFamily="34" charset="0"/>
              <a:buNone/>
              <a:defRPr lang="en-US" sz="1199" kern="1200" dirty="0" smtClean="0">
                <a:solidFill>
                  <a:srgbClr val="707070"/>
                </a:solidFill>
                <a:latin typeface="+mn-lt"/>
                <a:ea typeface="+mn-ea"/>
                <a:cs typeface="Daimler CS"/>
              </a:defRPr>
            </a:lvl4pPr>
            <a:lvl5pPr marL="0" indent="0">
              <a:buFont typeface="Arial" panose="020B0604020202020204" pitchFamily="34" charset="0"/>
              <a:buNone/>
              <a:defRPr lang="en-US" sz="1199" kern="1200" dirty="0">
                <a:solidFill>
                  <a:srgbClr val="707070"/>
                </a:solidFill>
                <a:latin typeface="+mn-lt"/>
                <a:ea typeface="+mn-ea"/>
                <a:cs typeface="Daimler 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3101155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</p15:sldGuideLst>
    </p:ext>
  </p:extLst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タイトルと表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527540" y="730250"/>
            <a:ext cx="11136923" cy="332142"/>
          </a:xfrm>
        </p:spPr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表プレースホルダ 2"/>
          <p:cNvSpPr>
            <a:spLocks noGrp="1"/>
          </p:cNvSpPr>
          <p:nvPr>
            <p:ph type="tbl" idx="1"/>
          </p:nvPr>
        </p:nvSpPr>
        <p:spPr>
          <a:xfrm>
            <a:off x="527540" y="1543050"/>
            <a:ext cx="11136923" cy="4910138"/>
          </a:xfrm>
        </p:spPr>
        <p:txBody>
          <a:bodyPr/>
          <a:lstStyle/>
          <a:p>
            <a:pPr lvl="0"/>
            <a:endParaRPr lang="ja-JP" altLang="en-US" noProof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B53D32F4-536C-48C0-8C66-5B6AFA324F04}" type="slidenum">
              <a:rPr lang="en-US" altLang="ja-JP"/>
              <a:pPr>
                <a:defRPr/>
              </a:pPr>
              <a:t>‹#›</a:t>
            </a:fld>
            <a:r>
              <a:rPr lang="en-US" altLang="ja-JP"/>
              <a:t>&lt;#-1&gt;</a:t>
            </a:r>
          </a:p>
        </p:txBody>
      </p:sp>
    </p:spTree>
    <p:extLst>
      <p:ext uri="{BB962C8B-B14F-4D97-AF65-F5344CB8AC3E}">
        <p14:creationId xmlns:p14="http://schemas.microsoft.com/office/powerpoint/2010/main" val="209353327"/>
      </p:ext>
    </p:extLst>
  </p:cSld>
  <p:clrMapOvr>
    <a:masterClrMapping/>
  </p:clrMapOvr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Blank/ Headline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10933350" cy="664284"/>
          </a:xfrm>
        </p:spPr>
        <p:txBody>
          <a:bodyPr/>
          <a:lstStyle/>
          <a:p>
            <a:r>
              <a:rPr lang="en-GB" noProof="0" dirty="0" smtClean="0"/>
              <a:t>Headline in CorpoS (Body) 35 pt.</a:t>
            </a:r>
            <a:br>
              <a:rPr lang="en-GB" noProof="0" dirty="0" smtClean="0"/>
            </a:br>
            <a:r>
              <a:rPr lang="en-GB" noProof="0" dirty="0" smtClean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WS2: TwoWorld scenarios - Summary report 2018/11/06</a:t>
            </a:r>
            <a:endParaRPr lang="en-GB" dirty="0" smtClean="0"/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 smtClean="0"/>
              <a:t> </a:t>
            </a:r>
            <a:fld id="{52531704-8F80-415D-BD2B-6B9991AE822F}" type="slidenum">
              <a:rPr lang="en-GB" smtClean="0"/>
              <a:pPr algn="r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4936999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</p15:sldGuideLst>
    </p:ext>
  </p:extLst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Blank/ Headline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10933350" cy="664284"/>
          </a:xfrm>
        </p:spPr>
        <p:txBody>
          <a:bodyPr/>
          <a:lstStyle/>
          <a:p>
            <a:r>
              <a:rPr lang="en-GB" noProof="0" dirty="0" smtClean="0"/>
              <a:t>Headline in CorpoS (Body) 35 pt.</a:t>
            </a:r>
            <a:br>
              <a:rPr lang="en-GB" noProof="0" dirty="0" smtClean="0"/>
            </a:br>
            <a:r>
              <a:rPr lang="en-GB" noProof="0" dirty="0" smtClean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WS2: TwoWorld scenarios - Summary report 2018/11/06</a:t>
            </a:r>
            <a:endParaRPr lang="en-GB" dirty="0" smtClean="0"/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 smtClean="0"/>
              <a:t> </a:t>
            </a:r>
            <a:fld id="{52531704-8F80-415D-BD2B-6B9991AE822F}" type="slidenum">
              <a:rPr lang="en-GB" smtClean="0"/>
              <a:pPr algn="r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2299655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</p15:sldGuideLst>
    </p:ext>
  </p:extLst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Blank/ Headline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10933350" cy="664284"/>
          </a:xfrm>
        </p:spPr>
        <p:txBody>
          <a:bodyPr/>
          <a:lstStyle/>
          <a:p>
            <a:r>
              <a:rPr lang="en-GB" noProof="0" dirty="0" smtClean="0"/>
              <a:t>Headline in CorpoS (Body) 35 pt.</a:t>
            </a:r>
            <a:br>
              <a:rPr lang="en-GB" noProof="0" dirty="0" smtClean="0"/>
            </a:br>
            <a:r>
              <a:rPr lang="en-GB" noProof="0" dirty="0" smtClean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WS2: TwoWorld scenarios - Summary report 2018/11/06</a:t>
            </a:r>
            <a:endParaRPr lang="en-GB" dirty="0" smtClean="0"/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 smtClean="0"/>
              <a:t> </a:t>
            </a:r>
            <a:fld id="{52531704-8F80-415D-BD2B-6B9991AE822F}" type="slidenum">
              <a:rPr lang="en-GB" smtClean="0"/>
              <a:pPr algn="r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2657509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</p15:sldGuideLst>
    </p:ext>
  </p:extLst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Blank/ Headline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10933350" cy="664284"/>
          </a:xfrm>
        </p:spPr>
        <p:txBody>
          <a:bodyPr/>
          <a:lstStyle/>
          <a:p>
            <a:r>
              <a:rPr lang="en-GB" noProof="0" dirty="0" smtClean="0"/>
              <a:t>Headline in CorpoS (Body) 35 pt.</a:t>
            </a:r>
            <a:br>
              <a:rPr lang="en-GB" noProof="0" dirty="0" smtClean="0"/>
            </a:br>
            <a:r>
              <a:rPr lang="en-GB" noProof="0" dirty="0" smtClean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WS2: TwoWorld scenarios - Summary report 2018/11/06</a:t>
            </a:r>
            <a:endParaRPr lang="en-GB" dirty="0" smtClean="0"/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 smtClean="0"/>
              <a:t> </a:t>
            </a:r>
            <a:fld id="{52531704-8F80-415D-BD2B-6B9991AE822F}" type="slidenum">
              <a:rPr lang="en-GB" smtClean="0"/>
              <a:pPr algn="r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8451467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ext/ image brushing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Regieanweisungen"/>
          <p:cNvGrpSpPr/>
          <p:nvPr/>
        </p:nvGrpSpPr>
        <p:grpSpPr>
          <a:xfrm>
            <a:off x="-2086913" y="-467892"/>
            <a:ext cx="13647691" cy="7792196"/>
            <a:chOff x="-2088000" y="-468000"/>
            <a:chExt cx="13654799" cy="7794000"/>
          </a:xfrm>
        </p:grpSpPr>
        <p:sp>
          <p:nvSpPr>
            <p:cNvPr id="19" name="Hilfslinien"/>
            <p:cNvSpPr txBox="1"/>
            <p:nvPr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1042388">
                <a:defRPr/>
              </a:pPr>
              <a:r>
                <a:rPr lang="en-GB" sz="1099" dirty="0">
                  <a:solidFill>
                    <a:srgbClr val="444444"/>
                  </a:solidFill>
                </a:rPr>
                <a:t>Show guides via menu bar: View // Show // tick Guides</a:t>
              </a:r>
            </a:p>
          </p:txBody>
        </p:sp>
        <p:sp>
          <p:nvSpPr>
            <p:cNvPr id="20" name="Fußzeile"/>
            <p:cNvSpPr txBox="1"/>
            <p:nvPr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 defTabSz="1042388">
                <a:defRPr/>
              </a:pPr>
              <a:r>
                <a:rPr lang="en-GB" sz="1099" dirty="0">
                  <a:solidFill>
                    <a:srgbClr val="444444"/>
                  </a:solidFill>
                </a:rPr>
                <a:t>Adjust footer (per slide or for several/all slides) via menu bar: Insert // Text // Header &amp; Footer</a:t>
              </a:r>
            </a:p>
          </p:txBody>
        </p:sp>
        <p:grpSp>
          <p:nvGrpSpPr>
            <p:cNvPr id="21" name="Hinweise links"/>
            <p:cNvGrpSpPr/>
            <p:nvPr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22" name="Folie Wechsel/Zurücksetzen/Textebenen"/>
              <p:cNvSpPr txBox="1"/>
              <p:nvPr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Reset the slide back to its </a:t>
                </a: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original form via menu bar:</a:t>
                </a: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Home // Slides // Reset</a:t>
                </a:r>
              </a:p>
              <a:p>
                <a:pPr algn="r"/>
                <a:endParaRPr lang="en-GB" sz="1099" dirty="0">
                  <a:solidFill>
                    <a:srgbClr val="444444"/>
                  </a:solidFill>
                </a:endParaRP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Change the slide layout </a:t>
                </a: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via menu bar:</a:t>
                </a: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Home // Slides // Layout</a:t>
                </a:r>
              </a:p>
              <a:p>
                <a:pPr algn="r"/>
                <a:endParaRPr lang="en-GB" sz="1099" dirty="0">
                  <a:solidFill>
                    <a:srgbClr val="444444"/>
                  </a:solidFill>
                </a:endParaRP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Change the text level</a:t>
                </a: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via menu bar: </a:t>
                </a:r>
                <a:br>
                  <a:rPr lang="en-GB" sz="1099" dirty="0">
                    <a:solidFill>
                      <a:srgbClr val="444444"/>
                    </a:solidFill>
                  </a:rPr>
                </a:br>
                <a:r>
                  <a:rPr lang="en-GB" sz="1099" dirty="0">
                    <a:solidFill>
                      <a:srgbClr val="444444"/>
                    </a:solidFill>
                  </a:rPr>
                  <a:t>Home // Paragraph // Increase/</a:t>
                </a: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Decrease List Level</a:t>
                </a:r>
              </a:p>
            </p:txBody>
          </p:sp>
          <p:grpSp>
            <p:nvGrpSpPr>
              <p:cNvPr id="23" name="Listenebenen"/>
              <p:cNvGrpSpPr/>
              <p:nvPr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24" name="Text // Listenebene erhöhen"/>
                <p:cNvSpPr txBox="1"/>
                <p:nvPr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r">
                    <a:defRPr/>
                  </a:pPr>
                  <a:r>
                    <a:rPr lang="en-GB" sz="999" dirty="0">
                      <a:solidFill>
                        <a:srgbClr val="444444"/>
                      </a:solidFill>
                    </a:rPr>
                    <a:t>Increase</a:t>
                  </a:r>
                </a:p>
                <a:p>
                  <a:pPr algn="r">
                    <a:defRPr/>
                  </a:pPr>
                  <a:r>
                    <a:rPr lang="en-GB" sz="999" dirty="0">
                      <a:solidFill>
                        <a:srgbClr val="444444"/>
                      </a:solidFill>
                    </a:rPr>
                    <a:t>List Level</a:t>
                  </a:r>
                </a:p>
              </p:txBody>
            </p:sp>
            <p:sp>
              <p:nvSpPr>
                <p:cNvPr id="37" name="Text // Listenebene verringern"/>
                <p:cNvSpPr txBox="1"/>
                <p:nvPr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r">
                    <a:defRPr/>
                  </a:pPr>
                  <a:r>
                    <a:rPr lang="en-GB" sz="999" dirty="0">
                      <a:solidFill>
                        <a:srgbClr val="444444"/>
                      </a:solidFill>
                    </a:rPr>
                    <a:t>Decrease </a:t>
                  </a:r>
                </a:p>
                <a:p>
                  <a:pPr algn="r">
                    <a:defRPr/>
                  </a:pPr>
                  <a:r>
                    <a:rPr lang="en-GB" sz="999" dirty="0">
                      <a:solidFill>
                        <a:srgbClr val="444444"/>
                      </a:solidFill>
                    </a:rPr>
                    <a:t>List Level</a:t>
                  </a:r>
                </a:p>
              </p:txBody>
            </p:sp>
            <p:pic>
              <p:nvPicPr>
                <p:cNvPr id="38" name="Listenebene erhöhen"/>
                <p:cNvPicPr>
                  <a:picLocks noChangeAspect="1"/>
                </p:cNvPicPr>
                <p:nvPr/>
              </p:nvPicPr>
              <p:blipFill>
                <a:blip r:embed="rId2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39" name="Listenebene verringern"/>
                <p:cNvPicPr>
                  <a:picLocks noChangeAspect="1"/>
                </p:cNvPicPr>
                <p:nvPr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pic>
        <p:nvPicPr>
          <p:cNvPr id="36" name="Buerstung O_S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white">
          <a:xfrm>
            <a:off x="0" y="-1"/>
            <a:ext cx="12190451" cy="6487839"/>
          </a:xfrm>
          <a:prstGeom prst="rect">
            <a:avLst/>
          </a:prstGeom>
        </p:spPr>
      </p:pic>
      <p:sp>
        <p:nvSpPr>
          <p:cNvPr id="25" name="Daimler AG (Wortmarke)"/>
          <p:cNvSpPr>
            <a:spLocks noChangeArrowheads="1"/>
          </p:cNvSpPr>
          <p:nvPr/>
        </p:nvSpPr>
        <p:spPr bwMode="auto">
          <a:xfrm>
            <a:off x="629672" y="6564880"/>
            <a:ext cx="2086913" cy="2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r>
              <a:rPr lang="en-GB" sz="1199" dirty="0">
                <a:solidFill>
                  <a:prstClr val="black"/>
                </a:solidFill>
                <a:latin typeface="CorpoS"/>
                <a:cs typeface="Daimler CS"/>
              </a:rPr>
              <a:t>Daimler AG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116" y="288857"/>
            <a:ext cx="10930662" cy="1151733"/>
          </a:xfrm>
          <a:custGeom>
            <a:avLst/>
            <a:gdLst>
              <a:gd name="connsiteX0" fmla="*/ 0 w 10936355"/>
              <a:gd name="connsiteY0" fmla="*/ 0 h 1152000"/>
              <a:gd name="connsiteX1" fmla="*/ 10936355 w 10936355"/>
              <a:gd name="connsiteY1" fmla="*/ 0 h 1152000"/>
              <a:gd name="connsiteX2" fmla="*/ 10936355 w 10936355"/>
              <a:gd name="connsiteY2" fmla="*/ 1152000 h 1152000"/>
              <a:gd name="connsiteX3" fmla="*/ 0 w 10936355"/>
              <a:gd name="connsiteY3" fmla="*/ 1152000 h 1152000"/>
              <a:gd name="connsiteX4" fmla="*/ 0 w 10936355"/>
              <a:gd name="connsiteY4" fmla="*/ 0 h 1152000"/>
              <a:gd name="connsiteX0" fmla="*/ 0 w 10936355"/>
              <a:gd name="connsiteY0" fmla="*/ 0 h 1152000"/>
              <a:gd name="connsiteX1" fmla="*/ 10936355 w 10936355"/>
              <a:gd name="connsiteY1" fmla="*/ 0 h 1152000"/>
              <a:gd name="connsiteX2" fmla="*/ 10932906 w 10936355"/>
              <a:gd name="connsiteY2" fmla="*/ 695326 h 1152000"/>
              <a:gd name="connsiteX3" fmla="*/ 10936355 w 10936355"/>
              <a:gd name="connsiteY3" fmla="*/ 1152000 h 1152000"/>
              <a:gd name="connsiteX4" fmla="*/ 0 w 10936355"/>
              <a:gd name="connsiteY4" fmla="*/ 1152000 h 1152000"/>
              <a:gd name="connsiteX5" fmla="*/ 0 w 10936355"/>
              <a:gd name="connsiteY5" fmla="*/ 0 h 1152000"/>
              <a:gd name="connsiteX0" fmla="*/ 0 w 10936355"/>
              <a:gd name="connsiteY0" fmla="*/ 0 h 1152000"/>
              <a:gd name="connsiteX1" fmla="*/ 10936355 w 10936355"/>
              <a:gd name="connsiteY1" fmla="*/ 0 h 1152000"/>
              <a:gd name="connsiteX2" fmla="*/ 10932906 w 10936355"/>
              <a:gd name="connsiteY2" fmla="*/ 695326 h 1152000"/>
              <a:gd name="connsiteX3" fmla="*/ 10936355 w 10936355"/>
              <a:gd name="connsiteY3" fmla="*/ 1152000 h 1152000"/>
              <a:gd name="connsiteX4" fmla="*/ 4948164 w 10936355"/>
              <a:gd name="connsiteY4" fmla="*/ 1147990 h 1152000"/>
              <a:gd name="connsiteX5" fmla="*/ 0 w 10936355"/>
              <a:gd name="connsiteY5" fmla="*/ 1152000 h 1152000"/>
              <a:gd name="connsiteX6" fmla="*/ 0 w 10936355"/>
              <a:gd name="connsiteY6" fmla="*/ 0 h 1152000"/>
              <a:gd name="connsiteX0" fmla="*/ 0 w 10936355"/>
              <a:gd name="connsiteY0" fmla="*/ 0 h 1152000"/>
              <a:gd name="connsiteX1" fmla="*/ 10936355 w 10936355"/>
              <a:gd name="connsiteY1" fmla="*/ 0 h 1152000"/>
              <a:gd name="connsiteX2" fmla="*/ 10932906 w 10936355"/>
              <a:gd name="connsiteY2" fmla="*/ 695326 h 1152000"/>
              <a:gd name="connsiteX3" fmla="*/ 4948164 w 10936355"/>
              <a:gd name="connsiteY3" fmla="*/ 1147990 h 1152000"/>
              <a:gd name="connsiteX4" fmla="*/ 0 w 10936355"/>
              <a:gd name="connsiteY4" fmla="*/ 1152000 h 1152000"/>
              <a:gd name="connsiteX5" fmla="*/ 0 w 10936355"/>
              <a:gd name="connsiteY5" fmla="*/ 0 h 1152000"/>
              <a:gd name="connsiteX0" fmla="*/ 0 w 10936355"/>
              <a:gd name="connsiteY0" fmla="*/ 0 h 1152000"/>
              <a:gd name="connsiteX1" fmla="*/ 10936355 w 10936355"/>
              <a:gd name="connsiteY1" fmla="*/ 0 h 1152000"/>
              <a:gd name="connsiteX2" fmla="*/ 10932906 w 10936355"/>
              <a:gd name="connsiteY2" fmla="*/ 695326 h 1152000"/>
              <a:gd name="connsiteX3" fmla="*/ 4948164 w 10936355"/>
              <a:gd name="connsiteY3" fmla="*/ 1147990 h 1152000"/>
              <a:gd name="connsiteX4" fmla="*/ 0 w 10936355"/>
              <a:gd name="connsiteY4" fmla="*/ 1152000 h 1152000"/>
              <a:gd name="connsiteX5" fmla="*/ 0 w 10936355"/>
              <a:gd name="connsiteY5" fmla="*/ 0 h 115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936355" h="1152000">
                <a:moveTo>
                  <a:pt x="0" y="0"/>
                </a:moveTo>
                <a:lnTo>
                  <a:pt x="10936355" y="0"/>
                </a:lnTo>
                <a:cubicBezTo>
                  <a:pt x="10935205" y="231775"/>
                  <a:pt x="10934056" y="463551"/>
                  <a:pt x="10932906" y="695326"/>
                </a:cubicBezTo>
                <a:lnTo>
                  <a:pt x="4948164" y="1147990"/>
                </a:lnTo>
                <a:lnTo>
                  <a:pt x="0" y="1152000"/>
                </a:lnTo>
                <a:lnTo>
                  <a:pt x="0" y="0"/>
                </a:lnTo>
                <a:close/>
              </a:path>
            </a:pathLst>
          </a:custGeo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Image-chart, Headline </a:t>
            </a:r>
            <a:r>
              <a:rPr lang="en-GB" noProof="0" dirty="0"/>
              <a:t>CorpoS </a:t>
            </a:r>
            <a:r>
              <a:rPr lang="en-GB" dirty="0"/>
              <a:t>(Body) 35 pt. </a:t>
            </a:r>
            <a:br>
              <a:rPr lang="en-GB" dirty="0"/>
            </a:br>
            <a:r>
              <a:rPr lang="en-GB" dirty="0"/>
              <a:t>in two lines of text</a:t>
            </a: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DI-Lama Project Update | Phani Sarraju | 4.Sep.2018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>
                <a:solidFill>
                  <a:prstClr val="black"/>
                </a:solidFill>
              </a:rPr>
              <a:t>Page </a:t>
            </a:r>
            <a:fld id="{52531704-8F80-415D-BD2B-6B9991AE822F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149011"/>
            <a:ext cx="12190451" cy="5337600"/>
          </a:xfrm>
          <a:custGeom>
            <a:avLst/>
            <a:gdLst>
              <a:gd name="connsiteX0" fmla="*/ 0 w 12196800"/>
              <a:gd name="connsiteY0" fmla="*/ 0 h 5338836"/>
              <a:gd name="connsiteX1" fmla="*/ 12196800 w 12196800"/>
              <a:gd name="connsiteY1" fmla="*/ 0 h 5338836"/>
              <a:gd name="connsiteX2" fmla="*/ 12196800 w 12196800"/>
              <a:gd name="connsiteY2" fmla="*/ 5338836 h 5338836"/>
              <a:gd name="connsiteX3" fmla="*/ 0 w 12196800"/>
              <a:gd name="connsiteY3" fmla="*/ 5338836 h 5338836"/>
              <a:gd name="connsiteX4" fmla="*/ 0 w 12196800"/>
              <a:gd name="connsiteY4" fmla="*/ 0 h 5338836"/>
              <a:gd name="connsiteX0" fmla="*/ 0 w 12196800"/>
              <a:gd name="connsiteY0" fmla="*/ 0 h 5338836"/>
              <a:gd name="connsiteX1" fmla="*/ 12196800 w 12196800"/>
              <a:gd name="connsiteY1" fmla="*/ 0 h 5338836"/>
              <a:gd name="connsiteX2" fmla="*/ 12196800 w 12196800"/>
              <a:gd name="connsiteY2" fmla="*/ 5338836 h 5338836"/>
              <a:gd name="connsiteX3" fmla="*/ 0 w 12196800"/>
              <a:gd name="connsiteY3" fmla="*/ 5338836 h 5338836"/>
              <a:gd name="connsiteX4" fmla="*/ 0 w 12196800"/>
              <a:gd name="connsiteY4" fmla="*/ 1067667 h 5338836"/>
              <a:gd name="connsiteX5" fmla="*/ 0 w 12196800"/>
              <a:gd name="connsiteY5" fmla="*/ 0 h 5338836"/>
              <a:gd name="connsiteX0" fmla="*/ 0 w 12196800"/>
              <a:gd name="connsiteY0" fmla="*/ 1067667 h 5338836"/>
              <a:gd name="connsiteX1" fmla="*/ 12196800 w 12196800"/>
              <a:gd name="connsiteY1" fmla="*/ 0 h 5338836"/>
              <a:gd name="connsiteX2" fmla="*/ 12196800 w 12196800"/>
              <a:gd name="connsiteY2" fmla="*/ 5338836 h 5338836"/>
              <a:gd name="connsiteX3" fmla="*/ 0 w 12196800"/>
              <a:gd name="connsiteY3" fmla="*/ 5338836 h 5338836"/>
              <a:gd name="connsiteX4" fmla="*/ 0 w 12196800"/>
              <a:gd name="connsiteY4" fmla="*/ 1067667 h 53388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6800" h="5338836">
                <a:moveTo>
                  <a:pt x="0" y="1067667"/>
                </a:moveTo>
                <a:lnTo>
                  <a:pt x="12196800" y="0"/>
                </a:lnTo>
                <a:lnTo>
                  <a:pt x="12196800" y="5338836"/>
                </a:lnTo>
                <a:lnTo>
                  <a:pt x="0" y="5338836"/>
                </a:lnTo>
                <a:lnTo>
                  <a:pt x="0" y="1067667"/>
                </a:lnTo>
                <a:close/>
              </a:path>
            </a:pathLst>
          </a:custGeom>
          <a:noFill/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>Insert picture</a:t>
            </a:r>
          </a:p>
        </p:txBody>
      </p:sp>
    </p:spTree>
    <p:extLst>
      <p:ext uri="{BB962C8B-B14F-4D97-AF65-F5344CB8AC3E}">
        <p14:creationId xmlns:p14="http://schemas.microsoft.com/office/powerpoint/2010/main" val="10999885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88">
          <p15:clr>
            <a:srgbClr val="FBAE40"/>
          </p15:clr>
        </p15:guide>
      </p15:sldGuideLst>
    </p:ext>
  </p:extLst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Blank/ Headline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10933350" cy="664284"/>
          </a:xfrm>
        </p:spPr>
        <p:txBody>
          <a:bodyPr/>
          <a:lstStyle/>
          <a:p>
            <a:r>
              <a:rPr lang="en-GB" noProof="0" dirty="0" smtClean="0"/>
              <a:t>Headline in CorpoS (Body) 35 pt.</a:t>
            </a:r>
            <a:br>
              <a:rPr lang="en-GB" noProof="0" dirty="0" smtClean="0"/>
            </a:br>
            <a:r>
              <a:rPr lang="en-GB" noProof="0" dirty="0" smtClean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WS2: TwoWorld scenarios - Summary report 2018/11/06</a:t>
            </a:r>
            <a:endParaRPr lang="en-GB" dirty="0" smtClean="0"/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 smtClean="0"/>
              <a:t> </a:t>
            </a:r>
            <a:fld id="{52531704-8F80-415D-BD2B-6B9991AE822F}" type="slidenum">
              <a:rPr lang="en-GB" smtClean="0"/>
              <a:pPr algn="r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1343179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</p15:sldGuideLst>
    </p:ext>
  </p:extLst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Blank/ Headline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10933350" cy="664284"/>
          </a:xfrm>
        </p:spPr>
        <p:txBody>
          <a:bodyPr/>
          <a:lstStyle/>
          <a:p>
            <a:r>
              <a:rPr lang="en-GB" noProof="0" dirty="0" smtClean="0"/>
              <a:t>Headline in CorpoS (Body) 35 pt.</a:t>
            </a:r>
            <a:br>
              <a:rPr lang="en-GB" noProof="0" dirty="0" smtClean="0"/>
            </a:br>
            <a:r>
              <a:rPr lang="en-GB" noProof="0" dirty="0" smtClean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WS2: TwoWorld scenarios - Summary report 2018/11/06</a:t>
            </a:r>
            <a:endParaRPr lang="en-GB" dirty="0" smtClean="0"/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 smtClean="0"/>
              <a:t> </a:t>
            </a:r>
            <a:fld id="{52531704-8F80-415D-BD2B-6B9991AE822F}" type="slidenum">
              <a:rPr lang="en-GB" smtClean="0"/>
              <a:pPr algn="r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355497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</p15:sldGuideLst>
    </p:ext>
  </p:extLst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Blank/ Headline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10933350" cy="664284"/>
          </a:xfrm>
        </p:spPr>
        <p:txBody>
          <a:bodyPr/>
          <a:lstStyle/>
          <a:p>
            <a:r>
              <a:rPr lang="en-GB" noProof="0" dirty="0" smtClean="0"/>
              <a:t>Headline in CorpoS (Body) 35 pt.</a:t>
            </a:r>
            <a:br>
              <a:rPr lang="en-GB" noProof="0" dirty="0" smtClean="0"/>
            </a:br>
            <a:r>
              <a:rPr lang="en-GB" noProof="0" dirty="0" smtClean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WS2: TwoWorld scenarios - Summary report 2018/11/06</a:t>
            </a:r>
            <a:endParaRPr lang="en-GB" dirty="0" smtClean="0"/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 smtClean="0"/>
              <a:t> </a:t>
            </a:r>
            <a:fld id="{52531704-8F80-415D-BD2B-6B9991AE822F}" type="slidenum">
              <a:rPr lang="en-GB" smtClean="0"/>
              <a:pPr algn="r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3529017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</p15:sldGuideLst>
    </p:ext>
  </p:extLst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Blank/ Headline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10933350" cy="664284"/>
          </a:xfrm>
        </p:spPr>
        <p:txBody>
          <a:bodyPr/>
          <a:lstStyle/>
          <a:p>
            <a:r>
              <a:rPr lang="en-GB" noProof="0" dirty="0" smtClean="0"/>
              <a:t>Headline in CorpoS (Body) 35 pt.</a:t>
            </a:r>
            <a:br>
              <a:rPr lang="en-GB" noProof="0" dirty="0" smtClean="0"/>
            </a:br>
            <a:r>
              <a:rPr lang="en-GB" noProof="0" dirty="0" smtClean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WS2: TwoWorld scenarios - Summary report 2018/11/06</a:t>
            </a:r>
            <a:endParaRPr lang="en-GB" dirty="0" smtClean="0"/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 smtClean="0"/>
              <a:t> </a:t>
            </a:r>
            <a:fld id="{52531704-8F80-415D-BD2B-6B9991AE822F}" type="slidenum">
              <a:rPr lang="en-GB" smtClean="0"/>
              <a:pPr algn="r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0449842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</p15:sldGuideLst>
    </p:ext>
  </p:extLst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Blank/ Headline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10933350" cy="664284"/>
          </a:xfrm>
        </p:spPr>
        <p:txBody>
          <a:bodyPr/>
          <a:lstStyle/>
          <a:p>
            <a:r>
              <a:rPr lang="en-GB" noProof="0" dirty="0" smtClean="0"/>
              <a:t>Headline in CorpoS (Body) 35 pt.</a:t>
            </a:r>
            <a:br>
              <a:rPr lang="en-GB" noProof="0" dirty="0" smtClean="0"/>
            </a:br>
            <a:r>
              <a:rPr lang="en-GB" noProof="0" dirty="0" smtClean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WS2: TwoWorld scenarios - Summary report 2018/11/06</a:t>
            </a:r>
            <a:endParaRPr lang="en-GB" dirty="0" smtClean="0"/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 smtClean="0"/>
              <a:t> </a:t>
            </a:r>
            <a:fld id="{52531704-8F80-415D-BD2B-6B9991AE822F}" type="slidenum">
              <a:rPr lang="en-GB" smtClean="0"/>
              <a:pPr algn="r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8482095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</p15:sldGuideLst>
    </p:ext>
  </p:extLst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Blank/ Headline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10933350" cy="664284"/>
          </a:xfrm>
        </p:spPr>
        <p:txBody>
          <a:bodyPr/>
          <a:lstStyle/>
          <a:p>
            <a:r>
              <a:rPr lang="en-GB" noProof="0" dirty="0" smtClean="0"/>
              <a:t>Headline in CorpoS (Body) 35 pt.</a:t>
            </a:r>
            <a:br>
              <a:rPr lang="en-GB" noProof="0" dirty="0" smtClean="0"/>
            </a:br>
            <a:r>
              <a:rPr lang="en-GB" noProof="0" dirty="0" smtClean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WS2: TwoWorld scenarios - Summary report 2018/11/06</a:t>
            </a:r>
            <a:endParaRPr lang="en-GB" dirty="0" smtClean="0"/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 smtClean="0"/>
              <a:t> </a:t>
            </a:r>
            <a:fld id="{52531704-8F80-415D-BD2B-6B9991AE822F}" type="slidenum">
              <a:rPr lang="en-GB" smtClean="0"/>
              <a:pPr algn="r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2271794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</p15:sldGuideLst>
    </p:ext>
  </p:extLst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Blank/ Headline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10933350" cy="664284"/>
          </a:xfrm>
        </p:spPr>
        <p:txBody>
          <a:bodyPr/>
          <a:lstStyle/>
          <a:p>
            <a:r>
              <a:rPr lang="en-GB" noProof="0" dirty="0" smtClean="0"/>
              <a:t>Headline in CorpoS (Body) 35 pt.</a:t>
            </a:r>
            <a:br>
              <a:rPr lang="en-GB" noProof="0" dirty="0" smtClean="0"/>
            </a:br>
            <a:r>
              <a:rPr lang="en-GB" noProof="0" dirty="0" smtClean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WS2: TwoWorld scenarios - Summary report 2018/11/06</a:t>
            </a:r>
            <a:endParaRPr lang="en-GB" dirty="0" smtClean="0"/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 smtClean="0"/>
              <a:t> </a:t>
            </a:r>
            <a:fld id="{52531704-8F80-415D-BD2B-6B9991AE822F}" type="slidenum">
              <a:rPr lang="en-GB" smtClean="0"/>
              <a:pPr algn="r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633299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</p15:sldGuideLst>
    </p:ext>
  </p:extLst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ext/ image/ Headline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Regieanweisungen"/>
          <p:cNvGrpSpPr/>
          <p:nvPr userDrawn="1"/>
        </p:nvGrpSpPr>
        <p:grpSpPr>
          <a:xfrm>
            <a:off x="-2086913" y="-467892"/>
            <a:ext cx="13647691" cy="7792196"/>
            <a:chOff x="-2088000" y="-468000"/>
            <a:chExt cx="13654799" cy="7794000"/>
          </a:xfrm>
        </p:grpSpPr>
        <p:sp>
          <p:nvSpPr>
            <p:cNvPr id="20" name="Hilfslinien"/>
            <p:cNvSpPr txBox="1"/>
            <p:nvPr userDrawn="1"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99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how guides via menu bar: View // Show // tick Guides</a:t>
              </a:r>
            </a:p>
          </p:txBody>
        </p:sp>
        <p:sp>
          <p:nvSpPr>
            <p:cNvPr id="21" name="Fußzeile"/>
            <p:cNvSpPr txBox="1"/>
            <p:nvPr userDrawn="1"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1042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099" b="0" baseline="0" dirty="0" smtClean="0">
                  <a:solidFill>
                    <a:schemeClr val="accent5"/>
                  </a:solidFill>
                  <a:latin typeface="+mn-lt"/>
                </a:rPr>
                <a:t>Adjust footer (per slide or for several/all slides) via menu bar: Insert // Text // Header &amp; Footer</a:t>
              </a:r>
            </a:p>
          </p:txBody>
        </p:sp>
        <p:grpSp>
          <p:nvGrpSpPr>
            <p:cNvPr id="22" name="Hinweise links"/>
            <p:cNvGrpSpPr/>
            <p:nvPr userDrawn="1"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23" name="Folie Wechsel/Zurücksetzen/Textebenen"/>
              <p:cNvSpPr txBox="1"/>
              <p:nvPr userDrawn="1"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Reset the slide back to its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original form 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Slides // Rese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099" b="0" baseline="0" noProof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Change the slide layout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Slides // Layou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099" b="0" baseline="0" noProof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Change the text level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via menu bar: </a:t>
                </a:r>
                <a:b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</a:b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Paragraph // Increase/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Decrease List Level</a:t>
                </a:r>
              </a:p>
            </p:txBody>
          </p:sp>
          <p:grpSp>
            <p:nvGrpSpPr>
              <p:cNvPr id="24" name="Listenebenen"/>
              <p:cNvGrpSpPr/>
              <p:nvPr userDrawn="1"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25" name="Text // Listenebene erhöhen"/>
                <p:cNvSpPr txBox="1"/>
                <p:nvPr userDrawn="1"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38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999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Increase</a:t>
                  </a:r>
                </a:p>
                <a:p>
                  <a:pPr marL="0" marR="0" lvl="0" indent="0" algn="r" defTabSz="9138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999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sp>
              <p:nvSpPr>
                <p:cNvPr id="26" name="Text // Listenebene verringern"/>
                <p:cNvSpPr txBox="1"/>
                <p:nvPr userDrawn="1"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38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999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Decrease </a:t>
                  </a:r>
                </a:p>
                <a:p>
                  <a:pPr marL="0" marR="0" lvl="0" indent="0" algn="r" defTabSz="9138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999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pic>
              <p:nvPicPr>
                <p:cNvPr id="27" name="Listenebene erhöhen"/>
                <p:cNvPicPr>
                  <a:picLocks noChangeAspect="1"/>
                </p:cNvPicPr>
                <p:nvPr userDrawn="1"/>
              </p:nvPicPr>
              <p:blipFill>
                <a:blip r:embed="rId2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28" name="Listenebene verringern"/>
                <p:cNvPicPr>
                  <a:picLocks noChangeAspect="1"/>
                </p:cNvPicPr>
                <p:nvPr userDrawn="1"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7" name="Daimler AG (Wortmarke)"/>
          <p:cNvSpPr>
            <a:spLocks noChangeArrowheads="1"/>
          </p:cNvSpPr>
          <p:nvPr userDrawn="1"/>
        </p:nvSpPr>
        <p:spPr bwMode="auto">
          <a:xfrm>
            <a:off x="629672" y="6564880"/>
            <a:ext cx="2086913" cy="2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r>
              <a:rPr lang="en-GB" sz="1199" dirty="0" smtClean="0">
                <a:latin typeface="+mn-lt"/>
                <a:cs typeface="Daimler CS"/>
              </a:rPr>
              <a:t>Daimler AG</a:t>
            </a:r>
            <a:endParaRPr lang="en-GB" sz="1199" dirty="0">
              <a:latin typeface="+mn-lt"/>
              <a:cs typeface="Daimler 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9671" y="285982"/>
            <a:ext cx="10931106" cy="332142"/>
          </a:xfrm>
        </p:spPr>
        <p:txBody>
          <a:bodyPr/>
          <a:lstStyle/>
          <a:p>
            <a:r>
              <a:rPr lang="en-GB" noProof="0" dirty="0" smtClean="0"/>
              <a:t>Headline in CorpoS (Body) 35 pt.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dirty="0" smtClean="0"/>
              <a:t>Title of presentation / Department / Date /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dirty="0" smtClean="0"/>
              <a:t>Page </a:t>
            </a:r>
            <a:fld id="{52531704-8F80-415D-BD2B-6B9991AE822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29909" y="1233203"/>
            <a:ext cx="10930593" cy="5254635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17802902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777">
          <p15:clr>
            <a:srgbClr val="FBAE40"/>
          </p15:clr>
        </p15:guide>
        <p15:guide id="3" orient="horz" pos="4020">
          <p15:clr>
            <a:srgbClr val="FBAE40"/>
          </p15:clr>
        </p15:guide>
      </p15:sldGuideLst>
    </p:ext>
  </p:extLst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Blank/ Headline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502" name="think-cell スライド" r:id="rId4" imgW="469" imgH="470" progId="TCLayout.ActiveDocument.1">
                  <p:embed/>
                </p:oleObj>
              </mc:Choice>
              <mc:Fallback>
                <p:oleObj name="think-cell スライド" r:id="rId4" imgW="469" imgH="470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10933350" cy="664284"/>
          </a:xfrm>
        </p:spPr>
        <p:txBody>
          <a:bodyPr/>
          <a:lstStyle/>
          <a:p>
            <a:r>
              <a:rPr lang="en-GB" noProof="0" dirty="0"/>
              <a:t>Headline in CorpoS (Body) 35 pt.</a:t>
            </a:r>
            <a:br>
              <a:rPr lang="en-GB" noProof="0" dirty="0"/>
            </a:br>
            <a:r>
              <a:rPr lang="en-GB" noProof="0" dirty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/>
              <a:t>FTC/A-A presentation for J. Goetz, 20 June 2018</a:t>
            </a:r>
            <a:endParaRPr lang="en-GB" dirty="0"/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/>
              <a:t>Page </a:t>
            </a:r>
            <a:fld id="{52531704-8F80-415D-BD2B-6B9991AE822F}" type="slidenum">
              <a:rPr lang="en-GB" smtClean="0"/>
              <a:pPr algn="r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2851240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</p15:sldGuideLst>
    </p:ext>
  </p:extLst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Blank/ Headline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526" name="think-cell スライド" r:id="rId4" imgW="469" imgH="470" progId="TCLayout.ActiveDocument.1">
                  <p:embed/>
                </p:oleObj>
              </mc:Choice>
              <mc:Fallback>
                <p:oleObj name="think-cell スライド" r:id="rId4" imgW="469" imgH="470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10933350" cy="664284"/>
          </a:xfrm>
        </p:spPr>
        <p:txBody>
          <a:bodyPr/>
          <a:lstStyle/>
          <a:p>
            <a:r>
              <a:rPr lang="en-GB" noProof="0" dirty="0"/>
              <a:t>Headline in CorpoS (Body) 35 pt.</a:t>
            </a:r>
            <a:br>
              <a:rPr lang="en-GB" noProof="0" dirty="0"/>
            </a:br>
            <a:r>
              <a:rPr lang="en-GB" noProof="0" dirty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/>
              <a:t>FTC/A-A presentation for J. Goetz, 20 June 2018</a:t>
            </a:r>
            <a:endParaRPr lang="en-GB" dirty="0"/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/>
              <a:t>Page </a:t>
            </a:r>
            <a:fld id="{52531704-8F80-415D-BD2B-6B9991AE822F}" type="slidenum">
              <a:rPr lang="en-GB" smtClean="0"/>
              <a:pPr algn="r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796536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. Title ima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Regieanweisungen"/>
          <p:cNvGrpSpPr/>
          <p:nvPr/>
        </p:nvGrpSpPr>
        <p:grpSpPr>
          <a:xfrm>
            <a:off x="-2086913" y="-467892"/>
            <a:ext cx="13647691" cy="7792196"/>
            <a:chOff x="-2088000" y="-468000"/>
            <a:chExt cx="13654799" cy="7794000"/>
          </a:xfrm>
        </p:grpSpPr>
        <p:sp>
          <p:nvSpPr>
            <p:cNvPr id="16" name="Hilfslinien"/>
            <p:cNvSpPr txBox="1"/>
            <p:nvPr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99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how guides via menu bar: View // Show // tick Guides</a:t>
              </a:r>
            </a:p>
          </p:txBody>
        </p:sp>
        <p:sp>
          <p:nvSpPr>
            <p:cNvPr id="17" name="Fußzeile"/>
            <p:cNvSpPr txBox="1"/>
            <p:nvPr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1042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099" b="0" baseline="0" dirty="0" smtClean="0">
                  <a:solidFill>
                    <a:schemeClr val="accent5"/>
                  </a:solidFill>
                  <a:latin typeface="+mn-lt"/>
                </a:rPr>
                <a:t>Adjust footer (per slide or for several/all slides) via menu bar: Insert // Text // Header &amp; Footer</a:t>
              </a:r>
            </a:p>
          </p:txBody>
        </p:sp>
        <p:grpSp>
          <p:nvGrpSpPr>
            <p:cNvPr id="28" name="Hinweise links"/>
            <p:cNvGrpSpPr/>
            <p:nvPr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29" name="Folie Wechsel/Zurücksetzen/Textebenen"/>
              <p:cNvSpPr txBox="1"/>
              <p:nvPr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Reset the slide back to its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original form 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Slides // Rese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099" b="0" baseline="0" noProof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Change the slide layout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Slides // Layou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099" b="0" baseline="0" noProof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Change the text level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via menu bar: </a:t>
                </a:r>
                <a:b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</a:b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Paragraph // Increase/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Decrease List Level</a:t>
                </a:r>
              </a:p>
            </p:txBody>
          </p:sp>
          <p:grpSp>
            <p:nvGrpSpPr>
              <p:cNvPr id="31" name="Listenebenen"/>
              <p:cNvGrpSpPr/>
              <p:nvPr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32" name="Text // Listenebene erhöhen"/>
                <p:cNvSpPr txBox="1"/>
                <p:nvPr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38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999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Increase</a:t>
                  </a:r>
                </a:p>
                <a:p>
                  <a:pPr marL="0" marR="0" lvl="0" indent="0" algn="r" defTabSz="9138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999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sp>
              <p:nvSpPr>
                <p:cNvPr id="33" name="Text // Listenebene verringern"/>
                <p:cNvSpPr txBox="1"/>
                <p:nvPr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38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999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Decrease </a:t>
                  </a:r>
                </a:p>
                <a:p>
                  <a:pPr marL="0" marR="0" lvl="0" indent="0" algn="r" defTabSz="9138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999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pic>
              <p:nvPicPr>
                <p:cNvPr id="34" name="Listenebene erhöhen"/>
                <p:cNvPicPr>
                  <a:picLocks noChangeAspect="1"/>
                </p:cNvPicPr>
                <p:nvPr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35" name="Listenebene verringern"/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 bwMode="auto">
          <a:xfrm>
            <a:off x="-2380" y="3429000"/>
            <a:ext cx="12192830" cy="3429000"/>
          </a:xfrm>
          <a:custGeom>
            <a:avLst/>
            <a:gdLst>
              <a:gd name="connsiteX0" fmla="*/ 0 w 12196799"/>
              <a:gd name="connsiteY0" fmla="*/ 0 h 3429794"/>
              <a:gd name="connsiteX1" fmla="*/ 12196799 w 12196799"/>
              <a:gd name="connsiteY1" fmla="*/ 0 h 3429794"/>
              <a:gd name="connsiteX2" fmla="*/ 12196799 w 12196799"/>
              <a:gd name="connsiteY2" fmla="*/ 3429794 h 3429794"/>
              <a:gd name="connsiteX3" fmla="*/ 0 w 12196799"/>
              <a:gd name="connsiteY3" fmla="*/ 3429794 h 3429794"/>
              <a:gd name="connsiteX4" fmla="*/ 0 w 12196799"/>
              <a:gd name="connsiteY4" fmla="*/ 0 h 3429794"/>
              <a:gd name="connsiteX0" fmla="*/ 2381 w 12199180"/>
              <a:gd name="connsiteY0" fmla="*/ 0 h 3429794"/>
              <a:gd name="connsiteX1" fmla="*/ 12199180 w 12199180"/>
              <a:gd name="connsiteY1" fmla="*/ 0 h 3429794"/>
              <a:gd name="connsiteX2" fmla="*/ 12199180 w 12199180"/>
              <a:gd name="connsiteY2" fmla="*/ 3429794 h 3429794"/>
              <a:gd name="connsiteX3" fmla="*/ 2381 w 12199180"/>
              <a:gd name="connsiteY3" fmla="*/ 3429794 h 3429794"/>
              <a:gd name="connsiteX4" fmla="*/ 0 w 12199180"/>
              <a:gd name="connsiteY4" fmla="*/ 1070769 h 3429794"/>
              <a:gd name="connsiteX5" fmla="*/ 2381 w 12199180"/>
              <a:gd name="connsiteY5" fmla="*/ 0 h 3429794"/>
              <a:gd name="connsiteX0" fmla="*/ 0 w 12199180"/>
              <a:gd name="connsiteY0" fmla="*/ 1167730 h 3526755"/>
              <a:gd name="connsiteX1" fmla="*/ 12199180 w 12199180"/>
              <a:gd name="connsiteY1" fmla="*/ 96961 h 3526755"/>
              <a:gd name="connsiteX2" fmla="*/ 12199180 w 12199180"/>
              <a:gd name="connsiteY2" fmla="*/ 3526755 h 3526755"/>
              <a:gd name="connsiteX3" fmla="*/ 2381 w 12199180"/>
              <a:gd name="connsiteY3" fmla="*/ 3526755 h 3526755"/>
              <a:gd name="connsiteX4" fmla="*/ 0 w 12199180"/>
              <a:gd name="connsiteY4" fmla="*/ 1167730 h 3526755"/>
              <a:gd name="connsiteX0" fmla="*/ 0 w 12199180"/>
              <a:gd name="connsiteY0" fmla="*/ 1070769 h 3429794"/>
              <a:gd name="connsiteX1" fmla="*/ 12199180 w 12199180"/>
              <a:gd name="connsiteY1" fmla="*/ 0 h 3429794"/>
              <a:gd name="connsiteX2" fmla="*/ 12199180 w 12199180"/>
              <a:gd name="connsiteY2" fmla="*/ 3429794 h 3429794"/>
              <a:gd name="connsiteX3" fmla="*/ 2381 w 12199180"/>
              <a:gd name="connsiteY3" fmla="*/ 3429794 h 3429794"/>
              <a:gd name="connsiteX4" fmla="*/ 0 w 12199180"/>
              <a:gd name="connsiteY4" fmla="*/ 1070769 h 34297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9180" h="3429794">
                <a:moveTo>
                  <a:pt x="0" y="1070769"/>
                </a:moveTo>
                <a:lnTo>
                  <a:pt x="12199180" y="0"/>
                </a:lnTo>
                <a:lnTo>
                  <a:pt x="12199180" y="3429794"/>
                </a:lnTo>
                <a:lnTo>
                  <a:pt x="2381" y="3429794"/>
                </a:lnTo>
                <a:cubicBezTo>
                  <a:pt x="1587" y="2643452"/>
                  <a:pt x="794" y="1857111"/>
                  <a:pt x="0" y="1070769"/>
                </a:cubicBezTo>
                <a:close/>
              </a:path>
            </a:pathLst>
          </a:custGeom>
          <a:noFill/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28323" y="2045814"/>
            <a:ext cx="10932181" cy="1619625"/>
          </a:xfrm>
          <a:custGeom>
            <a:avLst/>
            <a:gdLst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75 w 10937875"/>
              <a:gd name="connsiteY2" fmla="*/ 1620000 h 1620000"/>
              <a:gd name="connsiteX3" fmla="*/ 0 w 10937875"/>
              <a:gd name="connsiteY3" fmla="*/ 1620000 h 1620000"/>
              <a:gd name="connsiteX4" fmla="*/ 0 w 10937875"/>
              <a:gd name="connsiteY4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75 w 10937875"/>
              <a:gd name="connsiteY2" fmla="*/ 1620000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10937875 w 10937875"/>
              <a:gd name="connsiteY3" fmla="*/ 1620000 h 1620000"/>
              <a:gd name="connsiteX4" fmla="*/ 6569541 w 10937875"/>
              <a:gd name="connsiteY4" fmla="*/ 1619979 h 1620000"/>
              <a:gd name="connsiteX5" fmla="*/ 0 w 10937875"/>
              <a:gd name="connsiteY5" fmla="*/ 1620000 h 1620000"/>
              <a:gd name="connsiteX6" fmla="*/ 0 w 10937875"/>
              <a:gd name="connsiteY6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937875" h="1620000">
                <a:moveTo>
                  <a:pt x="0" y="0"/>
                </a:moveTo>
                <a:lnTo>
                  <a:pt x="10937875" y="0"/>
                </a:lnTo>
                <a:cubicBezTo>
                  <a:pt x="10937870" y="414317"/>
                  <a:pt x="10937865" y="828635"/>
                  <a:pt x="10937860" y="1242952"/>
                </a:cubicBezTo>
                <a:lnTo>
                  <a:pt x="6569541" y="1619979"/>
                </a:lnTo>
                <a:lnTo>
                  <a:pt x="0" y="1620000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 anchor="t" anchorCtr="0">
            <a:noAutofit/>
          </a:bodyPr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Referent’s name: </a:t>
            </a:r>
            <a:r>
              <a:rPr lang="en-GB" noProof="0" dirty="0" smtClean="0"/>
              <a:t>CorpoS </a:t>
            </a:r>
            <a:r>
              <a:rPr lang="en-GB" dirty="0" smtClean="0"/>
              <a:t>(Body) 35 pt.</a:t>
            </a:r>
            <a:br>
              <a:rPr lang="en-GB" dirty="0" smtClean="0"/>
            </a:br>
            <a:r>
              <a:rPr lang="en-GB" dirty="0" smtClean="0"/>
              <a:t>Presentation title in two or three </a:t>
            </a:r>
            <a:br>
              <a:rPr lang="en-GB" dirty="0" smtClean="0"/>
            </a:br>
            <a:r>
              <a:rPr lang="en-GB" dirty="0" smtClean="0"/>
              <a:t>lines of text, dd. </a:t>
            </a:r>
            <a:r>
              <a:rPr lang="en-GB" dirty="0" err="1" smtClean="0"/>
              <a:t>mmmm</a:t>
            </a:r>
            <a:r>
              <a:rPr lang="en-GB" dirty="0" smtClean="0"/>
              <a:t> </a:t>
            </a:r>
            <a:r>
              <a:rPr lang="en-GB" dirty="0" err="1" smtClean="0"/>
              <a:t>yyyy</a:t>
            </a:r>
            <a:endParaRPr lang="en-GB" dirty="0"/>
          </a:p>
        </p:txBody>
      </p:sp>
      <p:pic>
        <p:nvPicPr>
          <p:cNvPr id="30" name="Wortmarke DAIMLER" descr="Daimler_RGB_100mm.png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9672" y="790853"/>
            <a:ext cx="3418220" cy="462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42498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289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with brush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Regieanweisungen"/>
          <p:cNvGrpSpPr/>
          <p:nvPr/>
        </p:nvGrpSpPr>
        <p:grpSpPr>
          <a:xfrm>
            <a:off x="-2086913" y="-467892"/>
            <a:ext cx="13647691" cy="7792196"/>
            <a:chOff x="-2088000" y="-468000"/>
            <a:chExt cx="13654799" cy="7794000"/>
          </a:xfrm>
        </p:grpSpPr>
        <p:sp>
          <p:nvSpPr>
            <p:cNvPr id="19" name="Hilfslinien"/>
            <p:cNvSpPr txBox="1"/>
            <p:nvPr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1042388">
                <a:defRPr/>
              </a:pPr>
              <a:r>
                <a:rPr lang="en-GB" sz="1099" dirty="0">
                  <a:solidFill>
                    <a:srgbClr val="444444"/>
                  </a:solidFill>
                </a:rPr>
                <a:t>Show guides via menu bar: View // Show // tick Guides</a:t>
              </a:r>
            </a:p>
          </p:txBody>
        </p:sp>
        <p:sp>
          <p:nvSpPr>
            <p:cNvPr id="31" name="Fußzeile"/>
            <p:cNvSpPr txBox="1"/>
            <p:nvPr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 defTabSz="1042388">
                <a:defRPr/>
              </a:pPr>
              <a:r>
                <a:rPr lang="en-GB" sz="1099" dirty="0">
                  <a:solidFill>
                    <a:srgbClr val="444444"/>
                  </a:solidFill>
                </a:rPr>
                <a:t>Adjust footer (per slide or for several/all slides) via menu bar: Insert // Text // Header &amp; Footer</a:t>
              </a:r>
            </a:p>
          </p:txBody>
        </p:sp>
        <p:grpSp>
          <p:nvGrpSpPr>
            <p:cNvPr id="33" name="Hinweise links"/>
            <p:cNvGrpSpPr/>
            <p:nvPr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34" name="Folie Wechsel/Zurücksetzen/Textebenen"/>
              <p:cNvSpPr txBox="1"/>
              <p:nvPr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Reset the slide back to its </a:t>
                </a: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original form via menu bar:</a:t>
                </a: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Home // Slides // Reset</a:t>
                </a:r>
              </a:p>
              <a:p>
                <a:pPr algn="r"/>
                <a:endParaRPr lang="en-GB" sz="1099" dirty="0">
                  <a:solidFill>
                    <a:srgbClr val="444444"/>
                  </a:solidFill>
                </a:endParaRP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Change the slide layout </a:t>
                </a: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via menu bar:</a:t>
                </a: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Home // Slides // Layout</a:t>
                </a:r>
              </a:p>
              <a:p>
                <a:pPr algn="r"/>
                <a:endParaRPr lang="en-GB" sz="1099" dirty="0">
                  <a:solidFill>
                    <a:srgbClr val="444444"/>
                  </a:solidFill>
                </a:endParaRP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Change the text level</a:t>
                </a: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via menu bar: </a:t>
                </a:r>
                <a:br>
                  <a:rPr lang="en-GB" sz="1099" dirty="0">
                    <a:solidFill>
                      <a:srgbClr val="444444"/>
                    </a:solidFill>
                  </a:rPr>
                </a:br>
                <a:r>
                  <a:rPr lang="en-GB" sz="1099" dirty="0">
                    <a:solidFill>
                      <a:srgbClr val="444444"/>
                    </a:solidFill>
                  </a:rPr>
                  <a:t>Home // Paragraph // Increase/</a:t>
                </a: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Decrease List Level</a:t>
                </a:r>
              </a:p>
            </p:txBody>
          </p:sp>
          <p:grpSp>
            <p:nvGrpSpPr>
              <p:cNvPr id="35" name="Listenebenen"/>
              <p:cNvGrpSpPr/>
              <p:nvPr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36" name="Text // Listenebene erhöhen"/>
                <p:cNvSpPr txBox="1"/>
                <p:nvPr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r">
                    <a:defRPr/>
                  </a:pPr>
                  <a:r>
                    <a:rPr lang="en-GB" sz="999" dirty="0">
                      <a:solidFill>
                        <a:srgbClr val="444444"/>
                      </a:solidFill>
                    </a:rPr>
                    <a:t>Increase</a:t>
                  </a:r>
                </a:p>
                <a:p>
                  <a:pPr algn="r">
                    <a:defRPr/>
                  </a:pPr>
                  <a:r>
                    <a:rPr lang="en-GB" sz="999" dirty="0">
                      <a:solidFill>
                        <a:srgbClr val="444444"/>
                      </a:solidFill>
                    </a:rPr>
                    <a:t>List Level</a:t>
                  </a:r>
                </a:p>
              </p:txBody>
            </p:sp>
            <p:sp>
              <p:nvSpPr>
                <p:cNvPr id="37" name="Text // Listenebene verringern"/>
                <p:cNvSpPr txBox="1"/>
                <p:nvPr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r">
                    <a:defRPr/>
                  </a:pPr>
                  <a:r>
                    <a:rPr lang="en-GB" sz="999" dirty="0">
                      <a:solidFill>
                        <a:srgbClr val="444444"/>
                      </a:solidFill>
                    </a:rPr>
                    <a:t>Decrease </a:t>
                  </a:r>
                </a:p>
                <a:p>
                  <a:pPr algn="r">
                    <a:defRPr/>
                  </a:pPr>
                  <a:r>
                    <a:rPr lang="en-GB" sz="999" dirty="0">
                      <a:solidFill>
                        <a:srgbClr val="444444"/>
                      </a:solidFill>
                    </a:rPr>
                    <a:t>List Level</a:t>
                  </a:r>
                </a:p>
              </p:txBody>
            </p:sp>
            <p:pic>
              <p:nvPicPr>
                <p:cNvPr id="38" name="Listenebene erhöhen"/>
                <p:cNvPicPr>
                  <a:picLocks noChangeAspect="1"/>
                </p:cNvPicPr>
                <p:nvPr/>
              </p:nvPicPr>
              <p:blipFill>
                <a:blip r:embed="rId2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39" name="Listenebene verringern"/>
                <p:cNvPicPr>
                  <a:picLocks noChangeAspect="1"/>
                </p:cNvPicPr>
                <p:nvPr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pic>
        <p:nvPicPr>
          <p:cNvPr id="32" name="Buerstung U_S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white">
          <a:xfrm>
            <a:off x="0" y="1"/>
            <a:ext cx="12190450" cy="6490342"/>
          </a:xfrm>
          <a:prstGeom prst="rect">
            <a:avLst/>
          </a:prstGeom>
        </p:spPr>
      </p:pic>
      <p:sp>
        <p:nvSpPr>
          <p:cNvPr id="20" name="Daimler AG (Wortmarke)"/>
          <p:cNvSpPr>
            <a:spLocks noChangeArrowheads="1"/>
          </p:cNvSpPr>
          <p:nvPr/>
        </p:nvSpPr>
        <p:spPr bwMode="auto">
          <a:xfrm>
            <a:off x="629672" y="6564880"/>
            <a:ext cx="2086913" cy="2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r>
              <a:rPr lang="en-GB" sz="1199" dirty="0">
                <a:solidFill>
                  <a:prstClr val="black"/>
                </a:solidFill>
                <a:latin typeface="CorpoS"/>
                <a:cs typeface="Daimler CS"/>
              </a:rPr>
              <a:t>Daimler AG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8323" y="288859"/>
            <a:ext cx="10932455" cy="1148857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Headline for Agenda in CorpoS (Body) 35 pt. </a:t>
            </a:r>
            <a:br>
              <a:rPr lang="en-GB" noProof="0" dirty="0"/>
            </a:br>
            <a:r>
              <a:rPr lang="en-GB" noProof="0" dirty="0"/>
              <a:t>one or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DI-Lama Project Update | Phani Sarraju | 4.Sep.2018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dirty="0">
                <a:solidFill>
                  <a:prstClr val="black"/>
                </a:solidFill>
              </a:rPr>
              <a:t>Page </a:t>
            </a:r>
            <a:fld id="{52531704-8F80-415D-BD2B-6B9991AE822F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30117" y="1504603"/>
            <a:ext cx="10931023" cy="3386305"/>
          </a:xfrm>
          <a:custGeom>
            <a:avLst/>
            <a:gdLst>
              <a:gd name="connsiteX0" fmla="*/ 0 w 10936081"/>
              <a:gd name="connsiteY0" fmla="*/ 0 h 3384000"/>
              <a:gd name="connsiteX1" fmla="*/ 10936081 w 10936081"/>
              <a:gd name="connsiteY1" fmla="*/ 0 h 3384000"/>
              <a:gd name="connsiteX2" fmla="*/ 10936081 w 10936081"/>
              <a:gd name="connsiteY2" fmla="*/ 3384000 h 3384000"/>
              <a:gd name="connsiteX3" fmla="*/ 0 w 10936081"/>
              <a:gd name="connsiteY3" fmla="*/ 3384000 h 3384000"/>
              <a:gd name="connsiteX4" fmla="*/ 0 w 10936081"/>
              <a:gd name="connsiteY4" fmla="*/ 0 h 3384000"/>
              <a:gd name="connsiteX0" fmla="*/ 0 w 10936081"/>
              <a:gd name="connsiteY0" fmla="*/ 0 h 3387089"/>
              <a:gd name="connsiteX1" fmla="*/ 10936081 w 10936081"/>
              <a:gd name="connsiteY1" fmla="*/ 0 h 3387089"/>
              <a:gd name="connsiteX2" fmla="*/ 10936081 w 10936081"/>
              <a:gd name="connsiteY2" fmla="*/ 3384000 h 3387089"/>
              <a:gd name="connsiteX3" fmla="*/ 2006076 w 10936081"/>
              <a:gd name="connsiteY3" fmla="*/ 3387089 h 3387089"/>
              <a:gd name="connsiteX4" fmla="*/ 0 w 10936081"/>
              <a:gd name="connsiteY4" fmla="*/ 3384000 h 3387089"/>
              <a:gd name="connsiteX5" fmla="*/ 0 w 10936081"/>
              <a:gd name="connsiteY5" fmla="*/ 0 h 3387089"/>
              <a:gd name="connsiteX0" fmla="*/ 0 w 10936716"/>
              <a:gd name="connsiteY0" fmla="*/ 0 h 3387089"/>
              <a:gd name="connsiteX1" fmla="*/ 10936081 w 10936716"/>
              <a:gd name="connsiteY1" fmla="*/ 0 h 3387089"/>
              <a:gd name="connsiteX2" fmla="*/ 10936716 w 10936716"/>
              <a:gd name="connsiteY2" fmla="*/ 2556509 h 3387089"/>
              <a:gd name="connsiteX3" fmla="*/ 10936081 w 10936716"/>
              <a:gd name="connsiteY3" fmla="*/ 3384000 h 3387089"/>
              <a:gd name="connsiteX4" fmla="*/ 2006076 w 10936716"/>
              <a:gd name="connsiteY4" fmla="*/ 3387089 h 3387089"/>
              <a:gd name="connsiteX5" fmla="*/ 0 w 10936716"/>
              <a:gd name="connsiteY5" fmla="*/ 3384000 h 3387089"/>
              <a:gd name="connsiteX6" fmla="*/ 0 w 10936716"/>
              <a:gd name="connsiteY6" fmla="*/ 0 h 3387089"/>
              <a:gd name="connsiteX0" fmla="*/ 0 w 10936716"/>
              <a:gd name="connsiteY0" fmla="*/ 0 h 3387089"/>
              <a:gd name="connsiteX1" fmla="*/ 10936081 w 10936716"/>
              <a:gd name="connsiteY1" fmla="*/ 0 h 3387089"/>
              <a:gd name="connsiteX2" fmla="*/ 10936716 w 10936716"/>
              <a:gd name="connsiteY2" fmla="*/ 2556509 h 3387089"/>
              <a:gd name="connsiteX3" fmla="*/ 2006076 w 10936716"/>
              <a:gd name="connsiteY3" fmla="*/ 3387089 h 3387089"/>
              <a:gd name="connsiteX4" fmla="*/ 0 w 10936716"/>
              <a:gd name="connsiteY4" fmla="*/ 3384000 h 3387089"/>
              <a:gd name="connsiteX5" fmla="*/ 0 w 10936716"/>
              <a:gd name="connsiteY5" fmla="*/ 0 h 3387089"/>
              <a:gd name="connsiteX0" fmla="*/ 0 w 10936716"/>
              <a:gd name="connsiteY0" fmla="*/ 0 h 3387089"/>
              <a:gd name="connsiteX1" fmla="*/ 10936081 w 10936716"/>
              <a:gd name="connsiteY1" fmla="*/ 0 h 3387089"/>
              <a:gd name="connsiteX2" fmla="*/ 10936716 w 10936716"/>
              <a:gd name="connsiteY2" fmla="*/ 2556509 h 3387089"/>
              <a:gd name="connsiteX3" fmla="*/ 2006076 w 10936716"/>
              <a:gd name="connsiteY3" fmla="*/ 3387089 h 3387089"/>
              <a:gd name="connsiteX4" fmla="*/ 0 w 10936716"/>
              <a:gd name="connsiteY4" fmla="*/ 3384000 h 3387089"/>
              <a:gd name="connsiteX5" fmla="*/ 0 w 10936716"/>
              <a:gd name="connsiteY5" fmla="*/ 0 h 3387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936716" h="3387089">
                <a:moveTo>
                  <a:pt x="0" y="0"/>
                </a:moveTo>
                <a:lnTo>
                  <a:pt x="10936081" y="0"/>
                </a:lnTo>
                <a:cubicBezTo>
                  <a:pt x="10936293" y="852170"/>
                  <a:pt x="10936504" y="1704339"/>
                  <a:pt x="10936716" y="2556509"/>
                </a:cubicBezTo>
                <a:lnTo>
                  <a:pt x="2006076" y="3387089"/>
                </a:lnTo>
                <a:lnTo>
                  <a:pt x="0" y="3384000"/>
                </a:lnTo>
                <a:lnTo>
                  <a:pt x="0" y="0"/>
                </a:lnTo>
                <a:close/>
              </a:path>
            </a:pathLst>
          </a:custGeom>
        </p:spPr>
        <p:txBody>
          <a:bodyPr/>
          <a:lstStyle>
            <a:lvl1pPr marL="359820" indent="-359820">
              <a:buSzPct val="100000"/>
              <a:buFont typeface="+mj-lt"/>
              <a:buAutoNum type="arabicPeriod"/>
              <a:defRPr>
                <a:solidFill>
                  <a:schemeClr val="tx1"/>
                </a:solidFill>
              </a:defRPr>
            </a:lvl1pPr>
            <a:lvl2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2pPr>
            <a:lvl3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3pPr>
            <a:lvl4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4pPr>
            <a:lvl5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5pPr>
            <a:lvl6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6pPr>
            <a:lvl7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7pPr>
            <a:lvl8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8pPr>
            <a:lvl9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Insert Agenda point</a:t>
            </a:r>
          </a:p>
          <a:p>
            <a:pPr lvl="1"/>
            <a:r>
              <a:rPr lang="en-GB" dirty="0"/>
              <a:t>Second level 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s level</a:t>
            </a:r>
          </a:p>
          <a:p>
            <a:pPr lvl="7"/>
            <a:r>
              <a:rPr lang="en-GB" dirty="0"/>
              <a:t>Eight level</a:t>
            </a:r>
          </a:p>
        </p:txBody>
      </p:sp>
    </p:spTree>
    <p:extLst>
      <p:ext uri="{BB962C8B-B14F-4D97-AF65-F5344CB8AC3E}">
        <p14:creationId xmlns:p14="http://schemas.microsoft.com/office/powerpoint/2010/main" val="86702849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948">
          <p15:clr>
            <a:srgbClr val="FBAE40"/>
          </p15:clr>
        </p15:guide>
        <p15:guide id="3" orient="horz" pos="3317">
          <p15:clr>
            <a:srgbClr val="FBAE40"/>
          </p15:clr>
        </p15:guide>
      </p15:sldGuideLst>
    </p:ext>
  </p:extLst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Blank/ Headline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1550" name="think-cell スライド" r:id="rId4" imgW="469" imgH="470" progId="TCLayout.ActiveDocument.1">
                  <p:embed/>
                </p:oleObj>
              </mc:Choice>
              <mc:Fallback>
                <p:oleObj name="think-cell スライド" r:id="rId4" imgW="469" imgH="470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10933350" cy="664284"/>
          </a:xfrm>
        </p:spPr>
        <p:txBody>
          <a:bodyPr/>
          <a:lstStyle/>
          <a:p>
            <a:r>
              <a:rPr lang="en-GB" noProof="0" dirty="0"/>
              <a:t>Headline in CorpoS (Body) 35 pt.</a:t>
            </a:r>
            <a:br>
              <a:rPr lang="en-GB" noProof="0" dirty="0"/>
            </a:br>
            <a:r>
              <a:rPr lang="en-GB" noProof="0" dirty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/>
              <a:t>FTC/A-A presentation for J. Goetz, 20 June 2018</a:t>
            </a:r>
            <a:endParaRPr lang="en-GB" dirty="0"/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/>
              <a:t>Page </a:t>
            </a:r>
            <a:fld id="{52531704-8F80-415D-BD2B-6B9991AE822F}" type="slidenum">
              <a:rPr lang="en-GB" smtClean="0"/>
              <a:pPr algn="r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8396905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</p15:sldGuideLst>
    </p:ext>
  </p:extLst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Blank/ Headline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2574" name="think-cell スライド" r:id="rId4" imgW="469" imgH="470" progId="TCLayout.ActiveDocument.1">
                  <p:embed/>
                </p:oleObj>
              </mc:Choice>
              <mc:Fallback>
                <p:oleObj name="think-cell スライド" r:id="rId4" imgW="469" imgH="470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10933350" cy="664284"/>
          </a:xfrm>
        </p:spPr>
        <p:txBody>
          <a:bodyPr/>
          <a:lstStyle/>
          <a:p>
            <a:r>
              <a:rPr lang="en-GB" noProof="0" dirty="0"/>
              <a:t>Headline in CorpoS (Body) 35 pt.</a:t>
            </a:r>
            <a:br>
              <a:rPr lang="en-GB" noProof="0" dirty="0"/>
            </a:br>
            <a:r>
              <a:rPr lang="en-GB" noProof="0" dirty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/>
              <a:t>FTC/A-A presentation for J. Goetz, 20 June 2018</a:t>
            </a:r>
            <a:endParaRPr lang="en-GB" dirty="0"/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/>
              <a:t>Page </a:t>
            </a:r>
            <a:fld id="{52531704-8F80-415D-BD2B-6B9991AE822F}" type="slidenum">
              <a:rPr lang="en-GB" smtClean="0"/>
              <a:pPr algn="r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1551556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</p15:sldGuideLst>
    </p:ext>
  </p:extLst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Blank/ Headline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3598" name="think-cell スライド" r:id="rId4" imgW="469" imgH="470" progId="TCLayout.ActiveDocument.1">
                  <p:embed/>
                </p:oleObj>
              </mc:Choice>
              <mc:Fallback>
                <p:oleObj name="think-cell スライド" r:id="rId4" imgW="469" imgH="470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10933350" cy="664284"/>
          </a:xfrm>
        </p:spPr>
        <p:txBody>
          <a:bodyPr/>
          <a:lstStyle/>
          <a:p>
            <a:r>
              <a:rPr lang="en-GB" noProof="0" dirty="0"/>
              <a:t>Headline in CorpoS (Body) 35 pt.</a:t>
            </a:r>
            <a:br>
              <a:rPr lang="en-GB" noProof="0" dirty="0"/>
            </a:br>
            <a:r>
              <a:rPr lang="en-GB" noProof="0" dirty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/>
              <a:t>FTC/A-A presentation for J. Goetz, 20 June 2018</a:t>
            </a:r>
            <a:endParaRPr lang="en-GB" dirty="0"/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/>
              <a:t>Page </a:t>
            </a:r>
            <a:fld id="{52531704-8F80-415D-BD2B-6B9991AE822F}" type="slidenum">
              <a:rPr lang="en-GB" smtClean="0"/>
              <a:pPr algn="r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3512055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</p15:sldGuideLst>
    </p:ext>
  </p:extLst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4_Blank/ Headline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4622" name="think-cell スライド" r:id="rId4" imgW="469" imgH="470" progId="TCLayout.ActiveDocument.1">
                  <p:embed/>
                </p:oleObj>
              </mc:Choice>
              <mc:Fallback>
                <p:oleObj name="think-cell スライド" r:id="rId4" imgW="469" imgH="470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10933350" cy="664284"/>
          </a:xfrm>
        </p:spPr>
        <p:txBody>
          <a:bodyPr/>
          <a:lstStyle/>
          <a:p>
            <a:r>
              <a:rPr lang="en-GB" noProof="0" dirty="0"/>
              <a:t>Headline in CorpoS (Body) 35 pt.</a:t>
            </a:r>
            <a:br>
              <a:rPr lang="en-GB" noProof="0" dirty="0"/>
            </a:br>
            <a:r>
              <a:rPr lang="en-GB" noProof="0" dirty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/>
              <a:t>FTC/A-A presentation for J. Goetz, 20 June 2018</a:t>
            </a:r>
            <a:endParaRPr lang="en-GB" dirty="0"/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/>
              <a:t>Page </a:t>
            </a:r>
            <a:fld id="{52531704-8F80-415D-BD2B-6B9991AE822F}" type="slidenum">
              <a:rPr lang="en-GB" smtClean="0"/>
              <a:pPr algn="r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3045586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</p15:sldGuideLst>
    </p:ext>
  </p:extLst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ext/ content/ Headline 2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10933350" cy="664284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Headline in CorpoS (Body) 35 pt.</a:t>
            </a:r>
            <a:br>
              <a:rPr lang="en-GB" noProof="0" dirty="0" smtClean="0"/>
            </a:br>
            <a:r>
              <a:rPr lang="en-GB" noProof="0" dirty="0" smtClean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Interface error revealed system interface specification issue / WS4 / 09 JAN 2019</a:t>
            </a:r>
            <a:endParaRPr lang="en-GB" dirty="0" smtClean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629909" y="1504602"/>
            <a:ext cx="10930594" cy="4983236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noProof="0" dirty="0" smtClean="0"/>
              <a:t>Insert content or text in CorpoS (Body) 24 pt. (Mark-ups in Bold) // for conclusion, summary or short highlight: Home // Paragraph// Increase Li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 (Conclusion, summary or short highlight)</a:t>
            </a:r>
          </a:p>
          <a:p>
            <a:pPr lvl="4"/>
            <a:r>
              <a:rPr lang="en-GB" dirty="0" smtClean="0"/>
              <a:t>Fifth level</a:t>
            </a:r>
          </a:p>
          <a:p>
            <a:pPr lvl="5"/>
            <a:r>
              <a:rPr lang="en-GB" dirty="0" smtClean="0"/>
              <a:t>Sixth level</a:t>
            </a:r>
          </a:p>
          <a:p>
            <a:pPr lvl="6"/>
            <a:r>
              <a:rPr lang="en-GB" dirty="0" smtClean="0"/>
              <a:t>Sevens level</a:t>
            </a:r>
          </a:p>
          <a:p>
            <a:pPr lvl="7"/>
            <a:r>
              <a:rPr lang="en-GB" dirty="0" smtClean="0"/>
              <a:t>Eight level</a:t>
            </a:r>
          </a:p>
          <a:p>
            <a:pPr lvl="8"/>
            <a:r>
              <a:rPr lang="en-GB" dirty="0" smtClean="0"/>
              <a:t>Ninth level</a:t>
            </a: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 smtClean="0"/>
              <a:t> </a:t>
            </a:r>
            <a:fld id="{52531704-8F80-415D-BD2B-6B9991AE822F}" type="slidenum">
              <a:rPr lang="en-GB" smtClean="0"/>
              <a:pPr algn="r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8486767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  <p15:guide id="3" orient="horz" pos="950">
          <p15:clr>
            <a:srgbClr val="FBAE40"/>
          </p15:clr>
        </p15:guide>
      </p15:sldGuideLst>
    </p:ext>
  </p:extLst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ext/ content/ Headline 2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10933350" cy="664284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Headline in CorpoS (Body) 35 pt.</a:t>
            </a:r>
            <a:br>
              <a:rPr lang="en-GB" noProof="0" dirty="0" smtClean="0"/>
            </a:br>
            <a:r>
              <a:rPr lang="en-GB" noProof="0" dirty="0" smtClean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Interface error revealed system interface specification issue / WS4 / 09 JAN 2019</a:t>
            </a:r>
            <a:endParaRPr lang="en-GB" dirty="0" smtClean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629909" y="1504602"/>
            <a:ext cx="10930594" cy="4983236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noProof="0" dirty="0" smtClean="0"/>
              <a:t>Insert content or text in CorpoS (Body) 24 pt. (Mark-ups in Bold) // for conclusion, summary or short highlight: Home // Paragraph// Increase Li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 (Conclusion, summary or short highlight)</a:t>
            </a:r>
          </a:p>
          <a:p>
            <a:pPr lvl="4"/>
            <a:r>
              <a:rPr lang="en-GB" dirty="0" smtClean="0"/>
              <a:t>Fifth level</a:t>
            </a:r>
          </a:p>
          <a:p>
            <a:pPr lvl="5"/>
            <a:r>
              <a:rPr lang="en-GB" dirty="0" smtClean="0"/>
              <a:t>Sixth level</a:t>
            </a:r>
          </a:p>
          <a:p>
            <a:pPr lvl="6"/>
            <a:r>
              <a:rPr lang="en-GB" dirty="0" smtClean="0"/>
              <a:t>Sevens level</a:t>
            </a:r>
          </a:p>
          <a:p>
            <a:pPr lvl="7"/>
            <a:r>
              <a:rPr lang="en-GB" dirty="0" smtClean="0"/>
              <a:t>Eight level</a:t>
            </a:r>
          </a:p>
          <a:p>
            <a:pPr lvl="8"/>
            <a:r>
              <a:rPr lang="en-GB" dirty="0" smtClean="0"/>
              <a:t>Ninth level</a:t>
            </a: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 smtClean="0"/>
              <a:t> </a:t>
            </a:r>
            <a:fld id="{52531704-8F80-415D-BD2B-6B9991AE822F}" type="slidenum">
              <a:rPr lang="en-GB" smtClean="0"/>
              <a:pPr algn="r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0473194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  <p15:guide id="3" orient="horz" pos="950">
          <p15:clr>
            <a:srgbClr val="FBAE40"/>
          </p15:clr>
        </p15:guide>
      </p15:sldGuideLst>
    </p:ext>
  </p:extLst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/ Headline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5646" name="think-cell スライド" r:id="rId4" imgW="216" imgH="216" progId="TCLayout.ActiveDocument.1">
                  <p:embed/>
                </p:oleObj>
              </mc:Choice>
              <mc:Fallback>
                <p:oleObj name="think-cell スライド" r:id="rId4" imgW="216" imgH="216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10933350" cy="664284"/>
          </a:xfrm>
        </p:spPr>
        <p:txBody>
          <a:bodyPr/>
          <a:lstStyle/>
          <a:p>
            <a:r>
              <a:rPr lang="en-GB" noProof="0" dirty="0" smtClean="0"/>
              <a:t>Headline in CorpoS (Body) 35 pt.</a:t>
            </a:r>
            <a:br>
              <a:rPr lang="en-GB" noProof="0" dirty="0" smtClean="0"/>
            </a:br>
            <a:r>
              <a:rPr lang="en-GB" noProof="0" dirty="0" smtClean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dirty="0" smtClean="0"/>
              <a:t>Title of presentation / Department / Date</a:t>
            </a:r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8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8">
                <a:latin typeface="+mn-lt"/>
              </a:defRPr>
            </a:lvl2pPr>
            <a:lvl3pPr marL="0" indent="0" algn="l">
              <a:spcBef>
                <a:spcPts val="0"/>
              </a:spcBef>
              <a:defRPr sz="1198">
                <a:latin typeface="+mn-lt"/>
              </a:defRPr>
            </a:lvl3pPr>
            <a:lvl4pPr marL="0" indent="0" algn="l">
              <a:spcBef>
                <a:spcPts val="0"/>
              </a:spcBef>
              <a:defRPr sz="1198">
                <a:latin typeface="+mn-lt"/>
              </a:defRPr>
            </a:lvl4pPr>
            <a:lvl5pPr marL="0" indent="0" algn="l">
              <a:spcBef>
                <a:spcPts val="0"/>
              </a:spcBef>
              <a:defRPr sz="1198">
                <a:latin typeface="+mn-lt"/>
              </a:defRPr>
            </a:lvl5pPr>
            <a:lvl6pPr marL="0" indent="0" algn="l">
              <a:spcBef>
                <a:spcPts val="0"/>
              </a:spcBef>
              <a:defRPr sz="1198">
                <a:latin typeface="+mn-lt"/>
              </a:defRPr>
            </a:lvl6pPr>
            <a:lvl7pPr marL="0" indent="0" algn="l">
              <a:spcBef>
                <a:spcPts val="0"/>
              </a:spcBef>
              <a:defRPr sz="1198">
                <a:latin typeface="+mn-lt"/>
              </a:defRPr>
            </a:lvl7pPr>
            <a:lvl8pPr marL="0" indent="0" algn="l">
              <a:spcBef>
                <a:spcPts val="0"/>
              </a:spcBef>
              <a:defRPr sz="1198">
                <a:latin typeface="+mn-lt"/>
              </a:defRPr>
            </a:lvl8pPr>
            <a:lvl9pPr marL="0" indent="0" algn="l">
              <a:spcBef>
                <a:spcPts val="0"/>
              </a:spcBef>
              <a:defRPr sz="1198">
                <a:latin typeface="+mn-lt"/>
              </a:defRPr>
            </a:lvl9pPr>
          </a:lstStyle>
          <a:p>
            <a:pPr algn="r"/>
            <a:r>
              <a:rPr lang="en-GB" dirty="0" smtClean="0"/>
              <a:t> </a:t>
            </a:r>
            <a:fld id="{52531704-8F80-415D-BD2B-6B9991AE822F}" type="slidenum">
              <a:rPr lang="en-GB" smtClean="0"/>
              <a:pPr algn="r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7410986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</p15:sldGuideLst>
    </p:ext>
  </p:extLst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Blank/ Headline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6670" name="think-cell スライド" r:id="rId4" imgW="216" imgH="216" progId="TCLayout.ActiveDocument.1">
                  <p:embed/>
                </p:oleObj>
              </mc:Choice>
              <mc:Fallback>
                <p:oleObj name="think-cell スライド" r:id="rId4" imgW="216" imgH="216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10933350" cy="664284"/>
          </a:xfrm>
        </p:spPr>
        <p:txBody>
          <a:bodyPr/>
          <a:lstStyle/>
          <a:p>
            <a:r>
              <a:rPr lang="en-GB" noProof="0" dirty="0" smtClean="0"/>
              <a:t>Headline in CorpoS (Body) 35 pt.</a:t>
            </a:r>
            <a:br>
              <a:rPr lang="en-GB" noProof="0" dirty="0" smtClean="0"/>
            </a:br>
            <a:r>
              <a:rPr lang="en-GB" noProof="0" dirty="0" smtClean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dirty="0" smtClean="0"/>
              <a:t>Title of presentation / Department / Date</a:t>
            </a:r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8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8">
                <a:latin typeface="+mn-lt"/>
              </a:defRPr>
            </a:lvl2pPr>
            <a:lvl3pPr marL="0" indent="0" algn="l">
              <a:spcBef>
                <a:spcPts val="0"/>
              </a:spcBef>
              <a:defRPr sz="1198">
                <a:latin typeface="+mn-lt"/>
              </a:defRPr>
            </a:lvl3pPr>
            <a:lvl4pPr marL="0" indent="0" algn="l">
              <a:spcBef>
                <a:spcPts val="0"/>
              </a:spcBef>
              <a:defRPr sz="1198">
                <a:latin typeface="+mn-lt"/>
              </a:defRPr>
            </a:lvl4pPr>
            <a:lvl5pPr marL="0" indent="0" algn="l">
              <a:spcBef>
                <a:spcPts val="0"/>
              </a:spcBef>
              <a:defRPr sz="1198">
                <a:latin typeface="+mn-lt"/>
              </a:defRPr>
            </a:lvl5pPr>
            <a:lvl6pPr marL="0" indent="0" algn="l">
              <a:spcBef>
                <a:spcPts val="0"/>
              </a:spcBef>
              <a:defRPr sz="1198">
                <a:latin typeface="+mn-lt"/>
              </a:defRPr>
            </a:lvl6pPr>
            <a:lvl7pPr marL="0" indent="0" algn="l">
              <a:spcBef>
                <a:spcPts val="0"/>
              </a:spcBef>
              <a:defRPr sz="1198">
                <a:latin typeface="+mn-lt"/>
              </a:defRPr>
            </a:lvl7pPr>
            <a:lvl8pPr marL="0" indent="0" algn="l">
              <a:spcBef>
                <a:spcPts val="0"/>
              </a:spcBef>
              <a:defRPr sz="1198">
                <a:latin typeface="+mn-lt"/>
              </a:defRPr>
            </a:lvl8pPr>
            <a:lvl9pPr marL="0" indent="0" algn="l">
              <a:spcBef>
                <a:spcPts val="0"/>
              </a:spcBef>
              <a:defRPr sz="1198">
                <a:latin typeface="+mn-lt"/>
              </a:defRPr>
            </a:lvl9pPr>
          </a:lstStyle>
          <a:p>
            <a:pPr algn="r"/>
            <a:r>
              <a:rPr lang="en-GB" dirty="0" smtClean="0"/>
              <a:t> </a:t>
            </a:r>
            <a:fld id="{52531704-8F80-415D-BD2B-6B9991AE822F}" type="slidenum">
              <a:rPr lang="en-GB" smtClean="0"/>
              <a:pPr algn="r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8735303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</p15:sldGuideLst>
    </p:ext>
  </p:extLst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6_Blank/ Headline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10933350" cy="664284"/>
          </a:xfrm>
        </p:spPr>
        <p:txBody>
          <a:bodyPr/>
          <a:lstStyle/>
          <a:p>
            <a:r>
              <a:rPr lang="en-GB" noProof="0" dirty="0" smtClean="0"/>
              <a:t>Headline in CorpoS (Body) 35 pt.</a:t>
            </a:r>
            <a:br>
              <a:rPr lang="en-GB" noProof="0" dirty="0" smtClean="0"/>
            </a:br>
            <a:r>
              <a:rPr lang="en-GB" noProof="0" dirty="0" smtClean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 smtClean="0"/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 smtClean="0"/>
              <a:t> </a:t>
            </a:r>
            <a:fld id="{52531704-8F80-415D-BD2B-6B9991AE822F}" type="slidenum">
              <a:rPr lang="en-GB" smtClean="0"/>
              <a:pPr algn="r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4363623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</p15:sldGuideLst>
    </p:ext>
  </p:extLst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/ Headline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7694" name="think-cell スライド" r:id="rId4" imgW="216" imgH="216" progId="TCLayout.ActiveDocument.1">
                  <p:embed/>
                </p:oleObj>
              </mc:Choice>
              <mc:Fallback>
                <p:oleObj name="think-cell スライド" r:id="rId4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3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10933350" cy="664387"/>
          </a:xfrm>
        </p:spPr>
        <p:txBody>
          <a:bodyPr/>
          <a:lstStyle/>
          <a:p>
            <a:r>
              <a:rPr lang="en-GB" noProof="0" dirty="0" smtClean="0"/>
              <a:t>Headline in CorpoS (Body) 35 pt.</a:t>
            </a:r>
            <a:br>
              <a:rPr lang="en-GB" noProof="0" dirty="0" smtClean="0"/>
            </a:br>
            <a:r>
              <a:rPr lang="en-GB" noProof="0" dirty="0" smtClean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FORCE OpCom/CS Retail Excellence/February 21, 2019</a:t>
            </a:r>
            <a:endParaRPr lang="en-GB" dirty="0" smtClean="0">
              <a:solidFill>
                <a:prstClr val="black"/>
              </a:solidFill>
            </a:endParaRPr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 smtClean="0">
                <a:solidFill>
                  <a:prstClr val="black"/>
                </a:solidFill>
              </a:rPr>
              <a:t> </a:t>
            </a:r>
            <a:fld id="{52531704-8F80-415D-BD2B-6B9991AE822F}" type="slidenum">
              <a:rPr lang="en-GB" smtClean="0">
                <a:solidFill>
                  <a:prstClr val="black"/>
                </a:solidFill>
              </a:rPr>
              <a:pPr algn="r"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267474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without brush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Headline for Agenda in CorpoS (Body) 35 pt. </a:t>
            </a:r>
            <a:br>
              <a:rPr lang="en-GB" noProof="0" dirty="0"/>
            </a:br>
            <a:r>
              <a:rPr lang="en-GB" noProof="0" dirty="0"/>
              <a:t>one or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DI-Lama Project Update | Phani Sarraju | 4.Sep.2018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dirty="0">
                <a:solidFill>
                  <a:prstClr val="black"/>
                </a:solidFill>
              </a:rPr>
              <a:t>Page </a:t>
            </a:r>
            <a:fld id="{52531704-8F80-415D-BD2B-6B9991AE822F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28324" y="1504602"/>
            <a:ext cx="10932180" cy="4875670"/>
          </a:xfrm>
        </p:spPr>
        <p:txBody>
          <a:bodyPr/>
          <a:lstStyle>
            <a:lvl1pPr marL="359820" indent="-359820">
              <a:buSzPct val="100000"/>
              <a:buFont typeface="+mj-lt"/>
              <a:buAutoNum type="arabicPeriod"/>
              <a:defRPr>
                <a:solidFill>
                  <a:schemeClr val="tx1"/>
                </a:solidFill>
              </a:defRPr>
            </a:lvl1pPr>
            <a:lvl2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2pPr>
            <a:lvl3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3pPr>
            <a:lvl4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4pPr>
            <a:lvl5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5pPr>
            <a:lvl6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6pPr>
            <a:lvl7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7pPr>
            <a:lvl8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8pPr>
            <a:lvl9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Insert Agenda point</a:t>
            </a:r>
          </a:p>
          <a:p>
            <a:pPr lvl="1"/>
            <a:r>
              <a:rPr lang="en-GB" dirty="0"/>
              <a:t>Second level 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s level</a:t>
            </a:r>
          </a:p>
          <a:p>
            <a:pPr lvl="7"/>
            <a:r>
              <a:rPr lang="en-GB" dirty="0"/>
              <a:t>Eight level</a:t>
            </a:r>
          </a:p>
          <a:p>
            <a:pPr lvl="8"/>
            <a:r>
              <a:rPr lang="en-GB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98863470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ection header line">
    <p:bg bwMode="black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718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2"/>
            <a:ext cx="10936800" cy="2041200"/>
          </a:xfrm>
        </p:spPr>
        <p:txBody>
          <a:bodyPr anchor="t">
            <a:noAutofit/>
          </a:bodyPr>
          <a:lstStyle>
            <a:lvl1pPr>
              <a:defRPr sz="5394">
                <a:solidFill>
                  <a:schemeClr val="bg1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big statement text</a:t>
            </a:r>
            <a:endParaRPr lang="en-US" dirty="0"/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900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  <p:sp>
        <p:nvSpPr>
          <p:cNvPr id="6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srgbClr val="FFFFFF"/>
                </a:solidFill>
              </a:rPr>
              <a:t>2018-10-05_FORCE OpCo_No3_v03.pptx</a:t>
            </a:r>
            <a:endParaRPr lang="en-US" sz="1199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70990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2/4 brushe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28323" y="5121280"/>
            <a:ext cx="10932181" cy="1025684"/>
          </a:xfrm>
        </p:spPr>
        <p:txBody>
          <a:bodyPr wrap="square" anchor="b" anchorCtr="0">
            <a:spAutoFit/>
          </a:bodyPr>
          <a:lstStyle>
            <a:lvl1pPr>
              <a:defRPr/>
            </a:lvl1pPr>
          </a:lstStyle>
          <a:p>
            <a:r>
              <a:rPr lang="en-US" dirty="0" smtClean="0"/>
              <a:t>Referent’s name: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</a:t>
            </a:r>
            <a:r>
              <a:rPr lang="en-US" dirty="0" smtClean="0"/>
              <a:t>(Body) 35 pt. Presentation title</a:t>
            </a:r>
            <a:br>
              <a:rPr lang="en-US" dirty="0" smtClean="0"/>
            </a:br>
            <a:r>
              <a:rPr lang="en-US" dirty="0" smtClean="0"/>
              <a:t>in two or more lines of text, dd. </a:t>
            </a:r>
            <a:r>
              <a:rPr lang="en-US" dirty="0" err="1" smtClean="0"/>
              <a:t>mmmm</a:t>
            </a:r>
            <a:r>
              <a:rPr lang="en-US" dirty="0" smtClean="0"/>
              <a:t> </a:t>
            </a:r>
            <a:r>
              <a:rPr lang="en-US" dirty="0" err="1" smtClean="0"/>
              <a:t>yyyy</a:t>
            </a:r>
            <a:endParaRPr lang="en-US" dirty="0"/>
          </a:p>
        </p:txBody>
      </p:sp>
      <p:pic>
        <p:nvPicPr>
          <p:cNvPr id="28" name="Wortmarke DAIMLER" descr="Daimler_RGB_100mm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9672" y="790853"/>
            <a:ext cx="3418220" cy="462728"/>
          </a:xfrm>
          <a:prstGeom prst="rect">
            <a:avLst/>
          </a:prstGeom>
        </p:spPr>
      </p:pic>
      <p:pic>
        <p:nvPicPr>
          <p:cNvPr id="4" name="Wortmarke DAIMLER" descr="Daimler_RGB_100mm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672" y="790853"/>
            <a:ext cx="3418220" cy="462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54261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1790" name="think-cell スライド" r:id="rId4" imgW="395" imgH="394" progId="TCLayout.ActiveDocument.1">
                  <p:embed/>
                </p:oleObj>
              </mc:Choice>
              <mc:Fallback>
                <p:oleObj name="think-cell スライド" r:id="rId4" imgW="395" imgH="39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9671" y="285982"/>
            <a:ext cx="10931106" cy="1151733"/>
          </a:xfrm>
        </p:spPr>
        <p:txBody>
          <a:bodyPr/>
          <a:lstStyle/>
          <a:p>
            <a:r>
              <a:rPr lang="en-US" noProof="0" dirty="0" smtClean="0"/>
              <a:t>Headline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 35 pt.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29671" y="1504603"/>
            <a:ext cx="10930387" cy="4875670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073660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2890" name="think-cell スライド" r:id="rId5" imgW="395" imgH="394" progId="TCLayout.ActiveDocument.1">
                  <p:embed/>
                </p:oleObj>
              </mc:Choice>
              <mc:Fallback>
                <p:oleObj name="think-cell スライド" r:id="rId5" imgW="395" imgH="39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9671" y="285982"/>
            <a:ext cx="10931106" cy="1151733"/>
          </a:xfrm>
        </p:spPr>
        <p:txBody>
          <a:bodyPr/>
          <a:lstStyle/>
          <a:p>
            <a:r>
              <a:rPr lang="en-US" noProof="0" dirty="0" smtClean="0"/>
              <a:t>Headline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 35 pt.</a:t>
            </a:r>
            <a:endParaRPr lang="en-US" dirty="0"/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2891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98675519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020">
          <p15:clr>
            <a:srgbClr val="FBAE40"/>
          </p15:clr>
        </p15:guide>
      </p15:sldGuideLst>
    </p:ext>
  </p:extLst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1320216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Headline for Agenda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 35 pt. </a:t>
            </a:r>
            <a:br>
              <a:rPr lang="en-US" noProof="0" dirty="0" smtClean="0"/>
            </a:br>
            <a:r>
              <a:rPr lang="en-US" noProof="0" dirty="0" smtClean="0"/>
              <a:t>one or two lines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28324" y="1504602"/>
            <a:ext cx="10932180" cy="4875670"/>
          </a:xfrm>
        </p:spPr>
        <p:txBody>
          <a:bodyPr/>
          <a:lstStyle>
            <a:lvl1pPr marL="359820" indent="-359820">
              <a:lnSpc>
                <a:spcPct val="100000"/>
              </a:lnSpc>
              <a:spcBef>
                <a:spcPts val="300"/>
              </a:spcBef>
              <a:buSzPct val="100000"/>
              <a:buFont typeface="+mj-lt"/>
              <a:buAutoNum type="arabicPeriod"/>
              <a:defRPr>
                <a:solidFill>
                  <a:schemeClr val="tx1"/>
                </a:solidFill>
              </a:defRPr>
            </a:lvl1pPr>
            <a:lvl2pPr marL="359820" indent="-359820">
              <a:lnSpc>
                <a:spcPct val="100000"/>
              </a:lnSpc>
              <a:spcBef>
                <a:spcPts val="300"/>
              </a:spcBef>
              <a:buFont typeface="+mj-lt"/>
              <a:buAutoNum type="arabicPeriod"/>
              <a:defRPr>
                <a:solidFill>
                  <a:schemeClr val="tx1"/>
                </a:solidFill>
              </a:defRPr>
            </a:lvl2pPr>
            <a:lvl3pPr marL="359820" indent="-359820">
              <a:lnSpc>
                <a:spcPct val="100000"/>
              </a:lnSpc>
              <a:spcBef>
                <a:spcPts val="300"/>
              </a:spcBef>
              <a:buFont typeface="+mj-lt"/>
              <a:buAutoNum type="arabicPeriod"/>
              <a:defRPr>
                <a:solidFill>
                  <a:schemeClr val="tx1"/>
                </a:solidFill>
              </a:defRPr>
            </a:lvl3pPr>
            <a:lvl4pPr marL="359820" indent="-359820">
              <a:lnSpc>
                <a:spcPct val="100000"/>
              </a:lnSpc>
              <a:spcBef>
                <a:spcPts val="300"/>
              </a:spcBef>
              <a:buFont typeface="+mj-lt"/>
              <a:buAutoNum type="arabicPeriod"/>
              <a:defRPr>
                <a:solidFill>
                  <a:schemeClr val="tx1"/>
                </a:solidFill>
              </a:defRPr>
            </a:lvl4pPr>
            <a:lvl5pPr marL="359820" indent="-359820">
              <a:lnSpc>
                <a:spcPct val="100000"/>
              </a:lnSpc>
              <a:spcBef>
                <a:spcPts val="300"/>
              </a:spcBef>
              <a:buFont typeface="+mj-lt"/>
              <a:buAutoNum type="arabicPeriod"/>
              <a:defRPr>
                <a:solidFill>
                  <a:schemeClr val="tx1"/>
                </a:solidFill>
              </a:defRPr>
            </a:lvl5pPr>
            <a:lvl6pPr marL="359820" indent="-359820">
              <a:lnSpc>
                <a:spcPct val="100000"/>
              </a:lnSpc>
              <a:spcBef>
                <a:spcPts val="300"/>
              </a:spcBef>
              <a:buFont typeface="+mj-lt"/>
              <a:buAutoNum type="arabicPeriod"/>
              <a:defRPr>
                <a:solidFill>
                  <a:schemeClr val="tx1"/>
                </a:solidFill>
              </a:defRPr>
            </a:lvl6pPr>
            <a:lvl7pPr marL="359820" indent="-359820">
              <a:lnSpc>
                <a:spcPct val="100000"/>
              </a:lnSpc>
              <a:spcBef>
                <a:spcPts val="300"/>
              </a:spcBef>
              <a:buFont typeface="+mj-lt"/>
              <a:buAutoNum type="arabicPeriod"/>
              <a:defRPr>
                <a:solidFill>
                  <a:schemeClr val="tx1"/>
                </a:solidFill>
              </a:defRPr>
            </a:lvl7pPr>
            <a:lvl8pPr marL="359820" indent="-359820">
              <a:lnSpc>
                <a:spcPct val="100000"/>
              </a:lnSpc>
              <a:spcBef>
                <a:spcPts val="300"/>
              </a:spcBef>
              <a:buFont typeface="+mj-lt"/>
              <a:buAutoNum type="arabicPeriod"/>
              <a:defRPr>
                <a:solidFill>
                  <a:schemeClr val="tx1"/>
                </a:solidFill>
              </a:defRPr>
            </a:lvl8pPr>
            <a:lvl9pPr marL="359820" indent="-359820">
              <a:lnSpc>
                <a:spcPct val="100000"/>
              </a:lnSpc>
              <a:spcBef>
                <a:spcPts val="300"/>
              </a:spcBef>
              <a:buFont typeface="+mj-lt"/>
              <a:buAutoNum type="arabicPeriod"/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 smtClean="0"/>
              <a:t>Insert Agenda point</a:t>
            </a:r>
          </a:p>
          <a:p>
            <a:pPr lvl="1"/>
            <a:r>
              <a:rPr lang="en-US" dirty="0" smtClean="0"/>
              <a:t>Second level 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s level</a:t>
            </a:r>
          </a:p>
          <a:p>
            <a:pPr lvl="7"/>
            <a:r>
              <a:rPr lang="en-US" dirty="0" smtClean="0"/>
              <a:t>Eight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150995740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3838" name="think-cell スライド" r:id="rId4" imgW="395" imgH="394" progId="TCLayout.ActiveDocument.1">
                  <p:embed/>
                </p:oleObj>
              </mc:Choice>
              <mc:Fallback>
                <p:oleObj name="think-cell スライド" r:id="rId4" imgW="395" imgH="39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9817" y="576000"/>
            <a:ext cx="10620553" cy="385200"/>
          </a:xfrm>
        </p:spPr>
        <p:txBody>
          <a:bodyPr/>
          <a:lstStyle>
            <a:lvl1pPr>
              <a:defRPr>
                <a:solidFill>
                  <a:srgbClr val="12263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779817" y="2019600"/>
            <a:ext cx="10620553" cy="4269600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779817" y="968400"/>
            <a:ext cx="10620553" cy="385200"/>
          </a:xfrm>
        </p:spPr>
        <p:txBody>
          <a:bodyPr>
            <a:norm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US" sz="1799" b="0" i="1" dirty="0">
                <a:solidFill>
                  <a:schemeClr val="tx2"/>
                </a:solidFill>
                <a:latin typeface="Georgia" pitchFamily="18" charset="0"/>
                <a:ea typeface="ＭＳ Ｐゴシック" pitchFamily="80" charset="-128"/>
                <a:cs typeface="+mj-cs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752623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ext/ content/ Headline 2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1590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4862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9E9E9E"/>
          </a:solidFill>
          <a:ln>
            <a:solidFill>
              <a:srgbClr val="9E9E9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endParaRPr lang="en-US" sz="3498" b="0" i="0" baseline="0" dirty="0" err="1" smtClean="0">
              <a:latin typeface="CorpoS" pitchFamily="2" charset="0"/>
              <a:ea typeface="+mj-ea"/>
              <a:cs typeface="+mj-cs"/>
              <a:sym typeface="CorpoS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Headline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 35 pt.</a:t>
            </a:r>
            <a:br>
              <a:rPr lang="en-US" noProof="0" dirty="0" smtClean="0"/>
            </a:br>
            <a:r>
              <a:rPr lang="en-US" noProof="0" dirty="0" smtClean="0"/>
              <a:t>in two lines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629909" y="1504602"/>
            <a:ext cx="10930594" cy="4983236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noProof="0" dirty="0" smtClean="0"/>
              <a:t>Insert content or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 24 pt. (Mark-ups in Bold) // for conclusion, summary or short highlight: Home // Paragraph// Increase Li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(Conclusion, summary or short highlight)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s level</a:t>
            </a:r>
          </a:p>
          <a:p>
            <a:pPr lvl="7"/>
            <a:r>
              <a:rPr lang="en-US" dirty="0" smtClean="0"/>
              <a:t>Eight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7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7">
                <a:latin typeface="+mn-lt"/>
              </a:defRPr>
            </a:lvl2pPr>
            <a:lvl3pPr marL="0" indent="0" algn="l">
              <a:spcBef>
                <a:spcPts val="0"/>
              </a:spcBef>
              <a:defRPr sz="1197">
                <a:latin typeface="+mn-lt"/>
              </a:defRPr>
            </a:lvl3pPr>
            <a:lvl4pPr marL="0" indent="0" algn="l">
              <a:spcBef>
                <a:spcPts val="0"/>
              </a:spcBef>
              <a:defRPr sz="1197">
                <a:latin typeface="+mn-lt"/>
              </a:defRPr>
            </a:lvl4pPr>
            <a:lvl5pPr marL="0" indent="0" algn="l">
              <a:spcBef>
                <a:spcPts val="0"/>
              </a:spcBef>
              <a:defRPr sz="1197">
                <a:latin typeface="+mn-lt"/>
              </a:defRPr>
            </a:lvl5pPr>
            <a:lvl6pPr marL="0" indent="0" algn="l">
              <a:spcBef>
                <a:spcPts val="0"/>
              </a:spcBef>
              <a:defRPr sz="1197">
                <a:latin typeface="+mn-lt"/>
              </a:defRPr>
            </a:lvl6pPr>
            <a:lvl7pPr marL="0" indent="0" algn="l">
              <a:spcBef>
                <a:spcPts val="0"/>
              </a:spcBef>
              <a:defRPr sz="1197">
                <a:latin typeface="+mn-lt"/>
              </a:defRPr>
            </a:lvl7pPr>
            <a:lvl8pPr marL="0" indent="0" algn="l">
              <a:spcBef>
                <a:spcPts val="0"/>
              </a:spcBef>
              <a:defRPr sz="1197">
                <a:latin typeface="+mn-lt"/>
              </a:defRPr>
            </a:lvl8pPr>
            <a:lvl9pPr marL="0" indent="0" algn="l">
              <a:spcBef>
                <a:spcPts val="0"/>
              </a:spcBef>
              <a:defRPr sz="1197">
                <a:latin typeface="+mn-lt"/>
              </a:defRPr>
            </a:lvl9pPr>
          </a:lstStyle>
          <a:p>
            <a:pPr algn="r" defTabSz="1087763"/>
            <a:r>
              <a:rPr lang="en-US" smtClean="0">
                <a:solidFill>
                  <a:prstClr val="black"/>
                </a:solidFill>
              </a:rPr>
              <a:t> </a:t>
            </a:r>
            <a:fld id="{52531704-8F80-415D-BD2B-6B9991AE822F}" type="slidenum">
              <a:rPr lang="en-US" smtClean="0">
                <a:solidFill>
                  <a:prstClr val="black"/>
                </a:solidFill>
              </a:rPr>
              <a:pPr algn="r" defTabSz="1087763"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778203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  <p15:guide id="3" orient="horz" pos="950">
          <p15:clr>
            <a:srgbClr val="FBAE40"/>
          </p15:clr>
        </p15:guide>
      </p15:sldGuideLst>
    </p:ext>
  </p:extLst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5886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lowchart: Manual Input 7"/>
          <p:cNvSpPr/>
          <p:nvPr userDrawn="1"/>
        </p:nvSpPr>
        <p:spPr>
          <a:xfrm>
            <a:off x="0" y="3610066"/>
            <a:ext cx="12192000" cy="3247934"/>
          </a:xfrm>
          <a:prstGeom prst="flowChartManualInput">
            <a:avLst/>
          </a:prstGeom>
          <a:solidFill>
            <a:srgbClr val="E6E6E6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9E9E9E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99" dirty="0" err="1" smtClean="0">
              <a:solidFill>
                <a:prstClr val="white"/>
              </a:solidFill>
            </a:endParaRPr>
          </a:p>
        </p:txBody>
      </p:sp>
      <p:sp>
        <p:nvSpPr>
          <p:cNvPr id="9" name="Flowchart: Manual Input 8"/>
          <p:cNvSpPr/>
          <p:nvPr userDrawn="1"/>
        </p:nvSpPr>
        <p:spPr>
          <a:xfrm flipH="1" flipV="1">
            <a:off x="0" y="0"/>
            <a:ext cx="12192000" cy="4532850"/>
          </a:xfrm>
          <a:prstGeom prst="flowChartManualInput">
            <a:avLst/>
          </a:prstGeom>
          <a:solidFill>
            <a:srgbClr val="00566D"/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99" dirty="0" err="1" smtClean="0">
              <a:solidFill>
                <a:prstClr val="white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804" t="9756" r="6727" b="4972"/>
          <a:stretch/>
        </p:blipFill>
        <p:spPr>
          <a:xfrm>
            <a:off x="131974" y="3490768"/>
            <a:ext cx="3789529" cy="2442689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956" r="13359"/>
          <a:stretch>
            <a:fillRect/>
          </a:stretch>
        </p:blipFill>
        <p:spPr>
          <a:xfrm>
            <a:off x="9405114" y="3500651"/>
            <a:ext cx="2691445" cy="2418386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8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6741655" y="3672592"/>
            <a:ext cx="2935899" cy="2320471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40885" y="3474457"/>
            <a:ext cx="3570966" cy="2833362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10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04555" y="3766182"/>
            <a:ext cx="2312483" cy="2541637"/>
          </a:xfrm>
          <a:prstGeom prst="rect">
            <a:avLst/>
          </a:prstGeom>
        </p:spPr>
      </p:pic>
      <p:pic>
        <p:nvPicPr>
          <p:cNvPr id="17" name="Wortmarke DAIMLER" descr="Daimler_RGB_100mm.png"/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1254" y="791617"/>
            <a:ext cx="3417231" cy="462594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4648" y="613010"/>
            <a:ext cx="786654" cy="786882"/>
          </a:xfrm>
          <a:prstGeom prst="rect">
            <a:avLst/>
          </a:prstGeom>
        </p:spPr>
      </p:pic>
      <p:pic>
        <p:nvPicPr>
          <p:cNvPr id="20" name="Picture 3" descr="C:\Users\rajarrv\AppData\Local\Microsoft\Windows\Temporary Internet Files\Content.Outlook\3CY2KM7L\B-No Background FORCE LOGO.png"/>
          <p:cNvPicPr>
            <a:picLocks noChangeAspect="1" noChangeArrowheads="1"/>
          </p:cNvPicPr>
          <p:nvPr userDrawn="1"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419611" y="692628"/>
            <a:ext cx="2166326" cy="6188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itle 1"/>
          <p:cNvSpPr>
            <a:spLocks noGrp="1"/>
          </p:cNvSpPr>
          <p:nvPr>
            <p:ph type="title" hasCustomPrompt="1"/>
          </p:nvPr>
        </p:nvSpPr>
        <p:spPr>
          <a:xfrm>
            <a:off x="628326" y="2001480"/>
            <a:ext cx="10932181" cy="526176"/>
          </a:xfrm>
        </p:spPr>
        <p:txBody>
          <a:bodyPr anchor="b">
            <a:spAutoFit/>
          </a:bodyPr>
          <a:lstStyle>
            <a:lvl1pPr marL="0" indent="0" algn="l" defTabSz="1087871" rtl="0" eaLnBrk="1" latinLnBrk="0" hangingPunct="1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3598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CorpoS" pitchFamily="2" charset="0"/>
              </a:defRPr>
            </a:lvl1pPr>
          </a:lstStyle>
          <a:p>
            <a:pPr>
              <a:lnSpc>
                <a:spcPct val="95000"/>
              </a:lnSpc>
            </a:pPr>
            <a:r>
              <a:rPr lang="en-US" dirty="0" smtClean="0"/>
              <a:t>Title in </a:t>
            </a:r>
            <a:r>
              <a:rPr lang="en-US" dirty="0" err="1" smtClean="0"/>
              <a:t>CorpoS</a:t>
            </a:r>
            <a:r>
              <a:rPr lang="en-US" dirty="0" smtClean="0"/>
              <a:t> 35 </a:t>
            </a:r>
            <a:r>
              <a:rPr lang="en-US" dirty="0" err="1" smtClean="0"/>
              <a:t>pt</a:t>
            </a:r>
            <a:r>
              <a:rPr lang="en-US" dirty="0" smtClean="0"/>
              <a:t>, white, non-bold</a:t>
            </a:r>
            <a:endParaRPr lang="en-US" sz="2798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628326" y="6251051"/>
            <a:ext cx="10932181" cy="489060"/>
          </a:xfrm>
        </p:spPr>
        <p:txBody>
          <a:bodyPr/>
          <a:lstStyle>
            <a:lvl1pPr>
              <a:defRPr sz="1599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Date in 16 </a:t>
            </a:r>
            <a:r>
              <a:rPr lang="en-US" dirty="0" err="1" smtClean="0"/>
              <a:t>pt</a:t>
            </a:r>
            <a:r>
              <a:rPr lang="en-US" dirty="0" smtClean="0"/>
              <a:t>, black, non-bold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28326" y="2485504"/>
            <a:ext cx="10932181" cy="398371"/>
          </a:xfrm>
        </p:spPr>
        <p:txBody>
          <a:bodyPr/>
          <a:lstStyle>
            <a:lvl1pPr>
              <a:defRPr sz="2399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 smtClean="0"/>
              <a:t>Subtitle in </a:t>
            </a:r>
            <a:r>
              <a:rPr lang="en-US" dirty="0" err="1" smtClean="0"/>
              <a:t>CorposS</a:t>
            </a:r>
            <a:r>
              <a:rPr lang="en-US" dirty="0" smtClean="0"/>
              <a:t> 24 </a:t>
            </a:r>
            <a:r>
              <a:rPr lang="en-US" dirty="0" err="1" smtClean="0"/>
              <a:t>pt</a:t>
            </a:r>
            <a:r>
              <a:rPr lang="en-US" dirty="0" smtClean="0"/>
              <a:t>, white, non-bol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9853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/ content/ Headline 2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Headline in CorpoS (Body) 35 pt.</a:t>
            </a:r>
            <a:br>
              <a:rPr lang="en-GB" noProof="0" dirty="0"/>
            </a:br>
            <a:r>
              <a:rPr lang="en-GB" noProof="0" dirty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DI-Lama Project Update | Phani Sarraju | 4.Sep.2018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dirty="0">
                <a:solidFill>
                  <a:prstClr val="black"/>
                </a:solidFill>
              </a:rPr>
              <a:t>Page </a:t>
            </a:r>
            <a:fld id="{52531704-8F80-415D-BD2B-6B9991AE822F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629909" y="1504602"/>
            <a:ext cx="10930594" cy="4983236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noProof="0" dirty="0"/>
              <a:t>Insert content or text in CorpoS (Body) 24 pt. (Mark-ups in Bold) // for conclusion, summary or short highlight: Home // Paragraph// Increase List Level</a:t>
            </a:r>
          </a:p>
          <a:p>
            <a:pPr lvl="1"/>
            <a:r>
              <a:rPr lang="en-GB" noProof="0" dirty="0"/>
              <a:t>Second level (Conclusion, summary or short highlight)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Sixth level</a:t>
            </a:r>
          </a:p>
          <a:p>
            <a:pPr lvl="6"/>
            <a:r>
              <a:rPr lang="en-GB" noProof="0" dirty="0"/>
              <a:t>Sevens level</a:t>
            </a:r>
          </a:p>
          <a:p>
            <a:pPr lvl="7"/>
            <a:r>
              <a:rPr lang="en-GB" noProof="0" dirty="0"/>
              <a:t>Eight level</a:t>
            </a:r>
          </a:p>
          <a:p>
            <a:pPr lvl="8"/>
            <a:r>
              <a:rPr lang="en-GB" noProof="0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3596547063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ext/ image/ Headline 2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Regieanweisungen"/>
          <p:cNvGrpSpPr/>
          <p:nvPr/>
        </p:nvGrpSpPr>
        <p:grpSpPr>
          <a:xfrm>
            <a:off x="-2086913" y="-467892"/>
            <a:ext cx="13647691" cy="7792196"/>
            <a:chOff x="-2088000" y="-468000"/>
            <a:chExt cx="13654799" cy="7794000"/>
          </a:xfrm>
        </p:grpSpPr>
        <p:sp>
          <p:nvSpPr>
            <p:cNvPr id="22" name="Hilfslinien"/>
            <p:cNvSpPr txBox="1"/>
            <p:nvPr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1042388">
                <a:defRPr/>
              </a:pPr>
              <a:r>
                <a:rPr lang="en-GB" sz="1099" dirty="0">
                  <a:solidFill>
                    <a:srgbClr val="444444"/>
                  </a:solidFill>
                </a:rPr>
                <a:t>Show guides via menu bar: View // Show // tick Guides</a:t>
              </a:r>
            </a:p>
          </p:txBody>
        </p:sp>
        <p:sp>
          <p:nvSpPr>
            <p:cNvPr id="23" name="Fußzeile"/>
            <p:cNvSpPr txBox="1"/>
            <p:nvPr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 defTabSz="1042388">
                <a:defRPr/>
              </a:pPr>
              <a:r>
                <a:rPr lang="en-GB" sz="1099" dirty="0">
                  <a:solidFill>
                    <a:srgbClr val="444444"/>
                  </a:solidFill>
                </a:rPr>
                <a:t>Adjust footer (per slide or for several/all slides) via menu bar: Insert // Text // Header &amp; Footer</a:t>
              </a:r>
            </a:p>
          </p:txBody>
        </p:sp>
        <p:grpSp>
          <p:nvGrpSpPr>
            <p:cNvPr id="24" name="Hinweise links"/>
            <p:cNvGrpSpPr/>
            <p:nvPr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25" name="Folie Wechsel/Zurücksetzen/Textebenen"/>
              <p:cNvSpPr txBox="1"/>
              <p:nvPr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Reset the slide back to its </a:t>
                </a: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original form via menu bar:</a:t>
                </a: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Home // Slides // Reset</a:t>
                </a:r>
              </a:p>
              <a:p>
                <a:pPr algn="r"/>
                <a:endParaRPr lang="en-GB" sz="1099" dirty="0">
                  <a:solidFill>
                    <a:srgbClr val="444444"/>
                  </a:solidFill>
                </a:endParaRP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Change the slide layout </a:t>
                </a: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via menu bar:</a:t>
                </a: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Home // Slides // Layout</a:t>
                </a:r>
              </a:p>
              <a:p>
                <a:pPr algn="r"/>
                <a:endParaRPr lang="en-GB" sz="1099" dirty="0">
                  <a:solidFill>
                    <a:srgbClr val="444444"/>
                  </a:solidFill>
                </a:endParaRP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Change the text level</a:t>
                </a: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via menu bar: </a:t>
                </a:r>
                <a:br>
                  <a:rPr lang="en-GB" sz="1099" dirty="0">
                    <a:solidFill>
                      <a:srgbClr val="444444"/>
                    </a:solidFill>
                  </a:rPr>
                </a:br>
                <a:r>
                  <a:rPr lang="en-GB" sz="1099" dirty="0">
                    <a:solidFill>
                      <a:srgbClr val="444444"/>
                    </a:solidFill>
                  </a:rPr>
                  <a:t>Home // Paragraph // Increase/</a:t>
                </a: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Decrease List Level</a:t>
                </a:r>
              </a:p>
            </p:txBody>
          </p:sp>
          <p:grpSp>
            <p:nvGrpSpPr>
              <p:cNvPr id="26" name="Listenebenen"/>
              <p:cNvGrpSpPr/>
              <p:nvPr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27" name="Text // Listenebene erhöhen"/>
                <p:cNvSpPr txBox="1"/>
                <p:nvPr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r">
                    <a:defRPr/>
                  </a:pPr>
                  <a:r>
                    <a:rPr lang="en-GB" sz="999" dirty="0">
                      <a:solidFill>
                        <a:srgbClr val="444444"/>
                      </a:solidFill>
                    </a:rPr>
                    <a:t>Increase</a:t>
                  </a:r>
                </a:p>
                <a:p>
                  <a:pPr algn="r">
                    <a:defRPr/>
                  </a:pPr>
                  <a:r>
                    <a:rPr lang="en-GB" sz="999" dirty="0">
                      <a:solidFill>
                        <a:srgbClr val="444444"/>
                      </a:solidFill>
                    </a:rPr>
                    <a:t>List Level</a:t>
                  </a:r>
                </a:p>
              </p:txBody>
            </p:sp>
            <p:sp>
              <p:nvSpPr>
                <p:cNvPr id="28" name="Text // Listenebene verringern"/>
                <p:cNvSpPr txBox="1"/>
                <p:nvPr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r">
                    <a:defRPr/>
                  </a:pPr>
                  <a:r>
                    <a:rPr lang="en-GB" sz="999" dirty="0">
                      <a:solidFill>
                        <a:srgbClr val="444444"/>
                      </a:solidFill>
                    </a:rPr>
                    <a:t>Decrease </a:t>
                  </a:r>
                </a:p>
                <a:p>
                  <a:pPr algn="r">
                    <a:defRPr/>
                  </a:pPr>
                  <a:r>
                    <a:rPr lang="en-GB" sz="999" dirty="0">
                      <a:solidFill>
                        <a:srgbClr val="444444"/>
                      </a:solidFill>
                    </a:rPr>
                    <a:t>List Level</a:t>
                  </a:r>
                </a:p>
              </p:txBody>
            </p:sp>
            <p:pic>
              <p:nvPicPr>
                <p:cNvPr id="29" name="Listenebene erhöhen"/>
                <p:cNvPicPr>
                  <a:picLocks noChangeAspect="1"/>
                </p:cNvPicPr>
                <p:nvPr/>
              </p:nvPicPr>
              <p:blipFill>
                <a:blip r:embed="rId2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30" name="Listenebene verringern"/>
                <p:cNvPicPr>
                  <a:picLocks noChangeAspect="1"/>
                </p:cNvPicPr>
                <p:nvPr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10" name="Daimler AG (Wortmarke)"/>
          <p:cNvSpPr>
            <a:spLocks noChangeArrowheads="1"/>
          </p:cNvSpPr>
          <p:nvPr/>
        </p:nvSpPr>
        <p:spPr bwMode="auto">
          <a:xfrm>
            <a:off x="629672" y="6564880"/>
            <a:ext cx="2086913" cy="2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r>
              <a:rPr lang="en-GB" sz="1199" dirty="0">
                <a:solidFill>
                  <a:prstClr val="black"/>
                </a:solidFill>
                <a:latin typeface="CorpoS"/>
                <a:cs typeface="Daimler CS"/>
              </a:rPr>
              <a:t>Daimler AG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Headline in CorpoS (Body) 35 pt.</a:t>
            </a:r>
            <a:br>
              <a:rPr lang="en-GB" noProof="0" dirty="0"/>
            </a:br>
            <a:r>
              <a:rPr lang="en-GB" noProof="0" dirty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DI-Lama Project Update | Phani Sarraju | 4.Sep.2018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dirty="0">
                <a:solidFill>
                  <a:prstClr val="black"/>
                </a:solidFill>
              </a:rPr>
              <a:t>Page </a:t>
            </a:r>
            <a:fld id="{52531704-8F80-415D-BD2B-6B9991AE822F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629909" y="1504602"/>
            <a:ext cx="10930594" cy="4983236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noProof="0" dirty="0"/>
              <a:t>Insert content or text in </a:t>
            </a:r>
            <a:r>
              <a:rPr lang="en-GB" noProof="0" dirty="0" err="1"/>
              <a:t>Corpo</a:t>
            </a:r>
            <a:r>
              <a:rPr lang="en-GB" noProof="0" dirty="0"/>
              <a:t> S (Body) 24 pt. (Mark-ups in Bold) // for conclusion, summary or short highlight: Home // Paragraph// Increase List Level</a:t>
            </a:r>
          </a:p>
          <a:p>
            <a:pPr lvl="1"/>
            <a:r>
              <a:rPr lang="en-GB" noProof="0" dirty="0"/>
              <a:t>Second level (Conclusion, summary or short highlight)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Sixth level</a:t>
            </a:r>
          </a:p>
          <a:p>
            <a:pPr lvl="6"/>
            <a:r>
              <a:rPr lang="en-GB" noProof="0" dirty="0"/>
              <a:t>Sevens level</a:t>
            </a:r>
          </a:p>
          <a:p>
            <a:pPr lvl="7"/>
            <a:r>
              <a:rPr lang="en-GB" noProof="0" dirty="0"/>
              <a:t>Eight level</a:t>
            </a:r>
          </a:p>
          <a:p>
            <a:pPr lvl="8"/>
            <a:r>
              <a:rPr lang="en-GB" noProof="0" dirty="0"/>
              <a:t>Ninth level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29909" y="1504602"/>
            <a:ext cx="10930593" cy="4983236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>Insert picture</a:t>
            </a:r>
          </a:p>
        </p:txBody>
      </p:sp>
    </p:spTree>
    <p:extLst>
      <p:ext uri="{BB962C8B-B14F-4D97-AF65-F5344CB8AC3E}">
        <p14:creationId xmlns:p14="http://schemas.microsoft.com/office/powerpoint/2010/main" val="299334207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  <p15:guide id="3" orient="horz" pos="950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/ content/ Headline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9671" y="285982"/>
            <a:ext cx="10931106" cy="683842"/>
          </a:xfrm>
        </p:spPr>
        <p:txBody>
          <a:bodyPr/>
          <a:lstStyle/>
          <a:p>
            <a:r>
              <a:rPr lang="en-GB" noProof="0" dirty="0"/>
              <a:t>Headline in CorpoS (Body) 35 pt.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DI-Lama Project Update | Phani Sarraju | 4.Sep.2018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dirty="0">
                <a:solidFill>
                  <a:prstClr val="black"/>
                </a:solidFill>
              </a:rPr>
              <a:t>Page </a:t>
            </a:r>
            <a:fld id="{52531704-8F80-415D-BD2B-6B9991AE822F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629671" y="1233203"/>
            <a:ext cx="10930832" cy="525463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noProof="0" dirty="0"/>
              <a:t>Insert content or text in CorpoS (Body) 24 pt. (Mark-ups in Bold) // for conclusion, summary or short highlight: Home // Paragraph// Increase List Level</a:t>
            </a:r>
          </a:p>
          <a:p>
            <a:pPr lvl="1"/>
            <a:r>
              <a:rPr lang="en-GB" noProof="0" dirty="0"/>
              <a:t>Second level (Conclusion, summary or short highlight)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Sixth level</a:t>
            </a:r>
          </a:p>
          <a:p>
            <a:pPr lvl="6"/>
            <a:r>
              <a:rPr lang="en-GB" noProof="0" dirty="0"/>
              <a:t>Sevens level</a:t>
            </a:r>
          </a:p>
          <a:p>
            <a:pPr lvl="7"/>
            <a:r>
              <a:rPr lang="en-GB" noProof="0" dirty="0"/>
              <a:t>Eight level</a:t>
            </a:r>
          </a:p>
          <a:p>
            <a:pPr lvl="8"/>
            <a:r>
              <a:rPr lang="en-GB" noProof="0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301722867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4020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ext/ image/ Headline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Regieanweisungen"/>
          <p:cNvGrpSpPr/>
          <p:nvPr/>
        </p:nvGrpSpPr>
        <p:grpSpPr>
          <a:xfrm>
            <a:off x="-2086913" y="-467892"/>
            <a:ext cx="13647691" cy="7792196"/>
            <a:chOff x="-2088000" y="-468000"/>
            <a:chExt cx="13654799" cy="7794000"/>
          </a:xfrm>
        </p:grpSpPr>
        <p:sp>
          <p:nvSpPr>
            <p:cNvPr id="20" name="Hilfslinien"/>
            <p:cNvSpPr txBox="1"/>
            <p:nvPr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1042388">
                <a:defRPr/>
              </a:pPr>
              <a:r>
                <a:rPr lang="en-GB" sz="1099" dirty="0">
                  <a:solidFill>
                    <a:srgbClr val="444444"/>
                  </a:solidFill>
                </a:rPr>
                <a:t>Show guides via menu bar: View // Show // tick Guides</a:t>
              </a:r>
            </a:p>
          </p:txBody>
        </p:sp>
        <p:sp>
          <p:nvSpPr>
            <p:cNvPr id="21" name="Fußzeile"/>
            <p:cNvSpPr txBox="1"/>
            <p:nvPr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 defTabSz="1042388">
                <a:defRPr/>
              </a:pPr>
              <a:r>
                <a:rPr lang="en-GB" sz="1099" dirty="0">
                  <a:solidFill>
                    <a:srgbClr val="444444"/>
                  </a:solidFill>
                </a:rPr>
                <a:t>Adjust footer (per slide or for several/all slides) via menu bar: Insert // Text // Header &amp; Footer</a:t>
              </a:r>
            </a:p>
          </p:txBody>
        </p:sp>
        <p:grpSp>
          <p:nvGrpSpPr>
            <p:cNvPr id="22" name="Hinweise links"/>
            <p:cNvGrpSpPr/>
            <p:nvPr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23" name="Folie Wechsel/Zurücksetzen/Textebenen"/>
              <p:cNvSpPr txBox="1"/>
              <p:nvPr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Reset the slide back to its </a:t>
                </a: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original form via menu bar:</a:t>
                </a: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Home // Slides // Reset</a:t>
                </a:r>
              </a:p>
              <a:p>
                <a:pPr algn="r"/>
                <a:endParaRPr lang="en-GB" sz="1099" dirty="0">
                  <a:solidFill>
                    <a:srgbClr val="444444"/>
                  </a:solidFill>
                </a:endParaRP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Change the slide layout </a:t>
                </a: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via menu bar:</a:t>
                </a: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Home // Slides // Layout</a:t>
                </a:r>
              </a:p>
              <a:p>
                <a:pPr algn="r"/>
                <a:endParaRPr lang="en-GB" sz="1099" dirty="0">
                  <a:solidFill>
                    <a:srgbClr val="444444"/>
                  </a:solidFill>
                </a:endParaRP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Change the text level</a:t>
                </a: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via menu bar: </a:t>
                </a:r>
                <a:br>
                  <a:rPr lang="en-GB" sz="1099" dirty="0">
                    <a:solidFill>
                      <a:srgbClr val="444444"/>
                    </a:solidFill>
                  </a:rPr>
                </a:br>
                <a:r>
                  <a:rPr lang="en-GB" sz="1099" dirty="0">
                    <a:solidFill>
                      <a:srgbClr val="444444"/>
                    </a:solidFill>
                  </a:rPr>
                  <a:t>Home // Paragraph // Increase/</a:t>
                </a: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Decrease List Level</a:t>
                </a:r>
              </a:p>
            </p:txBody>
          </p:sp>
          <p:grpSp>
            <p:nvGrpSpPr>
              <p:cNvPr id="24" name="Listenebenen"/>
              <p:cNvGrpSpPr/>
              <p:nvPr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25" name="Text // Listenebene erhöhen"/>
                <p:cNvSpPr txBox="1"/>
                <p:nvPr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r">
                    <a:defRPr/>
                  </a:pPr>
                  <a:r>
                    <a:rPr lang="en-GB" sz="999" dirty="0">
                      <a:solidFill>
                        <a:srgbClr val="444444"/>
                      </a:solidFill>
                    </a:rPr>
                    <a:t>Increase</a:t>
                  </a:r>
                </a:p>
                <a:p>
                  <a:pPr algn="r">
                    <a:defRPr/>
                  </a:pPr>
                  <a:r>
                    <a:rPr lang="en-GB" sz="999" dirty="0">
                      <a:solidFill>
                        <a:srgbClr val="444444"/>
                      </a:solidFill>
                    </a:rPr>
                    <a:t>List Level</a:t>
                  </a:r>
                </a:p>
              </p:txBody>
            </p:sp>
            <p:sp>
              <p:nvSpPr>
                <p:cNvPr id="26" name="Text // Listenebene verringern"/>
                <p:cNvSpPr txBox="1"/>
                <p:nvPr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r">
                    <a:defRPr/>
                  </a:pPr>
                  <a:r>
                    <a:rPr lang="en-GB" sz="999" dirty="0">
                      <a:solidFill>
                        <a:srgbClr val="444444"/>
                      </a:solidFill>
                    </a:rPr>
                    <a:t>Decrease </a:t>
                  </a:r>
                </a:p>
                <a:p>
                  <a:pPr algn="r">
                    <a:defRPr/>
                  </a:pPr>
                  <a:r>
                    <a:rPr lang="en-GB" sz="999" dirty="0">
                      <a:solidFill>
                        <a:srgbClr val="444444"/>
                      </a:solidFill>
                    </a:rPr>
                    <a:t>List Level</a:t>
                  </a:r>
                </a:p>
              </p:txBody>
            </p:sp>
            <p:pic>
              <p:nvPicPr>
                <p:cNvPr id="27" name="Listenebene erhöhen"/>
                <p:cNvPicPr>
                  <a:picLocks noChangeAspect="1"/>
                </p:cNvPicPr>
                <p:nvPr/>
              </p:nvPicPr>
              <p:blipFill>
                <a:blip r:embed="rId2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28" name="Listenebene verringern"/>
                <p:cNvPicPr>
                  <a:picLocks noChangeAspect="1"/>
                </p:cNvPicPr>
                <p:nvPr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7" name="Daimler AG (Wortmarke)"/>
          <p:cNvSpPr>
            <a:spLocks noChangeArrowheads="1"/>
          </p:cNvSpPr>
          <p:nvPr/>
        </p:nvSpPr>
        <p:spPr bwMode="auto">
          <a:xfrm>
            <a:off x="629672" y="6564880"/>
            <a:ext cx="2086913" cy="2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r>
              <a:rPr lang="en-GB" sz="1199" dirty="0">
                <a:solidFill>
                  <a:prstClr val="black"/>
                </a:solidFill>
                <a:latin typeface="CorpoS"/>
                <a:cs typeface="Daimler CS"/>
              </a:rPr>
              <a:t>Daimler AG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9671" y="285982"/>
            <a:ext cx="10931106" cy="683842"/>
          </a:xfrm>
        </p:spPr>
        <p:txBody>
          <a:bodyPr/>
          <a:lstStyle/>
          <a:p>
            <a:r>
              <a:rPr lang="en-GB" noProof="0" dirty="0"/>
              <a:t>Headline in CorpoS (Body) 35 pt.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DI-Lama Project Update | Phani Sarraju | 4.Sep.2018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dirty="0">
                <a:solidFill>
                  <a:prstClr val="black"/>
                </a:solidFill>
              </a:rPr>
              <a:t>Page </a:t>
            </a:r>
            <a:fld id="{52531704-8F80-415D-BD2B-6B9991AE822F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29909" y="1233203"/>
            <a:ext cx="10930593" cy="5254635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>Insert picture</a:t>
            </a:r>
          </a:p>
        </p:txBody>
      </p:sp>
    </p:spTree>
    <p:extLst>
      <p:ext uri="{BB962C8B-B14F-4D97-AF65-F5344CB8AC3E}">
        <p14:creationId xmlns:p14="http://schemas.microsoft.com/office/powerpoint/2010/main" val="142895683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777">
          <p15:clr>
            <a:srgbClr val="FBAE40"/>
          </p15:clr>
        </p15:guide>
        <p15:guide id="3" orient="horz" pos="4020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. Brushing/ image 2 column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Regieanweisungen"/>
          <p:cNvGrpSpPr/>
          <p:nvPr/>
        </p:nvGrpSpPr>
        <p:grpSpPr>
          <a:xfrm>
            <a:off x="-2086913" y="-467892"/>
            <a:ext cx="13647691" cy="7792196"/>
            <a:chOff x="-2088000" y="-468000"/>
            <a:chExt cx="13654799" cy="7794000"/>
          </a:xfrm>
        </p:grpSpPr>
        <p:sp>
          <p:nvSpPr>
            <p:cNvPr id="20" name="Hilfslinien"/>
            <p:cNvSpPr txBox="1"/>
            <p:nvPr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1042388">
                <a:defRPr/>
              </a:pPr>
              <a:r>
                <a:rPr lang="en-GB" sz="1099" dirty="0">
                  <a:solidFill>
                    <a:srgbClr val="444444"/>
                  </a:solidFill>
                </a:rPr>
                <a:t>Show guides via menu bar: View // Show // tick Guides</a:t>
              </a:r>
            </a:p>
          </p:txBody>
        </p:sp>
        <p:sp>
          <p:nvSpPr>
            <p:cNvPr id="21" name="Fußzeile"/>
            <p:cNvSpPr txBox="1"/>
            <p:nvPr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 defTabSz="1042388">
                <a:defRPr/>
              </a:pPr>
              <a:r>
                <a:rPr lang="en-GB" sz="1099" dirty="0">
                  <a:solidFill>
                    <a:srgbClr val="444444"/>
                  </a:solidFill>
                </a:rPr>
                <a:t>Adjust footer (per slide or for several/all slides) via menu bar: Insert // Text // Header &amp; Footer</a:t>
              </a:r>
            </a:p>
          </p:txBody>
        </p:sp>
        <p:grpSp>
          <p:nvGrpSpPr>
            <p:cNvPr id="22" name="Hinweise links"/>
            <p:cNvGrpSpPr/>
            <p:nvPr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23" name="Folie Wechsel/Zurücksetzen/Textebenen"/>
              <p:cNvSpPr txBox="1"/>
              <p:nvPr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Reset the slide back to its </a:t>
                </a: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original form via menu bar:</a:t>
                </a: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Home // Slides // Reset</a:t>
                </a:r>
              </a:p>
              <a:p>
                <a:pPr algn="r"/>
                <a:endParaRPr lang="en-GB" sz="1099" dirty="0">
                  <a:solidFill>
                    <a:srgbClr val="444444"/>
                  </a:solidFill>
                </a:endParaRP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Change the slide layout </a:t>
                </a: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via menu bar:</a:t>
                </a: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Home // Slides // Layout</a:t>
                </a:r>
              </a:p>
              <a:p>
                <a:pPr algn="r"/>
                <a:endParaRPr lang="en-GB" sz="1099" dirty="0">
                  <a:solidFill>
                    <a:srgbClr val="444444"/>
                  </a:solidFill>
                </a:endParaRP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Change the text level</a:t>
                </a: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via menu bar: </a:t>
                </a:r>
                <a:br>
                  <a:rPr lang="en-GB" sz="1099" dirty="0">
                    <a:solidFill>
                      <a:srgbClr val="444444"/>
                    </a:solidFill>
                  </a:rPr>
                </a:br>
                <a:r>
                  <a:rPr lang="en-GB" sz="1099" dirty="0">
                    <a:solidFill>
                      <a:srgbClr val="444444"/>
                    </a:solidFill>
                  </a:rPr>
                  <a:t>Home // Paragraph // Increase/</a:t>
                </a: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Decrease List Level</a:t>
                </a:r>
              </a:p>
            </p:txBody>
          </p:sp>
          <p:grpSp>
            <p:nvGrpSpPr>
              <p:cNvPr id="35" name="Listenebenen"/>
              <p:cNvGrpSpPr/>
              <p:nvPr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36" name="Text // Listenebene erhöhen"/>
                <p:cNvSpPr txBox="1"/>
                <p:nvPr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r">
                    <a:defRPr/>
                  </a:pPr>
                  <a:r>
                    <a:rPr lang="en-GB" sz="999" dirty="0">
                      <a:solidFill>
                        <a:srgbClr val="444444"/>
                      </a:solidFill>
                    </a:rPr>
                    <a:t>Increase</a:t>
                  </a:r>
                </a:p>
                <a:p>
                  <a:pPr algn="r">
                    <a:defRPr/>
                  </a:pPr>
                  <a:r>
                    <a:rPr lang="en-GB" sz="999" dirty="0">
                      <a:solidFill>
                        <a:srgbClr val="444444"/>
                      </a:solidFill>
                    </a:rPr>
                    <a:t>List Level</a:t>
                  </a:r>
                </a:p>
              </p:txBody>
            </p:sp>
            <p:sp>
              <p:nvSpPr>
                <p:cNvPr id="37" name="Text // Listenebene verringern"/>
                <p:cNvSpPr txBox="1"/>
                <p:nvPr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r">
                    <a:defRPr/>
                  </a:pPr>
                  <a:r>
                    <a:rPr lang="en-GB" sz="999" dirty="0">
                      <a:solidFill>
                        <a:srgbClr val="444444"/>
                      </a:solidFill>
                    </a:rPr>
                    <a:t>Decrease </a:t>
                  </a:r>
                </a:p>
                <a:p>
                  <a:pPr algn="r">
                    <a:defRPr/>
                  </a:pPr>
                  <a:r>
                    <a:rPr lang="en-GB" sz="999" dirty="0">
                      <a:solidFill>
                        <a:srgbClr val="444444"/>
                      </a:solidFill>
                    </a:rPr>
                    <a:t>List Level</a:t>
                  </a:r>
                </a:p>
              </p:txBody>
            </p:sp>
            <p:pic>
              <p:nvPicPr>
                <p:cNvPr id="38" name="Listenebene erhöhen"/>
                <p:cNvPicPr>
                  <a:picLocks noChangeAspect="1"/>
                </p:cNvPicPr>
                <p:nvPr/>
              </p:nvPicPr>
              <p:blipFill>
                <a:blip r:embed="rId2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39" name="Listenebene verringern"/>
                <p:cNvPicPr>
                  <a:picLocks noChangeAspect="1"/>
                </p:cNvPicPr>
                <p:nvPr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pic>
        <p:nvPicPr>
          <p:cNvPr id="2" name="Buerstung O_M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white">
          <a:xfrm>
            <a:off x="0" y="1"/>
            <a:ext cx="12190450" cy="6490342"/>
          </a:xfrm>
          <a:prstGeom prst="rect">
            <a:avLst/>
          </a:prstGeom>
        </p:spPr>
      </p:pic>
      <p:sp>
        <p:nvSpPr>
          <p:cNvPr id="24" name="Daimler AG (Wortmarke)"/>
          <p:cNvSpPr>
            <a:spLocks noChangeArrowheads="1"/>
          </p:cNvSpPr>
          <p:nvPr/>
        </p:nvSpPr>
        <p:spPr bwMode="auto">
          <a:xfrm>
            <a:off x="629672" y="6564880"/>
            <a:ext cx="2086913" cy="2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r>
              <a:rPr lang="en-GB" sz="1199" dirty="0">
                <a:solidFill>
                  <a:prstClr val="black"/>
                </a:solidFill>
                <a:latin typeface="CorpoS"/>
                <a:cs typeface="Daimler CS"/>
              </a:rPr>
              <a:t>Daimler AG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2905728"/>
            <a:ext cx="5120196" cy="3580883"/>
          </a:xfrm>
          <a:custGeom>
            <a:avLst/>
            <a:gdLst>
              <a:gd name="connsiteX0" fmla="*/ 0 w 5122800"/>
              <a:gd name="connsiteY0" fmla="*/ 0 h 3581712"/>
              <a:gd name="connsiteX1" fmla="*/ 5122800 w 5122800"/>
              <a:gd name="connsiteY1" fmla="*/ 0 h 3581712"/>
              <a:gd name="connsiteX2" fmla="*/ 5122800 w 5122800"/>
              <a:gd name="connsiteY2" fmla="*/ 3581712 h 3581712"/>
              <a:gd name="connsiteX3" fmla="*/ 0 w 5122800"/>
              <a:gd name="connsiteY3" fmla="*/ 3581712 h 3581712"/>
              <a:gd name="connsiteX4" fmla="*/ 0 w 5122800"/>
              <a:gd name="connsiteY4" fmla="*/ 0 h 3581712"/>
              <a:gd name="connsiteX0" fmla="*/ 0 w 5122800"/>
              <a:gd name="connsiteY0" fmla="*/ 0 h 3581712"/>
              <a:gd name="connsiteX1" fmla="*/ 5122800 w 5122800"/>
              <a:gd name="connsiteY1" fmla="*/ 0 h 3581712"/>
              <a:gd name="connsiteX2" fmla="*/ 5122800 w 5122800"/>
              <a:gd name="connsiteY2" fmla="*/ 3581712 h 3581712"/>
              <a:gd name="connsiteX3" fmla="*/ 0 w 5122800"/>
              <a:gd name="connsiteY3" fmla="*/ 3581712 h 3581712"/>
              <a:gd name="connsiteX4" fmla="*/ 0 w 5122800"/>
              <a:gd name="connsiteY4" fmla="*/ 448780 h 3581712"/>
              <a:gd name="connsiteX5" fmla="*/ 0 w 5122800"/>
              <a:gd name="connsiteY5" fmla="*/ 0 h 3581712"/>
              <a:gd name="connsiteX0" fmla="*/ 0 w 5122800"/>
              <a:gd name="connsiteY0" fmla="*/ 448780 h 3581712"/>
              <a:gd name="connsiteX1" fmla="*/ 5122800 w 5122800"/>
              <a:gd name="connsiteY1" fmla="*/ 0 h 3581712"/>
              <a:gd name="connsiteX2" fmla="*/ 5122800 w 5122800"/>
              <a:gd name="connsiteY2" fmla="*/ 3581712 h 3581712"/>
              <a:gd name="connsiteX3" fmla="*/ 0 w 5122800"/>
              <a:gd name="connsiteY3" fmla="*/ 3581712 h 3581712"/>
              <a:gd name="connsiteX4" fmla="*/ 0 w 5122800"/>
              <a:gd name="connsiteY4" fmla="*/ 448780 h 35817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22800" h="3581712">
                <a:moveTo>
                  <a:pt x="0" y="448780"/>
                </a:moveTo>
                <a:lnTo>
                  <a:pt x="5122800" y="0"/>
                </a:lnTo>
                <a:lnTo>
                  <a:pt x="5122800" y="3581712"/>
                </a:lnTo>
                <a:lnTo>
                  <a:pt x="0" y="3581712"/>
                </a:lnTo>
                <a:lnTo>
                  <a:pt x="0" y="448780"/>
                </a:lnTo>
                <a:close/>
              </a:path>
            </a:pathLst>
          </a:cu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>Insert pictur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117" y="288858"/>
            <a:ext cx="10930661" cy="1025684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Image-chart, Headline </a:t>
            </a:r>
            <a:r>
              <a:rPr lang="en-GB" noProof="0" dirty="0"/>
              <a:t>CorpoS </a:t>
            </a:r>
            <a:r>
              <a:rPr lang="en-GB" dirty="0"/>
              <a:t>(Body) 35 pt. </a:t>
            </a:r>
            <a:br>
              <a:rPr lang="en-GB" dirty="0"/>
            </a:br>
            <a:r>
              <a:rPr lang="en-GB" dirty="0"/>
              <a:t>in two or more lines of text</a:t>
            </a: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DI-Lama Project Update | Phani Sarraju | 4.Sep.2018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>
                <a:solidFill>
                  <a:prstClr val="black"/>
                </a:solidFill>
              </a:rPr>
              <a:t>Page </a:t>
            </a:r>
            <a:fld id="{52531704-8F80-415D-BD2B-6B9991AE822F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5193184" y="2284568"/>
            <a:ext cx="6998816" cy="4202043"/>
          </a:xfrm>
          <a:custGeom>
            <a:avLst/>
            <a:gdLst>
              <a:gd name="connsiteX0" fmla="*/ 0 w 7003550"/>
              <a:gd name="connsiteY0" fmla="*/ 0 h 4203016"/>
              <a:gd name="connsiteX1" fmla="*/ 7003550 w 7003550"/>
              <a:gd name="connsiteY1" fmla="*/ 0 h 4203016"/>
              <a:gd name="connsiteX2" fmla="*/ 7003550 w 7003550"/>
              <a:gd name="connsiteY2" fmla="*/ 4203016 h 4203016"/>
              <a:gd name="connsiteX3" fmla="*/ 0 w 7003550"/>
              <a:gd name="connsiteY3" fmla="*/ 4203016 h 4203016"/>
              <a:gd name="connsiteX4" fmla="*/ 0 w 7003550"/>
              <a:gd name="connsiteY4" fmla="*/ 0 h 4203016"/>
              <a:gd name="connsiteX0" fmla="*/ 1294 w 7004844"/>
              <a:gd name="connsiteY0" fmla="*/ 0 h 4203016"/>
              <a:gd name="connsiteX1" fmla="*/ 7004844 w 7004844"/>
              <a:gd name="connsiteY1" fmla="*/ 0 h 4203016"/>
              <a:gd name="connsiteX2" fmla="*/ 7004844 w 7004844"/>
              <a:gd name="connsiteY2" fmla="*/ 4203016 h 4203016"/>
              <a:gd name="connsiteX3" fmla="*/ 1294 w 7004844"/>
              <a:gd name="connsiteY3" fmla="*/ 4203016 h 4203016"/>
              <a:gd name="connsiteX4" fmla="*/ 0 w 7004844"/>
              <a:gd name="connsiteY4" fmla="*/ 615266 h 4203016"/>
              <a:gd name="connsiteX5" fmla="*/ 1294 w 7004844"/>
              <a:gd name="connsiteY5" fmla="*/ 0 h 4203016"/>
              <a:gd name="connsiteX0" fmla="*/ 0 w 7004844"/>
              <a:gd name="connsiteY0" fmla="*/ 878655 h 4466405"/>
              <a:gd name="connsiteX1" fmla="*/ 7004844 w 7004844"/>
              <a:gd name="connsiteY1" fmla="*/ 263389 h 4466405"/>
              <a:gd name="connsiteX2" fmla="*/ 7004844 w 7004844"/>
              <a:gd name="connsiteY2" fmla="*/ 4466405 h 4466405"/>
              <a:gd name="connsiteX3" fmla="*/ 1294 w 7004844"/>
              <a:gd name="connsiteY3" fmla="*/ 4466405 h 4466405"/>
              <a:gd name="connsiteX4" fmla="*/ 0 w 7004844"/>
              <a:gd name="connsiteY4" fmla="*/ 878655 h 4466405"/>
              <a:gd name="connsiteX0" fmla="*/ 0 w 7004844"/>
              <a:gd name="connsiteY0" fmla="*/ 615266 h 4203016"/>
              <a:gd name="connsiteX1" fmla="*/ 7004844 w 7004844"/>
              <a:gd name="connsiteY1" fmla="*/ 0 h 4203016"/>
              <a:gd name="connsiteX2" fmla="*/ 7004844 w 7004844"/>
              <a:gd name="connsiteY2" fmla="*/ 4203016 h 4203016"/>
              <a:gd name="connsiteX3" fmla="*/ 1294 w 7004844"/>
              <a:gd name="connsiteY3" fmla="*/ 4203016 h 4203016"/>
              <a:gd name="connsiteX4" fmla="*/ 0 w 7004844"/>
              <a:gd name="connsiteY4" fmla="*/ 615266 h 42030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04844" h="4203016">
                <a:moveTo>
                  <a:pt x="0" y="615266"/>
                </a:moveTo>
                <a:lnTo>
                  <a:pt x="7004844" y="0"/>
                </a:lnTo>
                <a:lnTo>
                  <a:pt x="7004844" y="4203016"/>
                </a:lnTo>
                <a:lnTo>
                  <a:pt x="1294" y="4203016"/>
                </a:lnTo>
                <a:cubicBezTo>
                  <a:pt x="863" y="3007099"/>
                  <a:pt x="431" y="1811183"/>
                  <a:pt x="0" y="615266"/>
                </a:cubicBezTo>
                <a:close/>
              </a:path>
            </a:pathLst>
          </a:cu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>Insert picture</a:t>
            </a:r>
          </a:p>
        </p:txBody>
      </p:sp>
    </p:spTree>
    <p:extLst>
      <p:ext uri="{BB962C8B-B14F-4D97-AF65-F5344CB8AC3E}">
        <p14:creationId xmlns:p14="http://schemas.microsoft.com/office/powerpoint/2010/main" val="21039984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88">
          <p15:clr>
            <a:srgbClr val="FBAE40"/>
          </p15:clr>
        </p15:guide>
        <p15:guide id="3" pos="3273">
          <p15:clr>
            <a:srgbClr val="FBAE40"/>
          </p15:clr>
        </p15:guide>
        <p15:guide id="4" pos="3227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. Brushing/ image 2 column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Regieanweisungen"/>
          <p:cNvGrpSpPr/>
          <p:nvPr/>
        </p:nvGrpSpPr>
        <p:grpSpPr>
          <a:xfrm>
            <a:off x="-2086913" y="-467892"/>
            <a:ext cx="13647691" cy="7792196"/>
            <a:chOff x="-2088000" y="-468000"/>
            <a:chExt cx="13654799" cy="7794000"/>
          </a:xfrm>
        </p:grpSpPr>
        <p:sp>
          <p:nvSpPr>
            <p:cNvPr id="20" name="Hilfslinien"/>
            <p:cNvSpPr txBox="1"/>
            <p:nvPr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1042388">
                <a:defRPr/>
              </a:pPr>
              <a:r>
                <a:rPr lang="en-GB" sz="1099" dirty="0">
                  <a:solidFill>
                    <a:srgbClr val="444444"/>
                  </a:solidFill>
                </a:rPr>
                <a:t>Show guides via menu bar: View // Show // tick Guides</a:t>
              </a:r>
            </a:p>
          </p:txBody>
        </p:sp>
        <p:sp>
          <p:nvSpPr>
            <p:cNvPr id="21" name="Fußzeile"/>
            <p:cNvSpPr txBox="1"/>
            <p:nvPr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 defTabSz="1042388">
                <a:defRPr/>
              </a:pPr>
              <a:r>
                <a:rPr lang="en-GB" sz="1099" dirty="0">
                  <a:solidFill>
                    <a:srgbClr val="444444"/>
                  </a:solidFill>
                </a:rPr>
                <a:t>Adjust footer (per slide or for several/all slides) via menu bar: Insert // Text // Header &amp; Footer</a:t>
              </a:r>
            </a:p>
          </p:txBody>
        </p:sp>
        <p:grpSp>
          <p:nvGrpSpPr>
            <p:cNvPr id="22" name="Hinweise links"/>
            <p:cNvGrpSpPr/>
            <p:nvPr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34" name="Folie Wechsel/Zurücksetzen/Textebenen"/>
              <p:cNvSpPr txBox="1"/>
              <p:nvPr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Reset the slide back to its </a:t>
                </a: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original form via menu bar:</a:t>
                </a: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Home // Slides // Reset</a:t>
                </a:r>
              </a:p>
              <a:p>
                <a:pPr algn="r"/>
                <a:endParaRPr lang="en-GB" sz="1099" dirty="0">
                  <a:solidFill>
                    <a:srgbClr val="444444"/>
                  </a:solidFill>
                </a:endParaRP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Change the slide layout </a:t>
                </a: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via menu bar:</a:t>
                </a: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Home // Slides // Layout</a:t>
                </a:r>
              </a:p>
              <a:p>
                <a:pPr algn="r"/>
                <a:endParaRPr lang="en-GB" sz="1099" dirty="0">
                  <a:solidFill>
                    <a:srgbClr val="444444"/>
                  </a:solidFill>
                </a:endParaRP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Change the text level</a:t>
                </a: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via menu bar: </a:t>
                </a:r>
                <a:br>
                  <a:rPr lang="en-GB" sz="1099" dirty="0">
                    <a:solidFill>
                      <a:srgbClr val="444444"/>
                    </a:solidFill>
                  </a:rPr>
                </a:br>
                <a:r>
                  <a:rPr lang="en-GB" sz="1099" dirty="0">
                    <a:solidFill>
                      <a:srgbClr val="444444"/>
                    </a:solidFill>
                  </a:rPr>
                  <a:t>Home // Paragraph // Increase/</a:t>
                </a: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Decrease List Level</a:t>
                </a:r>
              </a:p>
            </p:txBody>
          </p:sp>
          <p:grpSp>
            <p:nvGrpSpPr>
              <p:cNvPr id="35" name="Listenebenen"/>
              <p:cNvGrpSpPr/>
              <p:nvPr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36" name="Text // Listenebene erhöhen"/>
                <p:cNvSpPr txBox="1"/>
                <p:nvPr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r">
                    <a:defRPr/>
                  </a:pPr>
                  <a:r>
                    <a:rPr lang="en-GB" sz="999" dirty="0">
                      <a:solidFill>
                        <a:srgbClr val="444444"/>
                      </a:solidFill>
                    </a:rPr>
                    <a:t>Increase</a:t>
                  </a:r>
                </a:p>
                <a:p>
                  <a:pPr algn="r">
                    <a:defRPr/>
                  </a:pPr>
                  <a:r>
                    <a:rPr lang="en-GB" sz="999" dirty="0">
                      <a:solidFill>
                        <a:srgbClr val="444444"/>
                      </a:solidFill>
                    </a:rPr>
                    <a:t>List Level</a:t>
                  </a:r>
                </a:p>
              </p:txBody>
            </p:sp>
            <p:sp>
              <p:nvSpPr>
                <p:cNvPr id="37" name="Text // Listenebene verringern"/>
                <p:cNvSpPr txBox="1"/>
                <p:nvPr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r">
                    <a:defRPr/>
                  </a:pPr>
                  <a:r>
                    <a:rPr lang="en-GB" sz="999" dirty="0">
                      <a:solidFill>
                        <a:srgbClr val="444444"/>
                      </a:solidFill>
                    </a:rPr>
                    <a:t>Decrease </a:t>
                  </a:r>
                </a:p>
                <a:p>
                  <a:pPr algn="r">
                    <a:defRPr/>
                  </a:pPr>
                  <a:r>
                    <a:rPr lang="en-GB" sz="999" dirty="0">
                      <a:solidFill>
                        <a:srgbClr val="444444"/>
                      </a:solidFill>
                    </a:rPr>
                    <a:t>List Level</a:t>
                  </a:r>
                </a:p>
              </p:txBody>
            </p:sp>
            <p:pic>
              <p:nvPicPr>
                <p:cNvPr id="38" name="Listenebene erhöhen"/>
                <p:cNvPicPr>
                  <a:picLocks noChangeAspect="1"/>
                </p:cNvPicPr>
                <p:nvPr/>
              </p:nvPicPr>
              <p:blipFill>
                <a:blip r:embed="rId2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39" name="Listenebene verringern"/>
                <p:cNvPicPr>
                  <a:picLocks noChangeAspect="1"/>
                </p:cNvPicPr>
                <p:nvPr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pic>
        <p:nvPicPr>
          <p:cNvPr id="2" name="Buerstung O_S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white">
          <a:xfrm>
            <a:off x="0" y="1"/>
            <a:ext cx="12190450" cy="6490342"/>
          </a:xfrm>
          <a:prstGeom prst="rect">
            <a:avLst/>
          </a:prstGeom>
        </p:spPr>
      </p:pic>
      <p:sp>
        <p:nvSpPr>
          <p:cNvPr id="23" name="Daimler AG (Wortmarke)"/>
          <p:cNvSpPr>
            <a:spLocks noChangeArrowheads="1"/>
          </p:cNvSpPr>
          <p:nvPr/>
        </p:nvSpPr>
        <p:spPr bwMode="auto">
          <a:xfrm>
            <a:off x="629672" y="6564880"/>
            <a:ext cx="2086913" cy="2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r>
              <a:rPr lang="en-GB" sz="1199" dirty="0">
                <a:solidFill>
                  <a:prstClr val="black"/>
                </a:solidFill>
                <a:latin typeface="CorpoS"/>
                <a:cs typeface="Daimler CS"/>
              </a:rPr>
              <a:t>Daimler AG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1688656"/>
            <a:ext cx="6059507" cy="4797954"/>
          </a:xfrm>
          <a:custGeom>
            <a:avLst/>
            <a:gdLst>
              <a:gd name="connsiteX0" fmla="*/ 0 w 6060500"/>
              <a:gd name="connsiteY0" fmla="*/ 0 h 4799065"/>
              <a:gd name="connsiteX1" fmla="*/ 6060500 w 6060500"/>
              <a:gd name="connsiteY1" fmla="*/ 0 h 4799065"/>
              <a:gd name="connsiteX2" fmla="*/ 6060500 w 6060500"/>
              <a:gd name="connsiteY2" fmla="*/ 4799065 h 4799065"/>
              <a:gd name="connsiteX3" fmla="*/ 0 w 6060500"/>
              <a:gd name="connsiteY3" fmla="*/ 4799065 h 4799065"/>
              <a:gd name="connsiteX4" fmla="*/ 0 w 6060500"/>
              <a:gd name="connsiteY4" fmla="*/ 0 h 4799065"/>
              <a:gd name="connsiteX0" fmla="*/ 2382 w 6062882"/>
              <a:gd name="connsiteY0" fmla="*/ 0 h 4799065"/>
              <a:gd name="connsiteX1" fmla="*/ 6062882 w 6062882"/>
              <a:gd name="connsiteY1" fmla="*/ 0 h 4799065"/>
              <a:gd name="connsiteX2" fmla="*/ 6062882 w 6062882"/>
              <a:gd name="connsiteY2" fmla="*/ 4799065 h 4799065"/>
              <a:gd name="connsiteX3" fmla="*/ 2382 w 6062882"/>
              <a:gd name="connsiteY3" fmla="*/ 4799065 h 4799065"/>
              <a:gd name="connsiteX4" fmla="*/ 0 w 6062882"/>
              <a:gd name="connsiteY4" fmla="*/ 532659 h 4799065"/>
              <a:gd name="connsiteX5" fmla="*/ 2382 w 6062882"/>
              <a:gd name="connsiteY5" fmla="*/ 0 h 4799065"/>
              <a:gd name="connsiteX0" fmla="*/ 0 w 6062882"/>
              <a:gd name="connsiteY0" fmla="*/ 532659 h 4799065"/>
              <a:gd name="connsiteX1" fmla="*/ 6062882 w 6062882"/>
              <a:gd name="connsiteY1" fmla="*/ 0 h 4799065"/>
              <a:gd name="connsiteX2" fmla="*/ 6062882 w 6062882"/>
              <a:gd name="connsiteY2" fmla="*/ 4799065 h 4799065"/>
              <a:gd name="connsiteX3" fmla="*/ 2382 w 6062882"/>
              <a:gd name="connsiteY3" fmla="*/ 4799065 h 4799065"/>
              <a:gd name="connsiteX4" fmla="*/ 0 w 6062882"/>
              <a:gd name="connsiteY4" fmla="*/ 532659 h 47990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2882" h="4799065">
                <a:moveTo>
                  <a:pt x="0" y="532659"/>
                </a:moveTo>
                <a:lnTo>
                  <a:pt x="6062882" y="0"/>
                </a:lnTo>
                <a:lnTo>
                  <a:pt x="6062882" y="4799065"/>
                </a:lnTo>
                <a:lnTo>
                  <a:pt x="2382" y="4799065"/>
                </a:lnTo>
                <a:lnTo>
                  <a:pt x="0" y="532659"/>
                </a:lnTo>
                <a:close/>
              </a:path>
            </a:pathLst>
          </a:cu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>Insert pictur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117" y="288858"/>
            <a:ext cx="10931023" cy="1115742"/>
          </a:xfrm>
          <a:custGeom>
            <a:avLst/>
            <a:gdLst>
              <a:gd name="connsiteX0" fmla="*/ 0 w 10936355"/>
              <a:gd name="connsiteY0" fmla="*/ 0 h 1116000"/>
              <a:gd name="connsiteX1" fmla="*/ 10936355 w 10936355"/>
              <a:gd name="connsiteY1" fmla="*/ 0 h 1116000"/>
              <a:gd name="connsiteX2" fmla="*/ 10936355 w 10936355"/>
              <a:gd name="connsiteY2" fmla="*/ 1116000 h 1116000"/>
              <a:gd name="connsiteX3" fmla="*/ 0 w 10936355"/>
              <a:gd name="connsiteY3" fmla="*/ 1116000 h 1116000"/>
              <a:gd name="connsiteX4" fmla="*/ 0 w 10936355"/>
              <a:gd name="connsiteY4" fmla="*/ 0 h 1116000"/>
              <a:gd name="connsiteX0" fmla="*/ 0 w 10936355"/>
              <a:gd name="connsiteY0" fmla="*/ 0 h 1116000"/>
              <a:gd name="connsiteX1" fmla="*/ 10936355 w 10936355"/>
              <a:gd name="connsiteY1" fmla="*/ 0 h 1116000"/>
              <a:gd name="connsiteX2" fmla="*/ 10936355 w 10936355"/>
              <a:gd name="connsiteY2" fmla="*/ 1116000 h 1116000"/>
              <a:gd name="connsiteX3" fmla="*/ 5793216 w 10936355"/>
              <a:gd name="connsiteY3" fmla="*/ 1113155 h 1116000"/>
              <a:gd name="connsiteX4" fmla="*/ 0 w 10936355"/>
              <a:gd name="connsiteY4" fmla="*/ 1116000 h 1116000"/>
              <a:gd name="connsiteX5" fmla="*/ 0 w 10936355"/>
              <a:gd name="connsiteY5" fmla="*/ 0 h 1116000"/>
              <a:gd name="connsiteX0" fmla="*/ 0 w 10936716"/>
              <a:gd name="connsiteY0" fmla="*/ 0 h 1116000"/>
              <a:gd name="connsiteX1" fmla="*/ 10936355 w 10936716"/>
              <a:gd name="connsiteY1" fmla="*/ 0 h 1116000"/>
              <a:gd name="connsiteX2" fmla="*/ 10936716 w 10936716"/>
              <a:gd name="connsiteY2" fmla="*/ 678815 h 1116000"/>
              <a:gd name="connsiteX3" fmla="*/ 10936355 w 10936716"/>
              <a:gd name="connsiteY3" fmla="*/ 1116000 h 1116000"/>
              <a:gd name="connsiteX4" fmla="*/ 5793216 w 10936716"/>
              <a:gd name="connsiteY4" fmla="*/ 1113155 h 1116000"/>
              <a:gd name="connsiteX5" fmla="*/ 0 w 10936716"/>
              <a:gd name="connsiteY5" fmla="*/ 1116000 h 1116000"/>
              <a:gd name="connsiteX6" fmla="*/ 0 w 10936716"/>
              <a:gd name="connsiteY6" fmla="*/ 0 h 1116000"/>
              <a:gd name="connsiteX0" fmla="*/ 0 w 10936716"/>
              <a:gd name="connsiteY0" fmla="*/ 0 h 1116000"/>
              <a:gd name="connsiteX1" fmla="*/ 10936355 w 10936716"/>
              <a:gd name="connsiteY1" fmla="*/ 0 h 1116000"/>
              <a:gd name="connsiteX2" fmla="*/ 10936716 w 10936716"/>
              <a:gd name="connsiteY2" fmla="*/ 678815 h 1116000"/>
              <a:gd name="connsiteX3" fmla="*/ 5793216 w 10936716"/>
              <a:gd name="connsiteY3" fmla="*/ 1113155 h 1116000"/>
              <a:gd name="connsiteX4" fmla="*/ 0 w 10936716"/>
              <a:gd name="connsiteY4" fmla="*/ 1116000 h 1116000"/>
              <a:gd name="connsiteX5" fmla="*/ 0 w 10936716"/>
              <a:gd name="connsiteY5" fmla="*/ 0 h 1116000"/>
              <a:gd name="connsiteX0" fmla="*/ 0 w 10936716"/>
              <a:gd name="connsiteY0" fmla="*/ 0 h 1116000"/>
              <a:gd name="connsiteX1" fmla="*/ 10936355 w 10936716"/>
              <a:gd name="connsiteY1" fmla="*/ 0 h 1116000"/>
              <a:gd name="connsiteX2" fmla="*/ 10936716 w 10936716"/>
              <a:gd name="connsiteY2" fmla="*/ 678815 h 1116000"/>
              <a:gd name="connsiteX3" fmla="*/ 5793216 w 10936716"/>
              <a:gd name="connsiteY3" fmla="*/ 1113155 h 1116000"/>
              <a:gd name="connsiteX4" fmla="*/ 0 w 10936716"/>
              <a:gd name="connsiteY4" fmla="*/ 1116000 h 1116000"/>
              <a:gd name="connsiteX5" fmla="*/ 0 w 10936716"/>
              <a:gd name="connsiteY5" fmla="*/ 0 h 11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936716" h="1116000">
                <a:moveTo>
                  <a:pt x="0" y="0"/>
                </a:moveTo>
                <a:lnTo>
                  <a:pt x="10936355" y="0"/>
                </a:lnTo>
                <a:cubicBezTo>
                  <a:pt x="10936475" y="226272"/>
                  <a:pt x="10936596" y="452543"/>
                  <a:pt x="10936716" y="678815"/>
                </a:cubicBezTo>
                <a:lnTo>
                  <a:pt x="5793216" y="1113155"/>
                </a:lnTo>
                <a:lnTo>
                  <a:pt x="0" y="1116000"/>
                </a:lnTo>
                <a:lnTo>
                  <a:pt x="0" y="0"/>
                </a:lnTo>
                <a:close/>
              </a:path>
            </a:pathLst>
          </a:cu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Image-chart, Headline </a:t>
            </a:r>
            <a:r>
              <a:rPr lang="en-GB" noProof="0" dirty="0"/>
              <a:t>CorpoS </a:t>
            </a:r>
            <a:r>
              <a:rPr lang="en-GB" dirty="0"/>
              <a:t>(Body) 35 pt. </a:t>
            </a:r>
            <a:br>
              <a:rPr lang="en-GB" dirty="0"/>
            </a:br>
            <a:r>
              <a:rPr lang="en-GB" dirty="0"/>
              <a:t>in two lines of text</a:t>
            </a: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DI-Lama Project Update | Phani Sarraju | 4.Sep.2018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>
                <a:solidFill>
                  <a:prstClr val="black"/>
                </a:solidFill>
              </a:rPr>
              <a:t>Page </a:t>
            </a:r>
            <a:fld id="{52531704-8F80-415D-BD2B-6B9991AE822F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132494" y="1149011"/>
            <a:ext cx="6057656" cy="5337600"/>
          </a:xfrm>
          <a:custGeom>
            <a:avLst/>
            <a:gdLst>
              <a:gd name="connsiteX0" fmla="*/ 0 w 6063460"/>
              <a:gd name="connsiteY0" fmla="*/ 0 h 5338836"/>
              <a:gd name="connsiteX1" fmla="*/ 6063460 w 6063460"/>
              <a:gd name="connsiteY1" fmla="*/ 0 h 5338836"/>
              <a:gd name="connsiteX2" fmla="*/ 6063460 w 6063460"/>
              <a:gd name="connsiteY2" fmla="*/ 5338836 h 5338836"/>
              <a:gd name="connsiteX3" fmla="*/ 0 w 6063460"/>
              <a:gd name="connsiteY3" fmla="*/ 5338836 h 5338836"/>
              <a:gd name="connsiteX4" fmla="*/ 0 w 6063460"/>
              <a:gd name="connsiteY4" fmla="*/ 0 h 5338836"/>
              <a:gd name="connsiteX0" fmla="*/ 790 w 6064250"/>
              <a:gd name="connsiteY0" fmla="*/ 0 h 5338836"/>
              <a:gd name="connsiteX1" fmla="*/ 6064250 w 6064250"/>
              <a:gd name="connsiteY1" fmla="*/ 0 h 5338836"/>
              <a:gd name="connsiteX2" fmla="*/ 6064250 w 6064250"/>
              <a:gd name="connsiteY2" fmla="*/ 5338836 h 5338836"/>
              <a:gd name="connsiteX3" fmla="*/ 790 w 6064250"/>
              <a:gd name="connsiteY3" fmla="*/ 5338836 h 5338836"/>
              <a:gd name="connsiteX4" fmla="*/ 0 w 6064250"/>
              <a:gd name="connsiteY4" fmla="*/ 531886 h 5338836"/>
              <a:gd name="connsiteX5" fmla="*/ 790 w 6064250"/>
              <a:gd name="connsiteY5" fmla="*/ 0 h 5338836"/>
              <a:gd name="connsiteX0" fmla="*/ 0 w 6064250"/>
              <a:gd name="connsiteY0" fmla="*/ 950596 h 5757546"/>
              <a:gd name="connsiteX1" fmla="*/ 6064250 w 6064250"/>
              <a:gd name="connsiteY1" fmla="*/ 418710 h 5757546"/>
              <a:gd name="connsiteX2" fmla="*/ 6064250 w 6064250"/>
              <a:gd name="connsiteY2" fmla="*/ 5757546 h 5757546"/>
              <a:gd name="connsiteX3" fmla="*/ 790 w 6064250"/>
              <a:gd name="connsiteY3" fmla="*/ 5757546 h 5757546"/>
              <a:gd name="connsiteX4" fmla="*/ 0 w 6064250"/>
              <a:gd name="connsiteY4" fmla="*/ 950596 h 5757546"/>
              <a:gd name="connsiteX0" fmla="*/ 0 w 6064250"/>
              <a:gd name="connsiteY0" fmla="*/ 531886 h 5338836"/>
              <a:gd name="connsiteX1" fmla="*/ 6064250 w 6064250"/>
              <a:gd name="connsiteY1" fmla="*/ 0 h 5338836"/>
              <a:gd name="connsiteX2" fmla="*/ 6064250 w 6064250"/>
              <a:gd name="connsiteY2" fmla="*/ 5338836 h 5338836"/>
              <a:gd name="connsiteX3" fmla="*/ 790 w 6064250"/>
              <a:gd name="connsiteY3" fmla="*/ 5338836 h 5338836"/>
              <a:gd name="connsiteX4" fmla="*/ 0 w 6064250"/>
              <a:gd name="connsiteY4" fmla="*/ 531886 h 53388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4250" h="5338836">
                <a:moveTo>
                  <a:pt x="0" y="531886"/>
                </a:moveTo>
                <a:lnTo>
                  <a:pt x="6064250" y="0"/>
                </a:lnTo>
                <a:lnTo>
                  <a:pt x="6064250" y="5338836"/>
                </a:lnTo>
                <a:lnTo>
                  <a:pt x="790" y="5338836"/>
                </a:lnTo>
                <a:cubicBezTo>
                  <a:pt x="527" y="3736519"/>
                  <a:pt x="263" y="2134203"/>
                  <a:pt x="0" y="531886"/>
                </a:cubicBezTo>
                <a:close/>
              </a:path>
            </a:pathLst>
          </a:cu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>Insert picture</a:t>
            </a:r>
          </a:p>
        </p:txBody>
      </p:sp>
    </p:spTree>
    <p:extLst>
      <p:ext uri="{BB962C8B-B14F-4D97-AF65-F5344CB8AC3E}">
        <p14:creationId xmlns:p14="http://schemas.microsoft.com/office/powerpoint/2010/main" val="1878878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  <p15:guide id="2" orient="horz" pos="182">
          <p15:clr>
            <a:srgbClr val="FBAE40"/>
          </p15:clr>
        </p15:guide>
        <p15:guide id="3" pos="3819">
          <p15:clr>
            <a:srgbClr val="FBAE40"/>
          </p15:clr>
        </p15:guide>
        <p15:guide id="4" pos="3865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. Brushing/ image 2 column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Regieanweisungen"/>
          <p:cNvGrpSpPr/>
          <p:nvPr/>
        </p:nvGrpSpPr>
        <p:grpSpPr>
          <a:xfrm>
            <a:off x="-2086913" y="-467892"/>
            <a:ext cx="13647691" cy="7792196"/>
            <a:chOff x="-2088000" y="-468000"/>
            <a:chExt cx="13654799" cy="7794000"/>
          </a:xfrm>
        </p:grpSpPr>
        <p:sp>
          <p:nvSpPr>
            <p:cNvPr id="19" name="Hilfslinien"/>
            <p:cNvSpPr txBox="1"/>
            <p:nvPr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1042388">
                <a:defRPr/>
              </a:pPr>
              <a:r>
                <a:rPr lang="en-GB" sz="1099" dirty="0">
                  <a:solidFill>
                    <a:srgbClr val="444444"/>
                  </a:solidFill>
                </a:rPr>
                <a:t>Show guides via menu bar: View // Show // tick Guides</a:t>
              </a:r>
            </a:p>
          </p:txBody>
        </p:sp>
        <p:sp>
          <p:nvSpPr>
            <p:cNvPr id="20" name="Fußzeile"/>
            <p:cNvSpPr txBox="1"/>
            <p:nvPr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 defTabSz="1042388">
                <a:defRPr/>
              </a:pPr>
              <a:r>
                <a:rPr lang="en-GB" sz="1099" dirty="0">
                  <a:solidFill>
                    <a:srgbClr val="444444"/>
                  </a:solidFill>
                </a:rPr>
                <a:t>Adjust footer (per slide or for several/all slides) via menu bar: Insert // Text // Header &amp; Footer</a:t>
              </a:r>
            </a:p>
          </p:txBody>
        </p:sp>
        <p:grpSp>
          <p:nvGrpSpPr>
            <p:cNvPr id="21" name="Hinweise links"/>
            <p:cNvGrpSpPr/>
            <p:nvPr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22" name="Folie Wechsel/Zurücksetzen/Textebenen"/>
              <p:cNvSpPr txBox="1"/>
              <p:nvPr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Reset the slide back to its </a:t>
                </a: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original form via menu bar:</a:t>
                </a: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Home // Slides // Reset</a:t>
                </a:r>
              </a:p>
              <a:p>
                <a:pPr algn="r"/>
                <a:endParaRPr lang="en-GB" sz="1099" dirty="0">
                  <a:solidFill>
                    <a:srgbClr val="444444"/>
                  </a:solidFill>
                </a:endParaRP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Change the slide layout </a:t>
                </a: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via menu bar:</a:t>
                </a: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Home // Slides // Layout</a:t>
                </a:r>
              </a:p>
              <a:p>
                <a:pPr algn="r"/>
                <a:endParaRPr lang="en-GB" sz="1099" dirty="0">
                  <a:solidFill>
                    <a:srgbClr val="444444"/>
                  </a:solidFill>
                </a:endParaRP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Change the text level</a:t>
                </a: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via menu bar: </a:t>
                </a:r>
                <a:br>
                  <a:rPr lang="en-GB" sz="1099" dirty="0">
                    <a:solidFill>
                      <a:srgbClr val="444444"/>
                    </a:solidFill>
                  </a:rPr>
                </a:br>
                <a:r>
                  <a:rPr lang="en-GB" sz="1099" dirty="0">
                    <a:solidFill>
                      <a:srgbClr val="444444"/>
                    </a:solidFill>
                  </a:rPr>
                  <a:t>Home // Paragraph // Increase/</a:t>
                </a: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Decrease List Level</a:t>
                </a:r>
              </a:p>
            </p:txBody>
          </p:sp>
          <p:grpSp>
            <p:nvGrpSpPr>
              <p:cNvPr id="35" name="Listenebenen"/>
              <p:cNvGrpSpPr/>
              <p:nvPr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36" name="Text // Listenebene erhöhen"/>
                <p:cNvSpPr txBox="1"/>
                <p:nvPr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r">
                    <a:defRPr/>
                  </a:pPr>
                  <a:r>
                    <a:rPr lang="en-GB" sz="999" dirty="0">
                      <a:solidFill>
                        <a:srgbClr val="444444"/>
                      </a:solidFill>
                    </a:rPr>
                    <a:t>Increase</a:t>
                  </a:r>
                </a:p>
                <a:p>
                  <a:pPr algn="r">
                    <a:defRPr/>
                  </a:pPr>
                  <a:r>
                    <a:rPr lang="en-GB" sz="999" dirty="0">
                      <a:solidFill>
                        <a:srgbClr val="444444"/>
                      </a:solidFill>
                    </a:rPr>
                    <a:t>List Level</a:t>
                  </a:r>
                </a:p>
              </p:txBody>
            </p:sp>
            <p:sp>
              <p:nvSpPr>
                <p:cNvPr id="37" name="Text // Listenebene verringern"/>
                <p:cNvSpPr txBox="1"/>
                <p:nvPr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r">
                    <a:defRPr/>
                  </a:pPr>
                  <a:r>
                    <a:rPr lang="en-GB" sz="999" dirty="0">
                      <a:solidFill>
                        <a:srgbClr val="444444"/>
                      </a:solidFill>
                    </a:rPr>
                    <a:t>Decrease </a:t>
                  </a:r>
                </a:p>
                <a:p>
                  <a:pPr algn="r">
                    <a:defRPr/>
                  </a:pPr>
                  <a:r>
                    <a:rPr lang="en-GB" sz="999" dirty="0">
                      <a:solidFill>
                        <a:srgbClr val="444444"/>
                      </a:solidFill>
                    </a:rPr>
                    <a:t>List Level</a:t>
                  </a:r>
                </a:p>
              </p:txBody>
            </p:sp>
            <p:pic>
              <p:nvPicPr>
                <p:cNvPr id="38" name="Listenebene erhöhen"/>
                <p:cNvPicPr>
                  <a:picLocks noChangeAspect="1"/>
                </p:cNvPicPr>
                <p:nvPr/>
              </p:nvPicPr>
              <p:blipFill>
                <a:blip r:embed="rId2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39" name="Listenebene verringern"/>
                <p:cNvPicPr>
                  <a:picLocks noChangeAspect="1"/>
                </p:cNvPicPr>
                <p:nvPr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pic>
        <p:nvPicPr>
          <p:cNvPr id="3" name="Buerstung U_S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white">
          <a:xfrm>
            <a:off x="0" y="0"/>
            <a:ext cx="12190451" cy="6487838"/>
          </a:xfrm>
          <a:prstGeom prst="rect">
            <a:avLst/>
          </a:prstGeom>
        </p:spPr>
      </p:pic>
      <p:sp>
        <p:nvSpPr>
          <p:cNvPr id="23" name="Daimler AG (Wortmarke)"/>
          <p:cNvSpPr>
            <a:spLocks noChangeArrowheads="1"/>
          </p:cNvSpPr>
          <p:nvPr/>
        </p:nvSpPr>
        <p:spPr bwMode="auto">
          <a:xfrm>
            <a:off x="629672" y="6564880"/>
            <a:ext cx="2086913" cy="2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r>
              <a:rPr lang="en-GB" sz="1199" dirty="0">
                <a:solidFill>
                  <a:prstClr val="black"/>
                </a:solidFill>
                <a:latin typeface="CorpoS"/>
                <a:cs typeface="Daimler CS"/>
              </a:rPr>
              <a:t>Daimler AG</a:t>
            </a: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DI-Lama Project Update | Phani Sarraju | 4.Sep.2018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>
                <a:solidFill>
                  <a:prstClr val="black"/>
                </a:solidFill>
              </a:rPr>
              <a:t>Page </a:t>
            </a:r>
            <a:fld id="{52531704-8F80-415D-BD2B-6B9991AE822F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614087" y="1"/>
            <a:ext cx="5576364" cy="5066126"/>
          </a:xfrm>
          <a:custGeom>
            <a:avLst/>
            <a:gdLst>
              <a:gd name="connsiteX0" fmla="*/ 0 w 5579268"/>
              <a:gd name="connsiteY0" fmla="*/ 0 h 5067299"/>
              <a:gd name="connsiteX1" fmla="*/ 5579268 w 5579268"/>
              <a:gd name="connsiteY1" fmla="*/ 0 h 5067299"/>
              <a:gd name="connsiteX2" fmla="*/ 5579268 w 5579268"/>
              <a:gd name="connsiteY2" fmla="*/ 5067299 h 5067299"/>
              <a:gd name="connsiteX3" fmla="*/ 0 w 5579268"/>
              <a:gd name="connsiteY3" fmla="*/ 5067299 h 5067299"/>
              <a:gd name="connsiteX4" fmla="*/ 0 w 5579268"/>
              <a:gd name="connsiteY4" fmla="*/ 0 h 5067299"/>
              <a:gd name="connsiteX0" fmla="*/ 0 w 5579268"/>
              <a:gd name="connsiteY0" fmla="*/ 0 h 5067299"/>
              <a:gd name="connsiteX1" fmla="*/ 5579268 w 5579268"/>
              <a:gd name="connsiteY1" fmla="*/ 0 h 5067299"/>
              <a:gd name="connsiteX2" fmla="*/ 5579231 w 5579268"/>
              <a:gd name="connsiteY2" fmla="*/ 4581524 h 5067299"/>
              <a:gd name="connsiteX3" fmla="*/ 5579268 w 5579268"/>
              <a:gd name="connsiteY3" fmla="*/ 5067299 h 5067299"/>
              <a:gd name="connsiteX4" fmla="*/ 0 w 5579268"/>
              <a:gd name="connsiteY4" fmla="*/ 5067299 h 5067299"/>
              <a:gd name="connsiteX5" fmla="*/ 0 w 5579268"/>
              <a:gd name="connsiteY5" fmla="*/ 0 h 5067299"/>
              <a:gd name="connsiteX0" fmla="*/ 0 w 5579268"/>
              <a:gd name="connsiteY0" fmla="*/ 0 h 5471929"/>
              <a:gd name="connsiteX1" fmla="*/ 5579268 w 5579268"/>
              <a:gd name="connsiteY1" fmla="*/ 0 h 5471929"/>
              <a:gd name="connsiteX2" fmla="*/ 5579231 w 5579268"/>
              <a:gd name="connsiteY2" fmla="*/ 4581524 h 5471929"/>
              <a:gd name="connsiteX3" fmla="*/ 0 w 5579268"/>
              <a:gd name="connsiteY3" fmla="*/ 5067299 h 5471929"/>
              <a:gd name="connsiteX4" fmla="*/ 0 w 5579268"/>
              <a:gd name="connsiteY4" fmla="*/ 0 h 5471929"/>
              <a:gd name="connsiteX0" fmla="*/ 0 w 5579268"/>
              <a:gd name="connsiteY0" fmla="*/ 0 h 5067299"/>
              <a:gd name="connsiteX1" fmla="*/ 5579268 w 5579268"/>
              <a:gd name="connsiteY1" fmla="*/ 0 h 5067299"/>
              <a:gd name="connsiteX2" fmla="*/ 5579231 w 5579268"/>
              <a:gd name="connsiteY2" fmla="*/ 4581524 h 5067299"/>
              <a:gd name="connsiteX3" fmla="*/ 0 w 5579268"/>
              <a:gd name="connsiteY3" fmla="*/ 5067299 h 5067299"/>
              <a:gd name="connsiteX4" fmla="*/ 0 w 5579268"/>
              <a:gd name="connsiteY4" fmla="*/ 0 h 5067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79268" h="5067299">
                <a:moveTo>
                  <a:pt x="0" y="0"/>
                </a:moveTo>
                <a:lnTo>
                  <a:pt x="5579268" y="0"/>
                </a:lnTo>
                <a:cubicBezTo>
                  <a:pt x="5579256" y="1527175"/>
                  <a:pt x="5579243" y="3054349"/>
                  <a:pt x="5579231" y="4581524"/>
                </a:cubicBezTo>
                <a:lnTo>
                  <a:pt x="0" y="5067299"/>
                </a:lnTo>
                <a:lnTo>
                  <a:pt x="0" y="0"/>
                </a:lnTo>
                <a:close/>
              </a:path>
            </a:pathLst>
          </a:cu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>Insert picture</a:t>
            </a:r>
          </a:p>
        </p:txBody>
      </p:sp>
      <p:sp>
        <p:nvSpPr>
          <p:cNvPr id="34" name="Picture Placehold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1" y="1"/>
            <a:ext cx="6546631" cy="5651097"/>
          </a:xfrm>
          <a:custGeom>
            <a:avLst/>
            <a:gdLst>
              <a:gd name="connsiteX0" fmla="*/ 0 w 6550041"/>
              <a:gd name="connsiteY0" fmla="*/ 0 h 5652406"/>
              <a:gd name="connsiteX1" fmla="*/ 6550041 w 6550041"/>
              <a:gd name="connsiteY1" fmla="*/ 0 h 5652406"/>
              <a:gd name="connsiteX2" fmla="*/ 6550041 w 6550041"/>
              <a:gd name="connsiteY2" fmla="*/ 5652406 h 5652406"/>
              <a:gd name="connsiteX3" fmla="*/ 0 w 6550041"/>
              <a:gd name="connsiteY3" fmla="*/ 5652406 h 5652406"/>
              <a:gd name="connsiteX4" fmla="*/ 0 w 6550041"/>
              <a:gd name="connsiteY4" fmla="*/ 0 h 5652406"/>
              <a:gd name="connsiteX0" fmla="*/ 0 w 6550041"/>
              <a:gd name="connsiteY0" fmla="*/ 0 h 5652406"/>
              <a:gd name="connsiteX1" fmla="*/ 6550041 w 6550041"/>
              <a:gd name="connsiteY1" fmla="*/ 0 h 5652406"/>
              <a:gd name="connsiteX2" fmla="*/ 6548438 w 6550041"/>
              <a:gd name="connsiteY2" fmla="*/ 5074443 h 5652406"/>
              <a:gd name="connsiteX3" fmla="*/ 6550041 w 6550041"/>
              <a:gd name="connsiteY3" fmla="*/ 5652406 h 5652406"/>
              <a:gd name="connsiteX4" fmla="*/ 0 w 6550041"/>
              <a:gd name="connsiteY4" fmla="*/ 5652406 h 5652406"/>
              <a:gd name="connsiteX5" fmla="*/ 0 w 6550041"/>
              <a:gd name="connsiteY5" fmla="*/ 0 h 5652406"/>
              <a:gd name="connsiteX0" fmla="*/ 0 w 6550041"/>
              <a:gd name="connsiteY0" fmla="*/ 0 h 6090174"/>
              <a:gd name="connsiteX1" fmla="*/ 6550041 w 6550041"/>
              <a:gd name="connsiteY1" fmla="*/ 0 h 6090174"/>
              <a:gd name="connsiteX2" fmla="*/ 6548438 w 6550041"/>
              <a:gd name="connsiteY2" fmla="*/ 5074443 h 6090174"/>
              <a:gd name="connsiteX3" fmla="*/ 0 w 6550041"/>
              <a:gd name="connsiteY3" fmla="*/ 5652406 h 6090174"/>
              <a:gd name="connsiteX4" fmla="*/ 0 w 6550041"/>
              <a:gd name="connsiteY4" fmla="*/ 0 h 6090174"/>
              <a:gd name="connsiteX0" fmla="*/ 0 w 6550041"/>
              <a:gd name="connsiteY0" fmla="*/ 0 h 5652406"/>
              <a:gd name="connsiteX1" fmla="*/ 6550041 w 6550041"/>
              <a:gd name="connsiteY1" fmla="*/ 0 h 5652406"/>
              <a:gd name="connsiteX2" fmla="*/ 6548438 w 6550041"/>
              <a:gd name="connsiteY2" fmla="*/ 5074443 h 5652406"/>
              <a:gd name="connsiteX3" fmla="*/ 0 w 6550041"/>
              <a:gd name="connsiteY3" fmla="*/ 5652406 h 5652406"/>
              <a:gd name="connsiteX4" fmla="*/ 0 w 6550041"/>
              <a:gd name="connsiteY4" fmla="*/ 0 h 5652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50041" h="5652406">
                <a:moveTo>
                  <a:pt x="0" y="0"/>
                </a:moveTo>
                <a:lnTo>
                  <a:pt x="6550041" y="0"/>
                </a:lnTo>
                <a:cubicBezTo>
                  <a:pt x="6549507" y="1691481"/>
                  <a:pt x="6548972" y="3382962"/>
                  <a:pt x="6548438" y="5074443"/>
                </a:cubicBezTo>
                <a:lnTo>
                  <a:pt x="0" y="5652406"/>
                </a:lnTo>
                <a:lnTo>
                  <a:pt x="0" y="0"/>
                </a:lnTo>
                <a:close/>
              </a:path>
            </a:pathLst>
          </a:cu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>Insert picture</a:t>
            </a:r>
          </a:p>
        </p:txBody>
      </p:sp>
    </p:spTree>
    <p:extLst>
      <p:ext uri="{BB962C8B-B14F-4D97-AF65-F5344CB8AC3E}">
        <p14:creationId xmlns:p14="http://schemas.microsoft.com/office/powerpoint/2010/main" val="27018701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1" pos="4125">
          <p15:clr>
            <a:srgbClr val="FBAE40"/>
          </p15:clr>
        </p15:guide>
        <p15:guide id="2" pos="4170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. Brushing/ image 2 column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Regieanweisungen"/>
          <p:cNvGrpSpPr/>
          <p:nvPr/>
        </p:nvGrpSpPr>
        <p:grpSpPr>
          <a:xfrm>
            <a:off x="-2086913" y="-467892"/>
            <a:ext cx="13647691" cy="7792196"/>
            <a:chOff x="-2088000" y="-468000"/>
            <a:chExt cx="13654799" cy="7794000"/>
          </a:xfrm>
        </p:grpSpPr>
        <p:sp>
          <p:nvSpPr>
            <p:cNvPr id="20" name="Hilfslinien"/>
            <p:cNvSpPr txBox="1"/>
            <p:nvPr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1042388">
                <a:defRPr/>
              </a:pPr>
              <a:r>
                <a:rPr lang="en-GB" sz="1099" dirty="0">
                  <a:solidFill>
                    <a:srgbClr val="444444"/>
                  </a:solidFill>
                </a:rPr>
                <a:t>Show guides via menu bar: View // Show // tick Guides</a:t>
              </a:r>
            </a:p>
          </p:txBody>
        </p:sp>
        <p:sp>
          <p:nvSpPr>
            <p:cNvPr id="21" name="Fußzeile"/>
            <p:cNvSpPr txBox="1"/>
            <p:nvPr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 defTabSz="1042388">
                <a:defRPr/>
              </a:pPr>
              <a:r>
                <a:rPr lang="en-GB" sz="1099" dirty="0">
                  <a:solidFill>
                    <a:srgbClr val="444444"/>
                  </a:solidFill>
                </a:rPr>
                <a:t>Adjust footer (per slide or for several/all slides) via menu bar: Insert // Text // Header &amp; Footer</a:t>
              </a:r>
            </a:p>
          </p:txBody>
        </p:sp>
        <p:grpSp>
          <p:nvGrpSpPr>
            <p:cNvPr id="22" name="Hinweise links"/>
            <p:cNvGrpSpPr/>
            <p:nvPr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23" name="Folie Wechsel/Zurücksetzen/Textebenen"/>
              <p:cNvSpPr txBox="1"/>
              <p:nvPr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Reset the slide back to its </a:t>
                </a: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original form via menu bar:</a:t>
                </a: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Home // Slides // Reset</a:t>
                </a:r>
              </a:p>
              <a:p>
                <a:pPr algn="r"/>
                <a:endParaRPr lang="en-GB" sz="1099" dirty="0">
                  <a:solidFill>
                    <a:srgbClr val="444444"/>
                  </a:solidFill>
                </a:endParaRP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Change the slide layout </a:t>
                </a: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via menu bar:</a:t>
                </a: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Home // Slides // Layout</a:t>
                </a:r>
              </a:p>
              <a:p>
                <a:pPr algn="r"/>
                <a:endParaRPr lang="en-GB" sz="1099" dirty="0">
                  <a:solidFill>
                    <a:srgbClr val="444444"/>
                  </a:solidFill>
                </a:endParaRP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Change the text level</a:t>
                </a: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via menu bar: </a:t>
                </a:r>
                <a:br>
                  <a:rPr lang="en-GB" sz="1099" dirty="0">
                    <a:solidFill>
                      <a:srgbClr val="444444"/>
                    </a:solidFill>
                  </a:rPr>
                </a:br>
                <a:r>
                  <a:rPr lang="en-GB" sz="1099" dirty="0">
                    <a:solidFill>
                      <a:srgbClr val="444444"/>
                    </a:solidFill>
                  </a:rPr>
                  <a:t>Home // Paragraph // Increase/</a:t>
                </a: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Decrease List Level</a:t>
                </a:r>
              </a:p>
            </p:txBody>
          </p:sp>
          <p:grpSp>
            <p:nvGrpSpPr>
              <p:cNvPr id="24" name="Listenebenen"/>
              <p:cNvGrpSpPr/>
              <p:nvPr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25" name="Text // Listenebene erhöhen"/>
                <p:cNvSpPr txBox="1"/>
                <p:nvPr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r">
                    <a:defRPr/>
                  </a:pPr>
                  <a:r>
                    <a:rPr lang="en-GB" sz="999" dirty="0">
                      <a:solidFill>
                        <a:srgbClr val="444444"/>
                      </a:solidFill>
                    </a:rPr>
                    <a:t>Increase</a:t>
                  </a:r>
                </a:p>
                <a:p>
                  <a:pPr algn="r">
                    <a:defRPr/>
                  </a:pPr>
                  <a:r>
                    <a:rPr lang="en-GB" sz="999" dirty="0">
                      <a:solidFill>
                        <a:srgbClr val="444444"/>
                      </a:solidFill>
                    </a:rPr>
                    <a:t>List Level</a:t>
                  </a:r>
                </a:p>
              </p:txBody>
            </p:sp>
            <p:sp>
              <p:nvSpPr>
                <p:cNvPr id="37" name="Text // Listenebene verringern"/>
                <p:cNvSpPr txBox="1"/>
                <p:nvPr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r">
                    <a:defRPr/>
                  </a:pPr>
                  <a:r>
                    <a:rPr lang="en-GB" sz="999" dirty="0">
                      <a:solidFill>
                        <a:srgbClr val="444444"/>
                      </a:solidFill>
                    </a:rPr>
                    <a:t>Decrease </a:t>
                  </a:r>
                </a:p>
                <a:p>
                  <a:pPr algn="r">
                    <a:defRPr/>
                  </a:pPr>
                  <a:r>
                    <a:rPr lang="en-GB" sz="999" dirty="0">
                      <a:solidFill>
                        <a:srgbClr val="444444"/>
                      </a:solidFill>
                    </a:rPr>
                    <a:t>List Level</a:t>
                  </a:r>
                </a:p>
              </p:txBody>
            </p:sp>
            <p:pic>
              <p:nvPicPr>
                <p:cNvPr id="38" name="Listenebene erhöhen"/>
                <p:cNvPicPr>
                  <a:picLocks noChangeAspect="1"/>
                </p:cNvPicPr>
                <p:nvPr/>
              </p:nvPicPr>
              <p:blipFill>
                <a:blip r:embed="rId2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39" name="Listenebene verringern"/>
                <p:cNvPicPr>
                  <a:picLocks noChangeAspect="1"/>
                </p:cNvPicPr>
                <p:nvPr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pic>
        <p:nvPicPr>
          <p:cNvPr id="3" name="Buerstung U_M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white">
          <a:xfrm>
            <a:off x="0" y="0"/>
            <a:ext cx="12190451" cy="6487838"/>
          </a:xfrm>
          <a:prstGeom prst="rect">
            <a:avLst/>
          </a:prstGeom>
        </p:spPr>
      </p:pic>
      <p:sp>
        <p:nvSpPr>
          <p:cNvPr id="26" name="Daimler AG (Wortmarke)"/>
          <p:cNvSpPr>
            <a:spLocks noChangeArrowheads="1"/>
          </p:cNvSpPr>
          <p:nvPr/>
        </p:nvSpPr>
        <p:spPr bwMode="auto">
          <a:xfrm>
            <a:off x="629672" y="6564880"/>
            <a:ext cx="2086913" cy="2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r>
              <a:rPr lang="en-GB" sz="1199" dirty="0">
                <a:solidFill>
                  <a:prstClr val="black"/>
                </a:solidFill>
                <a:latin typeface="CorpoS"/>
                <a:cs typeface="Daimler CS"/>
              </a:rPr>
              <a:t>Daimler AG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1"/>
            <a:ext cx="4944075" cy="4530469"/>
          </a:xfrm>
          <a:custGeom>
            <a:avLst/>
            <a:gdLst>
              <a:gd name="connsiteX0" fmla="*/ 0 w 4946650"/>
              <a:gd name="connsiteY0" fmla="*/ 0 h 4531518"/>
              <a:gd name="connsiteX1" fmla="*/ 4946650 w 4946650"/>
              <a:gd name="connsiteY1" fmla="*/ 0 h 4531518"/>
              <a:gd name="connsiteX2" fmla="*/ 4946650 w 4946650"/>
              <a:gd name="connsiteY2" fmla="*/ 4531518 h 4531518"/>
              <a:gd name="connsiteX3" fmla="*/ 0 w 4946650"/>
              <a:gd name="connsiteY3" fmla="*/ 4531518 h 4531518"/>
              <a:gd name="connsiteX4" fmla="*/ 0 w 4946650"/>
              <a:gd name="connsiteY4" fmla="*/ 0 h 4531518"/>
              <a:gd name="connsiteX0" fmla="*/ 0 w 4946650"/>
              <a:gd name="connsiteY0" fmla="*/ 0 h 4531518"/>
              <a:gd name="connsiteX1" fmla="*/ 4946650 w 4946650"/>
              <a:gd name="connsiteY1" fmla="*/ 0 h 4531518"/>
              <a:gd name="connsiteX2" fmla="*/ 4945856 w 4946650"/>
              <a:gd name="connsiteY2" fmla="*/ 4093368 h 4531518"/>
              <a:gd name="connsiteX3" fmla="*/ 4946650 w 4946650"/>
              <a:gd name="connsiteY3" fmla="*/ 4531518 h 4531518"/>
              <a:gd name="connsiteX4" fmla="*/ 0 w 4946650"/>
              <a:gd name="connsiteY4" fmla="*/ 4531518 h 4531518"/>
              <a:gd name="connsiteX5" fmla="*/ 0 w 4946650"/>
              <a:gd name="connsiteY5" fmla="*/ 0 h 4531518"/>
              <a:gd name="connsiteX0" fmla="*/ 0 w 4946650"/>
              <a:gd name="connsiteY0" fmla="*/ 0 h 4891941"/>
              <a:gd name="connsiteX1" fmla="*/ 4946650 w 4946650"/>
              <a:gd name="connsiteY1" fmla="*/ 0 h 4891941"/>
              <a:gd name="connsiteX2" fmla="*/ 4945856 w 4946650"/>
              <a:gd name="connsiteY2" fmla="*/ 4093368 h 4891941"/>
              <a:gd name="connsiteX3" fmla="*/ 0 w 4946650"/>
              <a:gd name="connsiteY3" fmla="*/ 4531518 h 4891941"/>
              <a:gd name="connsiteX4" fmla="*/ 0 w 4946650"/>
              <a:gd name="connsiteY4" fmla="*/ 0 h 4891941"/>
              <a:gd name="connsiteX0" fmla="*/ 0 w 4946650"/>
              <a:gd name="connsiteY0" fmla="*/ 0 h 4531518"/>
              <a:gd name="connsiteX1" fmla="*/ 4946650 w 4946650"/>
              <a:gd name="connsiteY1" fmla="*/ 0 h 4531518"/>
              <a:gd name="connsiteX2" fmla="*/ 4945856 w 4946650"/>
              <a:gd name="connsiteY2" fmla="*/ 4093368 h 4531518"/>
              <a:gd name="connsiteX3" fmla="*/ 0 w 4946650"/>
              <a:gd name="connsiteY3" fmla="*/ 4531518 h 4531518"/>
              <a:gd name="connsiteX4" fmla="*/ 0 w 4946650"/>
              <a:gd name="connsiteY4" fmla="*/ 0 h 45315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46650" h="4531518">
                <a:moveTo>
                  <a:pt x="0" y="0"/>
                </a:moveTo>
                <a:lnTo>
                  <a:pt x="4946650" y="0"/>
                </a:lnTo>
                <a:cubicBezTo>
                  <a:pt x="4946385" y="1364456"/>
                  <a:pt x="4946121" y="2728912"/>
                  <a:pt x="4945856" y="4093368"/>
                </a:cubicBezTo>
                <a:lnTo>
                  <a:pt x="0" y="4531518"/>
                </a:lnTo>
                <a:lnTo>
                  <a:pt x="0" y="0"/>
                </a:lnTo>
                <a:close/>
              </a:path>
            </a:pathLst>
          </a:cu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>Insert picture</a:t>
            </a: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DI-Lama Project Update | Phani Sarraju | 4.Sep.2018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>
                <a:solidFill>
                  <a:prstClr val="black"/>
                </a:solidFill>
              </a:rPr>
              <a:t>Page </a:t>
            </a:r>
            <a:fld id="{52531704-8F80-415D-BD2B-6B9991AE822F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5017063" y="0"/>
            <a:ext cx="7175731" cy="4085054"/>
          </a:xfrm>
          <a:custGeom>
            <a:avLst/>
            <a:gdLst>
              <a:gd name="connsiteX0" fmla="*/ 0 w 7178674"/>
              <a:gd name="connsiteY0" fmla="*/ 0 h 4086000"/>
              <a:gd name="connsiteX1" fmla="*/ 7178674 w 7178674"/>
              <a:gd name="connsiteY1" fmla="*/ 0 h 4086000"/>
              <a:gd name="connsiteX2" fmla="*/ 7178674 w 7178674"/>
              <a:gd name="connsiteY2" fmla="*/ 4086000 h 4086000"/>
              <a:gd name="connsiteX3" fmla="*/ 0 w 7178674"/>
              <a:gd name="connsiteY3" fmla="*/ 4086000 h 4086000"/>
              <a:gd name="connsiteX4" fmla="*/ 0 w 7178674"/>
              <a:gd name="connsiteY4" fmla="*/ 0 h 4086000"/>
              <a:gd name="connsiteX0" fmla="*/ 0 w 7179468"/>
              <a:gd name="connsiteY0" fmla="*/ 0 h 4086000"/>
              <a:gd name="connsiteX1" fmla="*/ 7178674 w 7179468"/>
              <a:gd name="connsiteY1" fmla="*/ 0 h 4086000"/>
              <a:gd name="connsiteX2" fmla="*/ 7179468 w 7179468"/>
              <a:gd name="connsiteY2" fmla="*/ 3455194 h 4086000"/>
              <a:gd name="connsiteX3" fmla="*/ 7178674 w 7179468"/>
              <a:gd name="connsiteY3" fmla="*/ 4086000 h 4086000"/>
              <a:gd name="connsiteX4" fmla="*/ 0 w 7179468"/>
              <a:gd name="connsiteY4" fmla="*/ 4086000 h 4086000"/>
              <a:gd name="connsiteX5" fmla="*/ 0 w 7179468"/>
              <a:gd name="connsiteY5" fmla="*/ 0 h 4086000"/>
              <a:gd name="connsiteX0" fmla="*/ 0 w 7179468"/>
              <a:gd name="connsiteY0" fmla="*/ 0 h 4332411"/>
              <a:gd name="connsiteX1" fmla="*/ 7178674 w 7179468"/>
              <a:gd name="connsiteY1" fmla="*/ 0 h 4332411"/>
              <a:gd name="connsiteX2" fmla="*/ 7179468 w 7179468"/>
              <a:gd name="connsiteY2" fmla="*/ 3455194 h 4332411"/>
              <a:gd name="connsiteX3" fmla="*/ 0 w 7179468"/>
              <a:gd name="connsiteY3" fmla="*/ 4086000 h 4332411"/>
              <a:gd name="connsiteX4" fmla="*/ 0 w 7179468"/>
              <a:gd name="connsiteY4" fmla="*/ 0 h 4332411"/>
              <a:gd name="connsiteX0" fmla="*/ 0 w 7179468"/>
              <a:gd name="connsiteY0" fmla="*/ 0 h 4086000"/>
              <a:gd name="connsiteX1" fmla="*/ 7178674 w 7179468"/>
              <a:gd name="connsiteY1" fmla="*/ 0 h 4086000"/>
              <a:gd name="connsiteX2" fmla="*/ 7179468 w 7179468"/>
              <a:gd name="connsiteY2" fmla="*/ 3455194 h 4086000"/>
              <a:gd name="connsiteX3" fmla="*/ 0 w 7179468"/>
              <a:gd name="connsiteY3" fmla="*/ 4086000 h 4086000"/>
              <a:gd name="connsiteX4" fmla="*/ 0 w 7179468"/>
              <a:gd name="connsiteY4" fmla="*/ 0 h 408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179468" h="4086000">
                <a:moveTo>
                  <a:pt x="0" y="0"/>
                </a:moveTo>
                <a:lnTo>
                  <a:pt x="7178674" y="0"/>
                </a:lnTo>
                <a:cubicBezTo>
                  <a:pt x="7178939" y="1151731"/>
                  <a:pt x="7179203" y="2303463"/>
                  <a:pt x="7179468" y="3455194"/>
                </a:cubicBezTo>
                <a:lnTo>
                  <a:pt x="0" y="4086000"/>
                </a:lnTo>
                <a:lnTo>
                  <a:pt x="0" y="0"/>
                </a:lnTo>
                <a:close/>
              </a:path>
            </a:pathLst>
          </a:cu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>Insert picture</a:t>
            </a: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630116" y="4745527"/>
            <a:ext cx="10930388" cy="163474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Insert text in </a:t>
            </a:r>
            <a:r>
              <a:rPr lang="en-GB" noProof="0" dirty="0"/>
              <a:t>CorpoS (Body) 24 pt. (Mark-ups in Bold) </a:t>
            </a:r>
            <a:r>
              <a:rPr lang="en-GB" dirty="0"/>
              <a:t>// for Body text: Home // Paragraph// Increase List Level</a:t>
            </a:r>
          </a:p>
          <a:p>
            <a:pPr lvl="1"/>
            <a:r>
              <a:rPr lang="en-GB" dirty="0"/>
              <a:t>Second level (Body text)</a:t>
            </a:r>
          </a:p>
        </p:txBody>
      </p:sp>
    </p:spTree>
    <p:extLst>
      <p:ext uri="{BB962C8B-B14F-4D97-AF65-F5344CB8AC3E}">
        <p14:creationId xmlns:p14="http://schemas.microsoft.com/office/powerpoint/2010/main" val="273989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1" pos="3116">
          <p15:clr>
            <a:srgbClr val="FBAE40"/>
          </p15:clr>
        </p15:guide>
        <p15:guide id="2" pos="3162">
          <p15:clr>
            <a:srgbClr val="FBAE40"/>
          </p15:clr>
        </p15:guide>
        <p15:guide id="3" orient="horz" pos="2990">
          <p15:clr>
            <a:srgbClr val="FBAE40"/>
          </p15:clr>
        </p15:guide>
        <p15:guide id="4" orient="horz" pos="402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. Title ima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Regieanweisungen"/>
          <p:cNvGrpSpPr/>
          <p:nvPr/>
        </p:nvGrpSpPr>
        <p:grpSpPr>
          <a:xfrm>
            <a:off x="-2086913" y="-467892"/>
            <a:ext cx="13647691" cy="7792196"/>
            <a:chOff x="-2088000" y="-468000"/>
            <a:chExt cx="13654799" cy="7794000"/>
          </a:xfrm>
        </p:grpSpPr>
        <p:sp>
          <p:nvSpPr>
            <p:cNvPr id="16" name="Hilfslinien"/>
            <p:cNvSpPr txBox="1"/>
            <p:nvPr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99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how guides via menu bar: View // Show // tick Guides</a:t>
              </a:r>
            </a:p>
          </p:txBody>
        </p:sp>
        <p:sp>
          <p:nvSpPr>
            <p:cNvPr id="17" name="Fußzeile"/>
            <p:cNvSpPr txBox="1"/>
            <p:nvPr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1042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099" b="0" baseline="0" dirty="0" smtClean="0">
                  <a:solidFill>
                    <a:schemeClr val="accent5"/>
                  </a:solidFill>
                  <a:latin typeface="+mn-lt"/>
                </a:rPr>
                <a:t>Adjust footer (per slide or for several/all slides) via menu bar: Insert // Text // Header &amp; Footer</a:t>
              </a:r>
            </a:p>
          </p:txBody>
        </p:sp>
        <p:grpSp>
          <p:nvGrpSpPr>
            <p:cNvPr id="28" name="Hinweise links"/>
            <p:cNvGrpSpPr/>
            <p:nvPr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29" name="Folie Wechsel/Zurücksetzen/Textebenen"/>
              <p:cNvSpPr txBox="1"/>
              <p:nvPr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Reset the slide back to its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original form 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Slides // Rese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099" b="0" baseline="0" noProof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Change the slide layout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Slides // Layou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099" b="0" baseline="0" noProof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Change the text level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via menu bar: </a:t>
                </a:r>
                <a:b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</a:b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Paragraph // Increase/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Decrease List Level</a:t>
                </a:r>
              </a:p>
            </p:txBody>
          </p:sp>
          <p:grpSp>
            <p:nvGrpSpPr>
              <p:cNvPr id="31" name="Listenebenen"/>
              <p:cNvGrpSpPr/>
              <p:nvPr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32" name="Text // Listenebene erhöhen"/>
                <p:cNvSpPr txBox="1"/>
                <p:nvPr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38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999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Increase</a:t>
                  </a:r>
                </a:p>
                <a:p>
                  <a:pPr marL="0" marR="0" lvl="0" indent="0" algn="r" defTabSz="9138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999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sp>
              <p:nvSpPr>
                <p:cNvPr id="33" name="Text // Listenebene verringern"/>
                <p:cNvSpPr txBox="1"/>
                <p:nvPr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38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999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Decrease </a:t>
                  </a:r>
                </a:p>
                <a:p>
                  <a:pPr marL="0" marR="0" lvl="0" indent="0" algn="r" defTabSz="9138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999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pic>
              <p:nvPicPr>
                <p:cNvPr id="34" name="Listenebene erhöhen"/>
                <p:cNvPicPr>
                  <a:picLocks noChangeAspect="1"/>
                </p:cNvPicPr>
                <p:nvPr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35" name="Listenebene verringern"/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-2380" y="2281900"/>
            <a:ext cx="12192831" cy="4576100"/>
          </a:xfrm>
          <a:custGeom>
            <a:avLst/>
            <a:gdLst>
              <a:gd name="connsiteX0" fmla="*/ 0 w 12196800"/>
              <a:gd name="connsiteY0" fmla="*/ 0 h 4581922"/>
              <a:gd name="connsiteX1" fmla="*/ 12196800 w 12196800"/>
              <a:gd name="connsiteY1" fmla="*/ 0 h 4581922"/>
              <a:gd name="connsiteX2" fmla="*/ 12196800 w 12196800"/>
              <a:gd name="connsiteY2" fmla="*/ 4581922 h 4581922"/>
              <a:gd name="connsiteX3" fmla="*/ 0 w 12196800"/>
              <a:gd name="connsiteY3" fmla="*/ 4581922 h 4581922"/>
              <a:gd name="connsiteX4" fmla="*/ 0 w 12196800"/>
              <a:gd name="connsiteY4" fmla="*/ 0 h 4581922"/>
              <a:gd name="connsiteX0" fmla="*/ 2381 w 12199181"/>
              <a:gd name="connsiteY0" fmla="*/ 0 h 4581922"/>
              <a:gd name="connsiteX1" fmla="*/ 12199181 w 12199181"/>
              <a:gd name="connsiteY1" fmla="*/ 0 h 4581922"/>
              <a:gd name="connsiteX2" fmla="*/ 12199181 w 12199181"/>
              <a:gd name="connsiteY2" fmla="*/ 4581922 h 4581922"/>
              <a:gd name="connsiteX3" fmla="*/ 2381 w 12199181"/>
              <a:gd name="connsiteY3" fmla="*/ 4581922 h 4581922"/>
              <a:gd name="connsiteX4" fmla="*/ 0 w 12199181"/>
              <a:gd name="connsiteY4" fmla="*/ 1075135 h 4581922"/>
              <a:gd name="connsiteX5" fmla="*/ 2381 w 12199181"/>
              <a:gd name="connsiteY5" fmla="*/ 0 h 4581922"/>
              <a:gd name="connsiteX0" fmla="*/ 0 w 12199181"/>
              <a:gd name="connsiteY0" fmla="*/ 1263181 h 4769968"/>
              <a:gd name="connsiteX1" fmla="*/ 12199181 w 12199181"/>
              <a:gd name="connsiteY1" fmla="*/ 188046 h 4769968"/>
              <a:gd name="connsiteX2" fmla="*/ 12199181 w 12199181"/>
              <a:gd name="connsiteY2" fmla="*/ 4769968 h 4769968"/>
              <a:gd name="connsiteX3" fmla="*/ 2381 w 12199181"/>
              <a:gd name="connsiteY3" fmla="*/ 4769968 h 4769968"/>
              <a:gd name="connsiteX4" fmla="*/ 0 w 12199181"/>
              <a:gd name="connsiteY4" fmla="*/ 1263181 h 4769968"/>
              <a:gd name="connsiteX0" fmla="*/ 0 w 12199181"/>
              <a:gd name="connsiteY0" fmla="*/ 1075135 h 4581922"/>
              <a:gd name="connsiteX1" fmla="*/ 12199181 w 12199181"/>
              <a:gd name="connsiteY1" fmla="*/ 0 h 4581922"/>
              <a:gd name="connsiteX2" fmla="*/ 12199181 w 12199181"/>
              <a:gd name="connsiteY2" fmla="*/ 4581922 h 4581922"/>
              <a:gd name="connsiteX3" fmla="*/ 2381 w 12199181"/>
              <a:gd name="connsiteY3" fmla="*/ 4581922 h 4581922"/>
              <a:gd name="connsiteX4" fmla="*/ 0 w 12199181"/>
              <a:gd name="connsiteY4" fmla="*/ 1075135 h 4581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9181" h="4581922">
                <a:moveTo>
                  <a:pt x="0" y="1075135"/>
                </a:moveTo>
                <a:lnTo>
                  <a:pt x="12199181" y="0"/>
                </a:lnTo>
                <a:lnTo>
                  <a:pt x="12199181" y="4581922"/>
                </a:lnTo>
                <a:lnTo>
                  <a:pt x="2381" y="4581922"/>
                </a:lnTo>
                <a:cubicBezTo>
                  <a:pt x="1587" y="3412993"/>
                  <a:pt x="794" y="2244064"/>
                  <a:pt x="0" y="1075135"/>
                </a:cubicBezTo>
                <a:close/>
              </a:path>
            </a:pathLst>
          </a:custGeom>
          <a:noFill/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28323" y="2044433"/>
            <a:ext cx="7232233" cy="648964"/>
          </a:xfrm>
          <a:custGeom>
            <a:avLst/>
            <a:gdLst>
              <a:gd name="connsiteX0" fmla="*/ 0 w 7236000"/>
              <a:gd name="connsiteY0" fmla="*/ 0 h 649114"/>
              <a:gd name="connsiteX1" fmla="*/ 7236000 w 7236000"/>
              <a:gd name="connsiteY1" fmla="*/ 0 h 649114"/>
              <a:gd name="connsiteX2" fmla="*/ 7236000 w 7236000"/>
              <a:gd name="connsiteY2" fmla="*/ 649114 h 649114"/>
              <a:gd name="connsiteX3" fmla="*/ 0 w 7236000"/>
              <a:gd name="connsiteY3" fmla="*/ 649114 h 649114"/>
              <a:gd name="connsiteX4" fmla="*/ 0 w 7236000"/>
              <a:gd name="connsiteY4" fmla="*/ 0 h 649114"/>
              <a:gd name="connsiteX0" fmla="*/ 0 w 7236000"/>
              <a:gd name="connsiteY0" fmla="*/ 0 h 649114"/>
              <a:gd name="connsiteX1" fmla="*/ 7236000 w 7236000"/>
              <a:gd name="connsiteY1" fmla="*/ 0 h 649114"/>
              <a:gd name="connsiteX2" fmla="*/ 7234238 w 7236000"/>
              <a:gd name="connsiteY2" fmla="*/ 514937 h 649114"/>
              <a:gd name="connsiteX3" fmla="*/ 7236000 w 7236000"/>
              <a:gd name="connsiteY3" fmla="*/ 649114 h 649114"/>
              <a:gd name="connsiteX4" fmla="*/ 0 w 7236000"/>
              <a:gd name="connsiteY4" fmla="*/ 649114 h 649114"/>
              <a:gd name="connsiteX5" fmla="*/ 0 w 7236000"/>
              <a:gd name="connsiteY5" fmla="*/ 0 h 649114"/>
              <a:gd name="connsiteX0" fmla="*/ 0 w 7236000"/>
              <a:gd name="connsiteY0" fmla="*/ 0 h 649114"/>
              <a:gd name="connsiteX1" fmla="*/ 7236000 w 7236000"/>
              <a:gd name="connsiteY1" fmla="*/ 0 h 649114"/>
              <a:gd name="connsiteX2" fmla="*/ 7234238 w 7236000"/>
              <a:gd name="connsiteY2" fmla="*/ 514937 h 649114"/>
              <a:gd name="connsiteX3" fmla="*/ 7236000 w 7236000"/>
              <a:gd name="connsiteY3" fmla="*/ 649114 h 649114"/>
              <a:gd name="connsiteX4" fmla="*/ 5812631 w 7236000"/>
              <a:gd name="connsiteY4" fmla="*/ 648287 h 649114"/>
              <a:gd name="connsiteX5" fmla="*/ 0 w 7236000"/>
              <a:gd name="connsiteY5" fmla="*/ 649114 h 649114"/>
              <a:gd name="connsiteX6" fmla="*/ 0 w 7236000"/>
              <a:gd name="connsiteY6" fmla="*/ 0 h 649114"/>
              <a:gd name="connsiteX0" fmla="*/ 0 w 7236000"/>
              <a:gd name="connsiteY0" fmla="*/ 0 h 649114"/>
              <a:gd name="connsiteX1" fmla="*/ 7236000 w 7236000"/>
              <a:gd name="connsiteY1" fmla="*/ 0 h 649114"/>
              <a:gd name="connsiteX2" fmla="*/ 7234238 w 7236000"/>
              <a:gd name="connsiteY2" fmla="*/ 514937 h 649114"/>
              <a:gd name="connsiteX3" fmla="*/ 5812631 w 7236000"/>
              <a:gd name="connsiteY3" fmla="*/ 648287 h 649114"/>
              <a:gd name="connsiteX4" fmla="*/ 0 w 7236000"/>
              <a:gd name="connsiteY4" fmla="*/ 649114 h 649114"/>
              <a:gd name="connsiteX5" fmla="*/ 0 w 7236000"/>
              <a:gd name="connsiteY5" fmla="*/ 0 h 649114"/>
              <a:gd name="connsiteX0" fmla="*/ 0 w 7236000"/>
              <a:gd name="connsiteY0" fmla="*/ 0 h 649114"/>
              <a:gd name="connsiteX1" fmla="*/ 7236000 w 7236000"/>
              <a:gd name="connsiteY1" fmla="*/ 0 h 649114"/>
              <a:gd name="connsiteX2" fmla="*/ 7234238 w 7236000"/>
              <a:gd name="connsiteY2" fmla="*/ 514937 h 649114"/>
              <a:gd name="connsiteX3" fmla="*/ 5812631 w 7236000"/>
              <a:gd name="connsiteY3" fmla="*/ 648287 h 649114"/>
              <a:gd name="connsiteX4" fmla="*/ 0 w 7236000"/>
              <a:gd name="connsiteY4" fmla="*/ 649114 h 649114"/>
              <a:gd name="connsiteX5" fmla="*/ 0 w 7236000"/>
              <a:gd name="connsiteY5" fmla="*/ 0 h 6491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236000" h="649114">
                <a:moveTo>
                  <a:pt x="0" y="0"/>
                </a:moveTo>
                <a:lnTo>
                  <a:pt x="7236000" y="0"/>
                </a:lnTo>
                <a:cubicBezTo>
                  <a:pt x="7235413" y="171646"/>
                  <a:pt x="7234825" y="343291"/>
                  <a:pt x="7234238" y="514937"/>
                </a:cubicBezTo>
                <a:lnTo>
                  <a:pt x="5812631" y="648287"/>
                </a:lnTo>
                <a:lnTo>
                  <a:pt x="0" y="649114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Headline for presentation</a:t>
            </a:r>
            <a:endParaRPr lang="en-GB" dirty="0"/>
          </a:p>
        </p:txBody>
      </p:sp>
      <p:pic>
        <p:nvPicPr>
          <p:cNvPr id="30" name="Wortmarke DAIMLER" descr="Daimler_RGB_100mm.png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9672" y="790853"/>
            <a:ext cx="3418220" cy="462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74666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288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. Brushing/ image 3 column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Regieanweisungen"/>
          <p:cNvGrpSpPr/>
          <p:nvPr/>
        </p:nvGrpSpPr>
        <p:grpSpPr>
          <a:xfrm>
            <a:off x="-2086913" y="-467892"/>
            <a:ext cx="13647691" cy="7792196"/>
            <a:chOff x="-2088000" y="-468000"/>
            <a:chExt cx="13654799" cy="7794000"/>
          </a:xfrm>
        </p:grpSpPr>
        <p:sp>
          <p:nvSpPr>
            <p:cNvPr id="21" name="Hilfslinien"/>
            <p:cNvSpPr txBox="1"/>
            <p:nvPr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1042388">
                <a:defRPr/>
              </a:pPr>
              <a:r>
                <a:rPr lang="en-GB" sz="1099" dirty="0">
                  <a:solidFill>
                    <a:srgbClr val="444444"/>
                  </a:solidFill>
                </a:rPr>
                <a:t>Show guides via menu bar: View // Show // tick Guides</a:t>
              </a:r>
            </a:p>
          </p:txBody>
        </p:sp>
        <p:sp>
          <p:nvSpPr>
            <p:cNvPr id="22" name="Fußzeile"/>
            <p:cNvSpPr txBox="1"/>
            <p:nvPr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 defTabSz="1042388">
                <a:defRPr/>
              </a:pPr>
              <a:r>
                <a:rPr lang="en-GB" sz="1099" dirty="0">
                  <a:solidFill>
                    <a:srgbClr val="444444"/>
                  </a:solidFill>
                </a:rPr>
                <a:t>Adjust footer (per slide or for several/all slides) via menu bar: Insert // Text // Header &amp; Footer</a:t>
              </a:r>
            </a:p>
          </p:txBody>
        </p:sp>
        <p:grpSp>
          <p:nvGrpSpPr>
            <p:cNvPr id="23" name="Hinweise links"/>
            <p:cNvGrpSpPr/>
            <p:nvPr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24" name="Folie Wechsel/Zurücksetzen/Textebenen"/>
              <p:cNvSpPr txBox="1"/>
              <p:nvPr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Reset the slide back to its </a:t>
                </a: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original form via menu bar:</a:t>
                </a: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Home // Slides // Reset</a:t>
                </a:r>
              </a:p>
              <a:p>
                <a:pPr algn="r"/>
                <a:endParaRPr lang="en-GB" sz="1099" dirty="0">
                  <a:solidFill>
                    <a:srgbClr val="444444"/>
                  </a:solidFill>
                </a:endParaRP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Change the slide layout </a:t>
                </a: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via menu bar:</a:t>
                </a: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Home // Slides // Layout</a:t>
                </a:r>
              </a:p>
              <a:p>
                <a:pPr algn="r"/>
                <a:endParaRPr lang="en-GB" sz="1099" dirty="0">
                  <a:solidFill>
                    <a:srgbClr val="444444"/>
                  </a:solidFill>
                </a:endParaRP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Change the text level</a:t>
                </a: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via menu bar: </a:t>
                </a:r>
                <a:br>
                  <a:rPr lang="en-GB" sz="1099" dirty="0">
                    <a:solidFill>
                      <a:srgbClr val="444444"/>
                    </a:solidFill>
                  </a:rPr>
                </a:br>
                <a:r>
                  <a:rPr lang="en-GB" sz="1099" dirty="0">
                    <a:solidFill>
                      <a:srgbClr val="444444"/>
                    </a:solidFill>
                  </a:rPr>
                  <a:t>Home // Paragraph // Increase/</a:t>
                </a: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Decrease List Level</a:t>
                </a:r>
              </a:p>
            </p:txBody>
          </p:sp>
          <p:grpSp>
            <p:nvGrpSpPr>
              <p:cNvPr id="36" name="Listenebenen"/>
              <p:cNvGrpSpPr/>
              <p:nvPr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37" name="Text // Listenebene erhöhen"/>
                <p:cNvSpPr txBox="1"/>
                <p:nvPr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r">
                    <a:defRPr/>
                  </a:pPr>
                  <a:r>
                    <a:rPr lang="en-GB" sz="999" dirty="0">
                      <a:solidFill>
                        <a:srgbClr val="444444"/>
                      </a:solidFill>
                    </a:rPr>
                    <a:t>Increase</a:t>
                  </a:r>
                </a:p>
                <a:p>
                  <a:pPr algn="r">
                    <a:defRPr/>
                  </a:pPr>
                  <a:r>
                    <a:rPr lang="en-GB" sz="999" dirty="0">
                      <a:solidFill>
                        <a:srgbClr val="444444"/>
                      </a:solidFill>
                    </a:rPr>
                    <a:t>List Level</a:t>
                  </a:r>
                </a:p>
              </p:txBody>
            </p:sp>
            <p:sp>
              <p:nvSpPr>
                <p:cNvPr id="38" name="Text // Listenebene verringern"/>
                <p:cNvSpPr txBox="1"/>
                <p:nvPr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r">
                    <a:defRPr/>
                  </a:pPr>
                  <a:r>
                    <a:rPr lang="en-GB" sz="999" dirty="0">
                      <a:solidFill>
                        <a:srgbClr val="444444"/>
                      </a:solidFill>
                    </a:rPr>
                    <a:t>Decrease </a:t>
                  </a:r>
                </a:p>
                <a:p>
                  <a:pPr algn="r">
                    <a:defRPr/>
                  </a:pPr>
                  <a:r>
                    <a:rPr lang="en-GB" sz="999" dirty="0">
                      <a:solidFill>
                        <a:srgbClr val="444444"/>
                      </a:solidFill>
                    </a:rPr>
                    <a:t>List Level</a:t>
                  </a:r>
                </a:p>
              </p:txBody>
            </p:sp>
            <p:pic>
              <p:nvPicPr>
                <p:cNvPr id="39" name="Listenebene erhöhen"/>
                <p:cNvPicPr>
                  <a:picLocks noChangeAspect="1"/>
                </p:cNvPicPr>
                <p:nvPr/>
              </p:nvPicPr>
              <p:blipFill>
                <a:blip r:embed="rId2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40" name="Listenebene verringern"/>
                <p:cNvPicPr>
                  <a:picLocks noChangeAspect="1"/>
                </p:cNvPicPr>
                <p:nvPr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pic>
        <p:nvPicPr>
          <p:cNvPr id="2" name="Buerstung U_L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white">
          <a:xfrm>
            <a:off x="0" y="0"/>
            <a:ext cx="12190451" cy="6487838"/>
          </a:xfrm>
          <a:prstGeom prst="rect">
            <a:avLst/>
          </a:prstGeom>
        </p:spPr>
      </p:pic>
      <p:sp>
        <p:nvSpPr>
          <p:cNvPr id="25" name="Daimler AG (Wortmarke)"/>
          <p:cNvSpPr>
            <a:spLocks noChangeArrowheads="1"/>
          </p:cNvSpPr>
          <p:nvPr/>
        </p:nvSpPr>
        <p:spPr bwMode="auto">
          <a:xfrm>
            <a:off x="629672" y="6564880"/>
            <a:ext cx="2086913" cy="2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r>
              <a:rPr lang="en-GB" sz="1199" dirty="0">
                <a:solidFill>
                  <a:prstClr val="black"/>
                </a:solidFill>
                <a:latin typeface="CorpoS"/>
                <a:cs typeface="Daimler CS"/>
              </a:rPr>
              <a:t>Daimler AG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-1"/>
            <a:ext cx="4598180" cy="3373450"/>
          </a:xfrm>
          <a:custGeom>
            <a:avLst/>
            <a:gdLst>
              <a:gd name="connsiteX0" fmla="*/ 0 w 4600575"/>
              <a:gd name="connsiteY0" fmla="*/ 0 h 3374231"/>
              <a:gd name="connsiteX1" fmla="*/ 4600575 w 4600575"/>
              <a:gd name="connsiteY1" fmla="*/ 0 h 3374231"/>
              <a:gd name="connsiteX2" fmla="*/ 4600575 w 4600575"/>
              <a:gd name="connsiteY2" fmla="*/ 3374231 h 3374231"/>
              <a:gd name="connsiteX3" fmla="*/ 0 w 4600575"/>
              <a:gd name="connsiteY3" fmla="*/ 3374231 h 3374231"/>
              <a:gd name="connsiteX4" fmla="*/ 0 w 4600575"/>
              <a:gd name="connsiteY4" fmla="*/ 0 h 3374231"/>
              <a:gd name="connsiteX0" fmla="*/ 0 w 4600575"/>
              <a:gd name="connsiteY0" fmla="*/ 0 h 3374231"/>
              <a:gd name="connsiteX1" fmla="*/ 4600575 w 4600575"/>
              <a:gd name="connsiteY1" fmla="*/ 0 h 3374231"/>
              <a:gd name="connsiteX2" fmla="*/ 4598194 w 4600575"/>
              <a:gd name="connsiteY2" fmla="*/ 2967039 h 3374231"/>
              <a:gd name="connsiteX3" fmla="*/ 4600575 w 4600575"/>
              <a:gd name="connsiteY3" fmla="*/ 3374231 h 3374231"/>
              <a:gd name="connsiteX4" fmla="*/ 0 w 4600575"/>
              <a:gd name="connsiteY4" fmla="*/ 3374231 h 3374231"/>
              <a:gd name="connsiteX5" fmla="*/ 0 w 4600575"/>
              <a:gd name="connsiteY5" fmla="*/ 0 h 3374231"/>
              <a:gd name="connsiteX0" fmla="*/ 0 w 4600575"/>
              <a:gd name="connsiteY0" fmla="*/ 0 h 3613464"/>
              <a:gd name="connsiteX1" fmla="*/ 4600575 w 4600575"/>
              <a:gd name="connsiteY1" fmla="*/ 0 h 3613464"/>
              <a:gd name="connsiteX2" fmla="*/ 4598194 w 4600575"/>
              <a:gd name="connsiteY2" fmla="*/ 2967039 h 3613464"/>
              <a:gd name="connsiteX3" fmla="*/ 0 w 4600575"/>
              <a:gd name="connsiteY3" fmla="*/ 3374231 h 3613464"/>
              <a:gd name="connsiteX4" fmla="*/ 0 w 4600575"/>
              <a:gd name="connsiteY4" fmla="*/ 0 h 3613464"/>
              <a:gd name="connsiteX0" fmla="*/ 0 w 4600575"/>
              <a:gd name="connsiteY0" fmla="*/ 0 h 3374231"/>
              <a:gd name="connsiteX1" fmla="*/ 4600575 w 4600575"/>
              <a:gd name="connsiteY1" fmla="*/ 0 h 3374231"/>
              <a:gd name="connsiteX2" fmla="*/ 4598194 w 4600575"/>
              <a:gd name="connsiteY2" fmla="*/ 2967039 h 3374231"/>
              <a:gd name="connsiteX3" fmla="*/ 0 w 4600575"/>
              <a:gd name="connsiteY3" fmla="*/ 3374231 h 3374231"/>
              <a:gd name="connsiteX4" fmla="*/ 0 w 4600575"/>
              <a:gd name="connsiteY4" fmla="*/ 0 h 33742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00575" h="3374231">
                <a:moveTo>
                  <a:pt x="0" y="0"/>
                </a:moveTo>
                <a:lnTo>
                  <a:pt x="4600575" y="0"/>
                </a:lnTo>
                <a:cubicBezTo>
                  <a:pt x="4599781" y="989013"/>
                  <a:pt x="4598988" y="1978026"/>
                  <a:pt x="4598194" y="2967039"/>
                </a:cubicBezTo>
                <a:lnTo>
                  <a:pt x="0" y="3374231"/>
                </a:lnTo>
                <a:lnTo>
                  <a:pt x="0" y="0"/>
                </a:lnTo>
                <a:close/>
              </a:path>
            </a:pathLst>
          </a:cu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>Insert picture</a:t>
            </a: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DI-Lama Project Update | Phani Sarraju | 4.Sep.2018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>
                <a:solidFill>
                  <a:prstClr val="black"/>
                </a:solidFill>
              </a:rPr>
              <a:t>Page </a:t>
            </a:r>
            <a:fld id="{52531704-8F80-415D-BD2B-6B9991AE822F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4669582" y="0"/>
            <a:ext cx="3308213" cy="2961589"/>
          </a:xfrm>
          <a:custGeom>
            <a:avLst/>
            <a:gdLst>
              <a:gd name="connsiteX0" fmla="*/ 0 w 3309936"/>
              <a:gd name="connsiteY0" fmla="*/ 0 h 2962275"/>
              <a:gd name="connsiteX1" fmla="*/ 3309936 w 3309936"/>
              <a:gd name="connsiteY1" fmla="*/ 0 h 2962275"/>
              <a:gd name="connsiteX2" fmla="*/ 3309936 w 3309936"/>
              <a:gd name="connsiteY2" fmla="*/ 2962275 h 2962275"/>
              <a:gd name="connsiteX3" fmla="*/ 0 w 3309936"/>
              <a:gd name="connsiteY3" fmla="*/ 2962275 h 2962275"/>
              <a:gd name="connsiteX4" fmla="*/ 0 w 3309936"/>
              <a:gd name="connsiteY4" fmla="*/ 0 h 2962275"/>
              <a:gd name="connsiteX0" fmla="*/ 0 w 3309936"/>
              <a:gd name="connsiteY0" fmla="*/ 0 h 2962275"/>
              <a:gd name="connsiteX1" fmla="*/ 3309936 w 3309936"/>
              <a:gd name="connsiteY1" fmla="*/ 0 h 2962275"/>
              <a:gd name="connsiteX2" fmla="*/ 3307555 w 3309936"/>
              <a:gd name="connsiteY2" fmla="*/ 2669382 h 2962275"/>
              <a:gd name="connsiteX3" fmla="*/ 3309936 w 3309936"/>
              <a:gd name="connsiteY3" fmla="*/ 2962275 h 2962275"/>
              <a:gd name="connsiteX4" fmla="*/ 0 w 3309936"/>
              <a:gd name="connsiteY4" fmla="*/ 2962275 h 2962275"/>
              <a:gd name="connsiteX5" fmla="*/ 0 w 3309936"/>
              <a:gd name="connsiteY5" fmla="*/ 0 h 2962275"/>
              <a:gd name="connsiteX0" fmla="*/ 0 w 3309936"/>
              <a:gd name="connsiteY0" fmla="*/ 0 h 3195435"/>
              <a:gd name="connsiteX1" fmla="*/ 3309936 w 3309936"/>
              <a:gd name="connsiteY1" fmla="*/ 0 h 3195435"/>
              <a:gd name="connsiteX2" fmla="*/ 3307555 w 3309936"/>
              <a:gd name="connsiteY2" fmla="*/ 2669382 h 3195435"/>
              <a:gd name="connsiteX3" fmla="*/ 0 w 3309936"/>
              <a:gd name="connsiteY3" fmla="*/ 2962275 h 3195435"/>
              <a:gd name="connsiteX4" fmla="*/ 0 w 3309936"/>
              <a:gd name="connsiteY4" fmla="*/ 0 h 3195435"/>
              <a:gd name="connsiteX0" fmla="*/ 0 w 3309936"/>
              <a:gd name="connsiteY0" fmla="*/ 0 h 2962275"/>
              <a:gd name="connsiteX1" fmla="*/ 3309936 w 3309936"/>
              <a:gd name="connsiteY1" fmla="*/ 0 h 2962275"/>
              <a:gd name="connsiteX2" fmla="*/ 3307555 w 3309936"/>
              <a:gd name="connsiteY2" fmla="*/ 2669382 h 2962275"/>
              <a:gd name="connsiteX3" fmla="*/ 0 w 3309936"/>
              <a:gd name="connsiteY3" fmla="*/ 2962275 h 2962275"/>
              <a:gd name="connsiteX4" fmla="*/ 0 w 3309936"/>
              <a:gd name="connsiteY4" fmla="*/ 0 h 2962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09936" h="2962275">
                <a:moveTo>
                  <a:pt x="0" y="0"/>
                </a:moveTo>
                <a:lnTo>
                  <a:pt x="3309936" y="0"/>
                </a:lnTo>
                <a:cubicBezTo>
                  <a:pt x="3309142" y="889794"/>
                  <a:pt x="3308349" y="1779588"/>
                  <a:pt x="3307555" y="2669382"/>
                </a:cubicBezTo>
                <a:lnTo>
                  <a:pt x="0" y="2962275"/>
                </a:lnTo>
                <a:lnTo>
                  <a:pt x="0" y="0"/>
                </a:lnTo>
                <a:close/>
              </a:path>
            </a:pathLst>
          </a:cu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>Insert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053955" y="0"/>
            <a:ext cx="4136496" cy="2664002"/>
          </a:xfrm>
          <a:custGeom>
            <a:avLst/>
            <a:gdLst>
              <a:gd name="connsiteX0" fmla="*/ 0 w 4138650"/>
              <a:gd name="connsiteY0" fmla="*/ 0 h 2664619"/>
              <a:gd name="connsiteX1" fmla="*/ 4138650 w 4138650"/>
              <a:gd name="connsiteY1" fmla="*/ 0 h 2664619"/>
              <a:gd name="connsiteX2" fmla="*/ 4138650 w 4138650"/>
              <a:gd name="connsiteY2" fmla="*/ 2664619 h 2664619"/>
              <a:gd name="connsiteX3" fmla="*/ 0 w 4138650"/>
              <a:gd name="connsiteY3" fmla="*/ 2664619 h 2664619"/>
              <a:gd name="connsiteX4" fmla="*/ 0 w 4138650"/>
              <a:gd name="connsiteY4" fmla="*/ 0 h 2664619"/>
              <a:gd name="connsiteX0" fmla="*/ 0 w 4138650"/>
              <a:gd name="connsiteY0" fmla="*/ 0 h 2664619"/>
              <a:gd name="connsiteX1" fmla="*/ 4138650 w 4138650"/>
              <a:gd name="connsiteY1" fmla="*/ 0 h 2664619"/>
              <a:gd name="connsiteX2" fmla="*/ 4138613 w 4138650"/>
              <a:gd name="connsiteY2" fmla="*/ 2300289 h 2664619"/>
              <a:gd name="connsiteX3" fmla="*/ 4138650 w 4138650"/>
              <a:gd name="connsiteY3" fmla="*/ 2664619 h 2664619"/>
              <a:gd name="connsiteX4" fmla="*/ 0 w 4138650"/>
              <a:gd name="connsiteY4" fmla="*/ 2664619 h 2664619"/>
              <a:gd name="connsiteX5" fmla="*/ 0 w 4138650"/>
              <a:gd name="connsiteY5" fmla="*/ 0 h 2664619"/>
              <a:gd name="connsiteX0" fmla="*/ 0 w 4138650"/>
              <a:gd name="connsiteY0" fmla="*/ 0 h 2839529"/>
              <a:gd name="connsiteX1" fmla="*/ 4138650 w 4138650"/>
              <a:gd name="connsiteY1" fmla="*/ 0 h 2839529"/>
              <a:gd name="connsiteX2" fmla="*/ 4138613 w 4138650"/>
              <a:gd name="connsiteY2" fmla="*/ 2300289 h 2839529"/>
              <a:gd name="connsiteX3" fmla="*/ 0 w 4138650"/>
              <a:gd name="connsiteY3" fmla="*/ 2664619 h 2839529"/>
              <a:gd name="connsiteX4" fmla="*/ 0 w 4138650"/>
              <a:gd name="connsiteY4" fmla="*/ 0 h 2839529"/>
              <a:gd name="connsiteX0" fmla="*/ 0 w 4138650"/>
              <a:gd name="connsiteY0" fmla="*/ 0 h 2664619"/>
              <a:gd name="connsiteX1" fmla="*/ 4138650 w 4138650"/>
              <a:gd name="connsiteY1" fmla="*/ 0 h 2664619"/>
              <a:gd name="connsiteX2" fmla="*/ 4138613 w 4138650"/>
              <a:gd name="connsiteY2" fmla="*/ 2300289 h 2664619"/>
              <a:gd name="connsiteX3" fmla="*/ 0 w 4138650"/>
              <a:gd name="connsiteY3" fmla="*/ 2664619 h 2664619"/>
              <a:gd name="connsiteX4" fmla="*/ 0 w 4138650"/>
              <a:gd name="connsiteY4" fmla="*/ 0 h 26646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38650" h="2664619">
                <a:moveTo>
                  <a:pt x="0" y="0"/>
                </a:moveTo>
                <a:lnTo>
                  <a:pt x="4138650" y="0"/>
                </a:lnTo>
                <a:cubicBezTo>
                  <a:pt x="4138638" y="766763"/>
                  <a:pt x="4138625" y="1533526"/>
                  <a:pt x="4138613" y="2300289"/>
                </a:cubicBezTo>
                <a:lnTo>
                  <a:pt x="0" y="2664619"/>
                </a:lnTo>
                <a:lnTo>
                  <a:pt x="0" y="0"/>
                </a:lnTo>
                <a:close/>
              </a:path>
            </a:pathLst>
          </a:cu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>Insert pictur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628323" y="3526609"/>
            <a:ext cx="10932181" cy="285366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baseline="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Insert text in </a:t>
            </a:r>
            <a:r>
              <a:rPr lang="en-GB" noProof="0" dirty="0"/>
              <a:t>CorpoS (Body) 24 pt. (Mark-ups in Bold) </a:t>
            </a:r>
            <a:r>
              <a:rPr lang="en-GB" dirty="0"/>
              <a:t>// for Body text: Home // Paragraph// Increase List Level</a:t>
            </a:r>
          </a:p>
          <a:p>
            <a:pPr lvl="1"/>
            <a:r>
              <a:rPr lang="en-GB" dirty="0"/>
              <a:t>Second level (Body text)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39833661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1" pos="5028">
          <p15:clr>
            <a:srgbClr val="FBAE40"/>
          </p15:clr>
        </p15:guide>
        <p15:guide id="2" pos="5076">
          <p15:clr>
            <a:srgbClr val="FBAE40"/>
          </p15:clr>
        </p15:guide>
        <p15:guide id="3" pos="2943">
          <p15:clr>
            <a:srgbClr val="FBAE40"/>
          </p15:clr>
        </p15:guide>
        <p15:guide id="4" pos="2898">
          <p15:clr>
            <a:srgbClr val="FBAE40"/>
          </p15:clr>
        </p15:guide>
        <p15:guide id="5" orient="horz" pos="2222">
          <p15:clr>
            <a:srgbClr val="FBAE40"/>
          </p15:clr>
        </p15:guide>
        <p15:guide id="6" orient="horz" pos="4020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Regieanweisungen"/>
          <p:cNvGrpSpPr/>
          <p:nvPr/>
        </p:nvGrpSpPr>
        <p:grpSpPr>
          <a:xfrm>
            <a:off x="-2086913" y="-467892"/>
            <a:ext cx="13647691" cy="7792196"/>
            <a:chOff x="-2088000" y="-468000"/>
            <a:chExt cx="13654799" cy="7794000"/>
          </a:xfrm>
        </p:grpSpPr>
        <p:sp>
          <p:nvSpPr>
            <p:cNvPr id="17" name="Hilfslinien"/>
            <p:cNvSpPr txBox="1"/>
            <p:nvPr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1042388">
                <a:defRPr/>
              </a:pPr>
              <a:r>
                <a:rPr lang="en-GB" sz="1099" dirty="0">
                  <a:solidFill>
                    <a:srgbClr val="444444"/>
                  </a:solidFill>
                </a:rPr>
                <a:t>Show guides via menu bar: View // Show // tick Guides</a:t>
              </a:r>
            </a:p>
          </p:txBody>
        </p:sp>
        <p:sp>
          <p:nvSpPr>
            <p:cNvPr id="18" name="Fußzeile"/>
            <p:cNvSpPr txBox="1"/>
            <p:nvPr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 defTabSz="1042388">
                <a:defRPr/>
              </a:pPr>
              <a:r>
                <a:rPr lang="en-GB" sz="1099" dirty="0">
                  <a:solidFill>
                    <a:srgbClr val="444444"/>
                  </a:solidFill>
                </a:rPr>
                <a:t>Adjust footer (per slide or for several/all slides) via menu bar: Insert // Text // Header &amp; Footer</a:t>
              </a:r>
            </a:p>
          </p:txBody>
        </p:sp>
        <p:grpSp>
          <p:nvGrpSpPr>
            <p:cNvPr id="19" name="Hinweise links"/>
            <p:cNvGrpSpPr/>
            <p:nvPr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31" name="Folie Wechsel/Zurücksetzen/Textebenen"/>
              <p:cNvSpPr txBox="1"/>
              <p:nvPr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Reset the slide back to its </a:t>
                </a: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original form via menu bar:</a:t>
                </a: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Home // Slides // Reset</a:t>
                </a:r>
              </a:p>
              <a:p>
                <a:pPr algn="r"/>
                <a:endParaRPr lang="en-GB" sz="1099" dirty="0">
                  <a:solidFill>
                    <a:srgbClr val="444444"/>
                  </a:solidFill>
                </a:endParaRP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Change the slide layout </a:t>
                </a: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via menu bar:</a:t>
                </a: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Home // Slides // Layout</a:t>
                </a:r>
              </a:p>
              <a:p>
                <a:pPr algn="r"/>
                <a:endParaRPr lang="en-GB" sz="1099" dirty="0">
                  <a:solidFill>
                    <a:srgbClr val="444444"/>
                  </a:solidFill>
                </a:endParaRP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Change the text level</a:t>
                </a: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via menu bar: </a:t>
                </a:r>
                <a:br>
                  <a:rPr lang="en-GB" sz="1099" dirty="0">
                    <a:solidFill>
                      <a:srgbClr val="444444"/>
                    </a:solidFill>
                  </a:rPr>
                </a:br>
                <a:r>
                  <a:rPr lang="en-GB" sz="1099" dirty="0">
                    <a:solidFill>
                      <a:srgbClr val="444444"/>
                    </a:solidFill>
                  </a:rPr>
                  <a:t>Home // Paragraph // Increase/</a:t>
                </a: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Decrease List Level</a:t>
                </a:r>
              </a:p>
            </p:txBody>
          </p:sp>
          <p:grpSp>
            <p:nvGrpSpPr>
              <p:cNvPr id="32" name="Listenebenen"/>
              <p:cNvGrpSpPr/>
              <p:nvPr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33" name="Text // Listenebene erhöhen"/>
                <p:cNvSpPr txBox="1"/>
                <p:nvPr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r">
                    <a:defRPr/>
                  </a:pPr>
                  <a:r>
                    <a:rPr lang="en-GB" sz="999" dirty="0">
                      <a:solidFill>
                        <a:srgbClr val="444444"/>
                      </a:solidFill>
                    </a:rPr>
                    <a:t>Increase</a:t>
                  </a:r>
                </a:p>
                <a:p>
                  <a:pPr algn="r">
                    <a:defRPr/>
                  </a:pPr>
                  <a:r>
                    <a:rPr lang="en-GB" sz="999" dirty="0">
                      <a:solidFill>
                        <a:srgbClr val="444444"/>
                      </a:solidFill>
                    </a:rPr>
                    <a:t>List Level</a:t>
                  </a:r>
                </a:p>
              </p:txBody>
            </p:sp>
            <p:sp>
              <p:nvSpPr>
                <p:cNvPr id="34" name="Text // Listenebene verringern"/>
                <p:cNvSpPr txBox="1"/>
                <p:nvPr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r">
                    <a:defRPr/>
                  </a:pPr>
                  <a:r>
                    <a:rPr lang="en-GB" sz="999" dirty="0">
                      <a:solidFill>
                        <a:srgbClr val="444444"/>
                      </a:solidFill>
                    </a:rPr>
                    <a:t>Decrease </a:t>
                  </a:r>
                </a:p>
                <a:p>
                  <a:pPr algn="r">
                    <a:defRPr/>
                  </a:pPr>
                  <a:r>
                    <a:rPr lang="en-GB" sz="999" dirty="0">
                      <a:solidFill>
                        <a:srgbClr val="444444"/>
                      </a:solidFill>
                    </a:rPr>
                    <a:t>List Level</a:t>
                  </a:r>
                </a:p>
              </p:txBody>
            </p:sp>
            <p:pic>
              <p:nvPicPr>
                <p:cNvPr id="35" name="Listenebene erhöhen"/>
                <p:cNvPicPr>
                  <a:picLocks noChangeAspect="1"/>
                </p:cNvPicPr>
                <p:nvPr/>
              </p:nvPicPr>
              <p:blipFill>
                <a:blip r:embed="rId2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36" name="Listenebene verringern"/>
                <p:cNvPicPr>
                  <a:picLocks noChangeAspect="1"/>
                </p:cNvPicPr>
                <p:nvPr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20" name="Daimler AG (Wortmarke)"/>
          <p:cNvSpPr>
            <a:spLocks noChangeArrowheads="1"/>
          </p:cNvSpPr>
          <p:nvPr/>
        </p:nvSpPr>
        <p:spPr bwMode="auto">
          <a:xfrm>
            <a:off x="629672" y="6564880"/>
            <a:ext cx="2086913" cy="2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r>
              <a:rPr lang="en-GB" sz="1199" dirty="0">
                <a:solidFill>
                  <a:prstClr val="black"/>
                </a:solidFill>
                <a:latin typeface="CorpoS"/>
                <a:cs typeface="Daimler CS"/>
              </a:rPr>
              <a:t>Daimler AG</a:t>
            </a: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DI-Lama Project Update | Phani Sarraju | 4.Sep.2018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>
                <a:solidFill>
                  <a:prstClr val="black"/>
                </a:solidFill>
              </a:rPr>
              <a:t>Page </a:t>
            </a:r>
            <a:fld id="{52531704-8F80-415D-BD2B-6B9991AE822F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0451" cy="6486611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>Insert picture</a:t>
            </a:r>
          </a:p>
        </p:txBody>
      </p:sp>
    </p:spTree>
    <p:extLst>
      <p:ext uri="{BB962C8B-B14F-4D97-AF65-F5344CB8AC3E}">
        <p14:creationId xmlns:p14="http://schemas.microsoft.com/office/powerpoint/2010/main" val="7128050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image/ 2 column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Regieanweisungen"/>
          <p:cNvGrpSpPr/>
          <p:nvPr/>
        </p:nvGrpSpPr>
        <p:grpSpPr>
          <a:xfrm>
            <a:off x="-2086913" y="-467892"/>
            <a:ext cx="13647691" cy="7792196"/>
            <a:chOff x="-2088000" y="-468000"/>
            <a:chExt cx="13654799" cy="7794000"/>
          </a:xfrm>
        </p:grpSpPr>
        <p:sp>
          <p:nvSpPr>
            <p:cNvPr id="17" name="Hilfslinien"/>
            <p:cNvSpPr txBox="1"/>
            <p:nvPr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1042388">
                <a:defRPr/>
              </a:pPr>
              <a:r>
                <a:rPr lang="en-GB" sz="1099" dirty="0">
                  <a:solidFill>
                    <a:srgbClr val="444444"/>
                  </a:solidFill>
                </a:rPr>
                <a:t>Show guides via menu bar: View // Show // tick Guides</a:t>
              </a:r>
            </a:p>
          </p:txBody>
        </p:sp>
        <p:sp>
          <p:nvSpPr>
            <p:cNvPr id="18" name="Fußzeile"/>
            <p:cNvSpPr txBox="1"/>
            <p:nvPr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 defTabSz="1042388">
                <a:defRPr/>
              </a:pPr>
              <a:r>
                <a:rPr lang="en-GB" sz="1099" dirty="0">
                  <a:solidFill>
                    <a:srgbClr val="444444"/>
                  </a:solidFill>
                </a:rPr>
                <a:t>Adjust footer (per slide or for several/all slides) via menu bar: Insert // Text // Header &amp; Footer</a:t>
              </a:r>
            </a:p>
          </p:txBody>
        </p:sp>
        <p:grpSp>
          <p:nvGrpSpPr>
            <p:cNvPr id="19" name="Hinweise links"/>
            <p:cNvGrpSpPr/>
            <p:nvPr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31" name="Folie Wechsel/Zurücksetzen/Textebenen"/>
              <p:cNvSpPr txBox="1"/>
              <p:nvPr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Reset the slide back to its </a:t>
                </a: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original form via menu bar:</a:t>
                </a: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Home // Slides // Reset</a:t>
                </a:r>
              </a:p>
              <a:p>
                <a:pPr algn="r"/>
                <a:endParaRPr lang="en-GB" sz="1099" dirty="0">
                  <a:solidFill>
                    <a:srgbClr val="444444"/>
                  </a:solidFill>
                </a:endParaRP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Change the slide layout </a:t>
                </a: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via menu bar:</a:t>
                </a: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Home // Slides // Layout</a:t>
                </a:r>
              </a:p>
              <a:p>
                <a:pPr algn="r"/>
                <a:endParaRPr lang="en-GB" sz="1099" dirty="0">
                  <a:solidFill>
                    <a:srgbClr val="444444"/>
                  </a:solidFill>
                </a:endParaRP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Change the text level</a:t>
                </a: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via menu bar: </a:t>
                </a:r>
                <a:br>
                  <a:rPr lang="en-GB" sz="1099" dirty="0">
                    <a:solidFill>
                      <a:srgbClr val="444444"/>
                    </a:solidFill>
                  </a:rPr>
                </a:br>
                <a:r>
                  <a:rPr lang="en-GB" sz="1099" dirty="0">
                    <a:solidFill>
                      <a:srgbClr val="444444"/>
                    </a:solidFill>
                  </a:rPr>
                  <a:t>Home // Paragraph // Increase/</a:t>
                </a: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Decrease List Level</a:t>
                </a:r>
              </a:p>
            </p:txBody>
          </p:sp>
          <p:grpSp>
            <p:nvGrpSpPr>
              <p:cNvPr id="32" name="Listenebenen"/>
              <p:cNvGrpSpPr/>
              <p:nvPr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33" name="Text // Listenebene erhöhen"/>
                <p:cNvSpPr txBox="1"/>
                <p:nvPr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r">
                    <a:defRPr/>
                  </a:pPr>
                  <a:r>
                    <a:rPr lang="en-GB" sz="999" dirty="0">
                      <a:solidFill>
                        <a:srgbClr val="444444"/>
                      </a:solidFill>
                    </a:rPr>
                    <a:t>Increase</a:t>
                  </a:r>
                </a:p>
                <a:p>
                  <a:pPr algn="r">
                    <a:defRPr/>
                  </a:pPr>
                  <a:r>
                    <a:rPr lang="en-GB" sz="999" dirty="0">
                      <a:solidFill>
                        <a:srgbClr val="444444"/>
                      </a:solidFill>
                    </a:rPr>
                    <a:t>List Level</a:t>
                  </a:r>
                </a:p>
              </p:txBody>
            </p:sp>
            <p:sp>
              <p:nvSpPr>
                <p:cNvPr id="34" name="Text // Listenebene verringern"/>
                <p:cNvSpPr txBox="1"/>
                <p:nvPr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r">
                    <a:defRPr/>
                  </a:pPr>
                  <a:r>
                    <a:rPr lang="en-GB" sz="999" dirty="0">
                      <a:solidFill>
                        <a:srgbClr val="444444"/>
                      </a:solidFill>
                    </a:rPr>
                    <a:t>Decrease </a:t>
                  </a:r>
                </a:p>
                <a:p>
                  <a:pPr algn="r">
                    <a:defRPr/>
                  </a:pPr>
                  <a:r>
                    <a:rPr lang="en-GB" sz="999" dirty="0">
                      <a:solidFill>
                        <a:srgbClr val="444444"/>
                      </a:solidFill>
                    </a:rPr>
                    <a:t>List Level</a:t>
                  </a:r>
                </a:p>
              </p:txBody>
            </p:sp>
            <p:pic>
              <p:nvPicPr>
                <p:cNvPr id="35" name="Listenebene erhöhen"/>
                <p:cNvPicPr>
                  <a:picLocks noChangeAspect="1"/>
                </p:cNvPicPr>
                <p:nvPr/>
              </p:nvPicPr>
              <p:blipFill>
                <a:blip r:embed="rId2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36" name="Listenebene verringern"/>
                <p:cNvPicPr>
                  <a:picLocks noChangeAspect="1"/>
                </p:cNvPicPr>
                <p:nvPr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20" name="Daimler AG (Wortmarke)"/>
          <p:cNvSpPr>
            <a:spLocks noChangeArrowheads="1"/>
          </p:cNvSpPr>
          <p:nvPr/>
        </p:nvSpPr>
        <p:spPr bwMode="auto">
          <a:xfrm>
            <a:off x="629672" y="6564880"/>
            <a:ext cx="2086913" cy="2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r>
              <a:rPr lang="en-GB" sz="1199" dirty="0">
                <a:solidFill>
                  <a:prstClr val="black"/>
                </a:solidFill>
                <a:latin typeface="CorpoS"/>
                <a:cs typeface="Daimler CS"/>
              </a:rPr>
              <a:t>Daimler AG</a:t>
            </a: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DI-Lama Project Update | Phani Sarraju | 4.Sep.2018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>
                <a:solidFill>
                  <a:prstClr val="black"/>
                </a:solidFill>
              </a:rPr>
              <a:t>Page </a:t>
            </a:r>
            <a:fld id="{52531704-8F80-415D-BD2B-6B9991AE822F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6059905" cy="6486611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>Insert picture</a:t>
            </a:r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2096" y="0"/>
            <a:ext cx="6059905" cy="6486611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>Insert picture</a:t>
            </a:r>
          </a:p>
        </p:txBody>
      </p:sp>
    </p:spTree>
    <p:extLst>
      <p:ext uri="{BB962C8B-B14F-4D97-AF65-F5344CB8AC3E}">
        <p14:creationId xmlns:p14="http://schemas.microsoft.com/office/powerpoint/2010/main" val="28359336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image/ 4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Regieanweisungen"/>
          <p:cNvGrpSpPr/>
          <p:nvPr/>
        </p:nvGrpSpPr>
        <p:grpSpPr>
          <a:xfrm>
            <a:off x="-2086913" y="-467892"/>
            <a:ext cx="13647691" cy="7792196"/>
            <a:chOff x="-2088000" y="-468000"/>
            <a:chExt cx="13654799" cy="7794000"/>
          </a:xfrm>
        </p:grpSpPr>
        <p:sp>
          <p:nvSpPr>
            <p:cNvPr id="17" name="Hilfslinien"/>
            <p:cNvSpPr txBox="1"/>
            <p:nvPr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1042388">
                <a:defRPr/>
              </a:pPr>
              <a:r>
                <a:rPr lang="en-GB" sz="1099" dirty="0">
                  <a:solidFill>
                    <a:srgbClr val="444444"/>
                  </a:solidFill>
                </a:rPr>
                <a:t>Show guides via menu bar: View // Show // tick Guides</a:t>
              </a:r>
            </a:p>
          </p:txBody>
        </p:sp>
        <p:sp>
          <p:nvSpPr>
            <p:cNvPr id="18" name="Fußzeile"/>
            <p:cNvSpPr txBox="1"/>
            <p:nvPr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 defTabSz="1042388">
                <a:defRPr/>
              </a:pPr>
              <a:r>
                <a:rPr lang="en-GB" sz="1099" dirty="0">
                  <a:solidFill>
                    <a:srgbClr val="444444"/>
                  </a:solidFill>
                </a:rPr>
                <a:t>Adjust footer (per slide or for several/all slides) via menu bar: Insert // Text // Header &amp; Footer</a:t>
              </a:r>
            </a:p>
          </p:txBody>
        </p:sp>
        <p:grpSp>
          <p:nvGrpSpPr>
            <p:cNvPr id="19" name="Hinweise links"/>
            <p:cNvGrpSpPr/>
            <p:nvPr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31" name="Folie Wechsel/Zurücksetzen/Textebenen"/>
              <p:cNvSpPr txBox="1"/>
              <p:nvPr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Reset the slide back to its </a:t>
                </a: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original form via menu bar:</a:t>
                </a: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Home // Slides // Reset</a:t>
                </a:r>
              </a:p>
              <a:p>
                <a:pPr algn="r"/>
                <a:endParaRPr lang="en-GB" sz="1099" dirty="0">
                  <a:solidFill>
                    <a:srgbClr val="444444"/>
                  </a:solidFill>
                </a:endParaRP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Change the slide layout </a:t>
                </a: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via menu bar:</a:t>
                </a: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Home // Slides // Layout</a:t>
                </a:r>
              </a:p>
              <a:p>
                <a:pPr algn="r"/>
                <a:endParaRPr lang="en-GB" sz="1099" dirty="0">
                  <a:solidFill>
                    <a:srgbClr val="444444"/>
                  </a:solidFill>
                </a:endParaRP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Change the text level</a:t>
                </a: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via menu bar: </a:t>
                </a:r>
                <a:br>
                  <a:rPr lang="en-GB" sz="1099" dirty="0">
                    <a:solidFill>
                      <a:srgbClr val="444444"/>
                    </a:solidFill>
                  </a:rPr>
                </a:br>
                <a:r>
                  <a:rPr lang="en-GB" sz="1099" dirty="0">
                    <a:solidFill>
                      <a:srgbClr val="444444"/>
                    </a:solidFill>
                  </a:rPr>
                  <a:t>Home // Paragraph // Increase/</a:t>
                </a: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Decrease List Level</a:t>
                </a:r>
              </a:p>
            </p:txBody>
          </p:sp>
          <p:grpSp>
            <p:nvGrpSpPr>
              <p:cNvPr id="32" name="Listenebenen"/>
              <p:cNvGrpSpPr/>
              <p:nvPr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33" name="Text // Listenebene erhöhen"/>
                <p:cNvSpPr txBox="1"/>
                <p:nvPr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r">
                    <a:defRPr/>
                  </a:pPr>
                  <a:r>
                    <a:rPr lang="en-GB" sz="999" dirty="0">
                      <a:solidFill>
                        <a:srgbClr val="444444"/>
                      </a:solidFill>
                    </a:rPr>
                    <a:t>Increase</a:t>
                  </a:r>
                </a:p>
                <a:p>
                  <a:pPr algn="r">
                    <a:defRPr/>
                  </a:pPr>
                  <a:r>
                    <a:rPr lang="en-GB" sz="999" dirty="0">
                      <a:solidFill>
                        <a:srgbClr val="444444"/>
                      </a:solidFill>
                    </a:rPr>
                    <a:t>List Level</a:t>
                  </a:r>
                </a:p>
              </p:txBody>
            </p:sp>
            <p:sp>
              <p:nvSpPr>
                <p:cNvPr id="34" name="Text // Listenebene verringern"/>
                <p:cNvSpPr txBox="1"/>
                <p:nvPr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r">
                    <a:defRPr/>
                  </a:pPr>
                  <a:r>
                    <a:rPr lang="en-GB" sz="999" dirty="0">
                      <a:solidFill>
                        <a:srgbClr val="444444"/>
                      </a:solidFill>
                    </a:rPr>
                    <a:t>Decrease </a:t>
                  </a:r>
                </a:p>
                <a:p>
                  <a:pPr algn="r">
                    <a:defRPr/>
                  </a:pPr>
                  <a:r>
                    <a:rPr lang="en-GB" sz="999" dirty="0">
                      <a:solidFill>
                        <a:srgbClr val="444444"/>
                      </a:solidFill>
                    </a:rPr>
                    <a:t>List Level</a:t>
                  </a:r>
                </a:p>
              </p:txBody>
            </p:sp>
            <p:pic>
              <p:nvPicPr>
                <p:cNvPr id="35" name="Listenebene erhöhen"/>
                <p:cNvPicPr>
                  <a:picLocks noChangeAspect="1"/>
                </p:cNvPicPr>
                <p:nvPr/>
              </p:nvPicPr>
              <p:blipFill>
                <a:blip r:embed="rId2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36" name="Listenebene verringern"/>
                <p:cNvPicPr>
                  <a:picLocks noChangeAspect="1"/>
                </p:cNvPicPr>
                <p:nvPr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20" name="Daimler AG (Wortmarke)"/>
          <p:cNvSpPr>
            <a:spLocks noChangeArrowheads="1"/>
          </p:cNvSpPr>
          <p:nvPr/>
        </p:nvSpPr>
        <p:spPr bwMode="auto">
          <a:xfrm>
            <a:off x="629672" y="6564880"/>
            <a:ext cx="2086913" cy="2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r>
              <a:rPr lang="en-GB" sz="1199" dirty="0">
                <a:solidFill>
                  <a:prstClr val="black"/>
                </a:solidFill>
                <a:latin typeface="CorpoS"/>
                <a:cs typeface="Daimler CS"/>
              </a:rPr>
              <a:t>Daimler AG</a:t>
            </a: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DI-Lama Project Update | Phani Sarraju | 4.Sep.2018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>
                <a:solidFill>
                  <a:prstClr val="black"/>
                </a:solidFill>
              </a:rPr>
              <a:t>Page </a:t>
            </a:r>
            <a:fld id="{52531704-8F80-415D-BD2B-6B9991AE822F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3279297"/>
            <a:ext cx="6059905" cy="3207314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>Insert picture</a:t>
            </a:r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2096" y="3279297"/>
            <a:ext cx="6059905" cy="3207314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>Insert picture</a:t>
            </a:r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0" y="1"/>
            <a:ext cx="6059905" cy="3207314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>Insert picture</a:t>
            </a:r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132096" y="1"/>
            <a:ext cx="6059905" cy="3207314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>Insert picture</a:t>
            </a:r>
          </a:p>
        </p:txBody>
      </p:sp>
    </p:spTree>
    <p:extLst>
      <p:ext uri="{BB962C8B-B14F-4D97-AF65-F5344CB8AC3E}">
        <p14:creationId xmlns:p14="http://schemas.microsoft.com/office/powerpoint/2010/main" val="17797842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image/ 3 column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Regieanweisungen"/>
          <p:cNvGrpSpPr/>
          <p:nvPr/>
        </p:nvGrpSpPr>
        <p:grpSpPr>
          <a:xfrm>
            <a:off x="-2086913" y="-467892"/>
            <a:ext cx="13647691" cy="7792196"/>
            <a:chOff x="-2088000" y="-468000"/>
            <a:chExt cx="13654799" cy="7794000"/>
          </a:xfrm>
        </p:grpSpPr>
        <p:sp>
          <p:nvSpPr>
            <p:cNvPr id="19" name="Hilfslinien"/>
            <p:cNvSpPr txBox="1"/>
            <p:nvPr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1042388">
                <a:defRPr/>
              </a:pPr>
              <a:r>
                <a:rPr lang="en-GB" sz="1099" dirty="0">
                  <a:solidFill>
                    <a:srgbClr val="444444"/>
                  </a:solidFill>
                </a:rPr>
                <a:t>Show guides via menu bar: View // Show // tick Guides</a:t>
              </a:r>
            </a:p>
          </p:txBody>
        </p:sp>
        <p:sp>
          <p:nvSpPr>
            <p:cNvPr id="20" name="Fußzeile"/>
            <p:cNvSpPr txBox="1"/>
            <p:nvPr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 defTabSz="1042388">
                <a:defRPr/>
              </a:pPr>
              <a:r>
                <a:rPr lang="en-GB" sz="1099" dirty="0">
                  <a:solidFill>
                    <a:srgbClr val="444444"/>
                  </a:solidFill>
                </a:rPr>
                <a:t>Adjust footer (per slide or for several/all slides) via menu bar: Insert // Text // Header &amp; Footer</a:t>
              </a:r>
            </a:p>
          </p:txBody>
        </p:sp>
        <p:grpSp>
          <p:nvGrpSpPr>
            <p:cNvPr id="21" name="Hinweise links"/>
            <p:cNvGrpSpPr/>
            <p:nvPr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22" name="Folie Wechsel/Zurücksetzen/Textebenen"/>
              <p:cNvSpPr txBox="1"/>
              <p:nvPr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Reset the slide back to its </a:t>
                </a: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original form via menu bar:</a:t>
                </a: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Home // Slides // Reset</a:t>
                </a:r>
              </a:p>
              <a:p>
                <a:pPr algn="r"/>
                <a:endParaRPr lang="en-GB" sz="1099" dirty="0">
                  <a:solidFill>
                    <a:srgbClr val="444444"/>
                  </a:solidFill>
                </a:endParaRP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Change the slide layout </a:t>
                </a: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via menu bar:</a:t>
                </a: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Home // Slides // Layout</a:t>
                </a:r>
              </a:p>
              <a:p>
                <a:pPr algn="r"/>
                <a:endParaRPr lang="en-GB" sz="1099" dirty="0">
                  <a:solidFill>
                    <a:srgbClr val="444444"/>
                  </a:solidFill>
                </a:endParaRP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Change the text level</a:t>
                </a: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via menu bar: </a:t>
                </a:r>
                <a:br>
                  <a:rPr lang="en-GB" sz="1099" dirty="0">
                    <a:solidFill>
                      <a:srgbClr val="444444"/>
                    </a:solidFill>
                  </a:rPr>
                </a:br>
                <a:r>
                  <a:rPr lang="en-GB" sz="1099" dirty="0">
                    <a:solidFill>
                      <a:srgbClr val="444444"/>
                    </a:solidFill>
                  </a:rPr>
                  <a:t>Home // Paragraph // Increase/</a:t>
                </a: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Decrease List Level</a:t>
                </a:r>
              </a:p>
            </p:txBody>
          </p:sp>
          <p:grpSp>
            <p:nvGrpSpPr>
              <p:cNvPr id="23" name="Listenebenen"/>
              <p:cNvGrpSpPr/>
              <p:nvPr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35" name="Text // Listenebene erhöhen"/>
                <p:cNvSpPr txBox="1"/>
                <p:nvPr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r">
                    <a:defRPr/>
                  </a:pPr>
                  <a:r>
                    <a:rPr lang="en-GB" sz="999" dirty="0">
                      <a:solidFill>
                        <a:srgbClr val="444444"/>
                      </a:solidFill>
                    </a:rPr>
                    <a:t>Increase</a:t>
                  </a:r>
                </a:p>
                <a:p>
                  <a:pPr algn="r">
                    <a:defRPr/>
                  </a:pPr>
                  <a:r>
                    <a:rPr lang="en-GB" sz="999" dirty="0">
                      <a:solidFill>
                        <a:srgbClr val="444444"/>
                      </a:solidFill>
                    </a:rPr>
                    <a:t>List Level</a:t>
                  </a:r>
                </a:p>
              </p:txBody>
            </p:sp>
            <p:sp>
              <p:nvSpPr>
                <p:cNvPr id="36" name="Text // Listenebene verringern"/>
                <p:cNvSpPr txBox="1"/>
                <p:nvPr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r">
                    <a:defRPr/>
                  </a:pPr>
                  <a:r>
                    <a:rPr lang="en-GB" sz="999" dirty="0">
                      <a:solidFill>
                        <a:srgbClr val="444444"/>
                      </a:solidFill>
                    </a:rPr>
                    <a:t>Decrease </a:t>
                  </a:r>
                </a:p>
                <a:p>
                  <a:pPr algn="r">
                    <a:defRPr/>
                  </a:pPr>
                  <a:r>
                    <a:rPr lang="en-GB" sz="999" dirty="0">
                      <a:solidFill>
                        <a:srgbClr val="444444"/>
                      </a:solidFill>
                    </a:rPr>
                    <a:t>List Level</a:t>
                  </a:r>
                </a:p>
              </p:txBody>
            </p:sp>
            <p:pic>
              <p:nvPicPr>
                <p:cNvPr id="37" name="Listenebene erhöhen"/>
                <p:cNvPicPr>
                  <a:picLocks noChangeAspect="1"/>
                </p:cNvPicPr>
                <p:nvPr/>
              </p:nvPicPr>
              <p:blipFill>
                <a:blip r:embed="rId2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38" name="Listenebene verringern"/>
                <p:cNvPicPr>
                  <a:picLocks noChangeAspect="1"/>
                </p:cNvPicPr>
                <p:nvPr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24" name="Daimler AG (Wortmarke)"/>
          <p:cNvSpPr>
            <a:spLocks noChangeArrowheads="1"/>
          </p:cNvSpPr>
          <p:nvPr/>
        </p:nvSpPr>
        <p:spPr bwMode="auto">
          <a:xfrm>
            <a:off x="629672" y="6564880"/>
            <a:ext cx="2086913" cy="2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r>
              <a:rPr lang="en-GB" sz="1199" dirty="0">
                <a:solidFill>
                  <a:prstClr val="black"/>
                </a:solidFill>
                <a:latin typeface="CorpoS"/>
                <a:cs typeface="Daimler CS"/>
              </a:rPr>
              <a:t>Daimler AG</a:t>
            </a: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DI-Lama Project Update | Phani Sarraju | 4.Sep.2018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>
                <a:solidFill>
                  <a:prstClr val="black"/>
                </a:solidFill>
              </a:rPr>
              <a:t>Page </a:t>
            </a:r>
            <a:fld id="{52531704-8F80-415D-BD2B-6B9991AE822F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1" y="0"/>
            <a:ext cx="3841337" cy="6486611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>Insert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3913531" y="0"/>
            <a:ext cx="4199925" cy="6486611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>Insert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8185649" y="0"/>
            <a:ext cx="4006350" cy="6486611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>Insert picture</a:t>
            </a:r>
          </a:p>
        </p:txBody>
      </p:sp>
    </p:spTree>
    <p:extLst>
      <p:ext uri="{BB962C8B-B14F-4D97-AF65-F5344CB8AC3E}">
        <p14:creationId xmlns:p14="http://schemas.microsoft.com/office/powerpoint/2010/main" val="458054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  <p15:guide id="2" pos="2421">
          <p15:clr>
            <a:srgbClr val="FBAE40"/>
          </p15:clr>
        </p15:guide>
        <p15:guide id="3" pos="5159">
          <p15:clr>
            <a:srgbClr val="FBAE40"/>
          </p15:clr>
        </p15:guide>
        <p15:guide id="4" pos="2465">
          <p15:clr>
            <a:srgbClr val="FBAE40"/>
          </p15:clr>
        </p15:guide>
        <p15:guide id="5" pos="5112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image/ 6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Regieanweisungen"/>
          <p:cNvGrpSpPr/>
          <p:nvPr/>
        </p:nvGrpSpPr>
        <p:grpSpPr>
          <a:xfrm>
            <a:off x="-2086913" y="-467892"/>
            <a:ext cx="13647691" cy="7792196"/>
            <a:chOff x="-2088000" y="-468000"/>
            <a:chExt cx="13654799" cy="7794000"/>
          </a:xfrm>
        </p:grpSpPr>
        <p:sp>
          <p:nvSpPr>
            <p:cNvPr id="19" name="Hilfslinien"/>
            <p:cNvSpPr txBox="1"/>
            <p:nvPr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1042388">
                <a:defRPr/>
              </a:pPr>
              <a:r>
                <a:rPr lang="en-GB" sz="1099" dirty="0">
                  <a:solidFill>
                    <a:srgbClr val="444444"/>
                  </a:solidFill>
                </a:rPr>
                <a:t>Show guides via menu bar: View // Show // tick Guides</a:t>
              </a:r>
            </a:p>
          </p:txBody>
        </p:sp>
        <p:sp>
          <p:nvSpPr>
            <p:cNvPr id="20" name="Fußzeile"/>
            <p:cNvSpPr txBox="1"/>
            <p:nvPr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 defTabSz="1042388">
                <a:defRPr/>
              </a:pPr>
              <a:r>
                <a:rPr lang="en-GB" sz="1099" dirty="0">
                  <a:solidFill>
                    <a:srgbClr val="444444"/>
                  </a:solidFill>
                </a:rPr>
                <a:t>Adjust footer (per slide or for several/all slides) via menu bar: Insert // Text // Header &amp; Footer</a:t>
              </a:r>
            </a:p>
          </p:txBody>
        </p:sp>
        <p:grpSp>
          <p:nvGrpSpPr>
            <p:cNvPr id="21" name="Hinweise links"/>
            <p:cNvGrpSpPr/>
            <p:nvPr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22" name="Folie Wechsel/Zurücksetzen/Textebenen"/>
              <p:cNvSpPr txBox="1"/>
              <p:nvPr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Reset the slide back to its </a:t>
                </a: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original form via menu bar:</a:t>
                </a: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Home // Slides // Reset</a:t>
                </a:r>
              </a:p>
              <a:p>
                <a:pPr algn="r"/>
                <a:endParaRPr lang="en-GB" sz="1099" dirty="0">
                  <a:solidFill>
                    <a:srgbClr val="444444"/>
                  </a:solidFill>
                </a:endParaRP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Change the slide layout </a:t>
                </a: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via menu bar:</a:t>
                </a: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Home // Slides // Layout</a:t>
                </a:r>
              </a:p>
              <a:p>
                <a:pPr algn="r"/>
                <a:endParaRPr lang="en-GB" sz="1099" dirty="0">
                  <a:solidFill>
                    <a:srgbClr val="444444"/>
                  </a:solidFill>
                </a:endParaRP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Change the text level</a:t>
                </a: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via menu bar: </a:t>
                </a:r>
                <a:br>
                  <a:rPr lang="en-GB" sz="1099" dirty="0">
                    <a:solidFill>
                      <a:srgbClr val="444444"/>
                    </a:solidFill>
                  </a:rPr>
                </a:br>
                <a:r>
                  <a:rPr lang="en-GB" sz="1099" dirty="0">
                    <a:solidFill>
                      <a:srgbClr val="444444"/>
                    </a:solidFill>
                  </a:rPr>
                  <a:t>Home // Paragraph // Increase/</a:t>
                </a: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Decrease List Level</a:t>
                </a:r>
              </a:p>
            </p:txBody>
          </p:sp>
          <p:grpSp>
            <p:nvGrpSpPr>
              <p:cNvPr id="23" name="Listenebenen"/>
              <p:cNvGrpSpPr/>
              <p:nvPr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35" name="Text // Listenebene erhöhen"/>
                <p:cNvSpPr txBox="1"/>
                <p:nvPr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r">
                    <a:defRPr/>
                  </a:pPr>
                  <a:r>
                    <a:rPr lang="en-GB" sz="999" dirty="0">
                      <a:solidFill>
                        <a:srgbClr val="444444"/>
                      </a:solidFill>
                    </a:rPr>
                    <a:t>Increase</a:t>
                  </a:r>
                </a:p>
                <a:p>
                  <a:pPr algn="r">
                    <a:defRPr/>
                  </a:pPr>
                  <a:r>
                    <a:rPr lang="en-GB" sz="999" dirty="0">
                      <a:solidFill>
                        <a:srgbClr val="444444"/>
                      </a:solidFill>
                    </a:rPr>
                    <a:t>List Level</a:t>
                  </a:r>
                </a:p>
              </p:txBody>
            </p:sp>
            <p:sp>
              <p:nvSpPr>
                <p:cNvPr id="36" name="Text // Listenebene verringern"/>
                <p:cNvSpPr txBox="1"/>
                <p:nvPr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r">
                    <a:defRPr/>
                  </a:pPr>
                  <a:r>
                    <a:rPr lang="en-GB" sz="999" dirty="0">
                      <a:solidFill>
                        <a:srgbClr val="444444"/>
                      </a:solidFill>
                    </a:rPr>
                    <a:t>Decrease </a:t>
                  </a:r>
                </a:p>
                <a:p>
                  <a:pPr algn="r">
                    <a:defRPr/>
                  </a:pPr>
                  <a:r>
                    <a:rPr lang="en-GB" sz="999" dirty="0">
                      <a:solidFill>
                        <a:srgbClr val="444444"/>
                      </a:solidFill>
                    </a:rPr>
                    <a:t>List Level</a:t>
                  </a:r>
                </a:p>
              </p:txBody>
            </p:sp>
            <p:pic>
              <p:nvPicPr>
                <p:cNvPr id="37" name="Listenebene erhöhen"/>
                <p:cNvPicPr>
                  <a:picLocks noChangeAspect="1"/>
                </p:cNvPicPr>
                <p:nvPr/>
              </p:nvPicPr>
              <p:blipFill>
                <a:blip r:embed="rId2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38" name="Listenebene verringern"/>
                <p:cNvPicPr>
                  <a:picLocks noChangeAspect="1"/>
                </p:cNvPicPr>
                <p:nvPr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24" name="Daimler AG (Wortmarke)"/>
          <p:cNvSpPr>
            <a:spLocks noChangeArrowheads="1"/>
          </p:cNvSpPr>
          <p:nvPr/>
        </p:nvSpPr>
        <p:spPr bwMode="auto">
          <a:xfrm>
            <a:off x="629672" y="6564880"/>
            <a:ext cx="2086913" cy="2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r>
              <a:rPr lang="en-GB" sz="1199" dirty="0">
                <a:solidFill>
                  <a:prstClr val="black"/>
                </a:solidFill>
                <a:latin typeface="CorpoS"/>
                <a:cs typeface="Daimler CS"/>
              </a:rPr>
              <a:t>Daimler AG</a:t>
            </a: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DI-Lama Project Update | Phani Sarraju | 4.Sep.2018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>
                <a:solidFill>
                  <a:prstClr val="black"/>
                </a:solidFill>
              </a:rPr>
              <a:t>Page </a:t>
            </a:r>
            <a:fld id="{52531704-8F80-415D-BD2B-6B9991AE822F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1" y="3279297"/>
            <a:ext cx="3841337" cy="3207314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>Insert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3913531" y="3279297"/>
            <a:ext cx="4199925" cy="3207314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>Insert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8185649" y="3279297"/>
            <a:ext cx="4006350" cy="3207314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>Insert picture</a:t>
            </a:r>
          </a:p>
        </p:txBody>
      </p:sp>
      <p:sp>
        <p:nvSpPr>
          <p:cNvPr id="25" name="Picture Placeholder 3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0" y="1"/>
            <a:ext cx="3841337" cy="3207314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>Insert picture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8185650" y="1"/>
            <a:ext cx="4006350" cy="3207314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>Insert picture</a:t>
            </a:r>
          </a:p>
        </p:txBody>
      </p:sp>
      <p:sp>
        <p:nvSpPr>
          <p:cNvPr id="30" name="Picture Placeholder 3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3913531" y="1"/>
            <a:ext cx="4199925" cy="3207314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>Insert picture</a:t>
            </a:r>
          </a:p>
        </p:txBody>
      </p:sp>
    </p:spTree>
    <p:extLst>
      <p:ext uri="{BB962C8B-B14F-4D97-AF65-F5344CB8AC3E}">
        <p14:creationId xmlns:p14="http://schemas.microsoft.com/office/powerpoint/2010/main" val="10424609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  <p15:guide id="2" pos="2421">
          <p15:clr>
            <a:srgbClr val="FBAE40"/>
          </p15:clr>
        </p15:guide>
        <p15:guide id="3" pos="5159">
          <p15:clr>
            <a:srgbClr val="FBAE40"/>
          </p15:clr>
        </p15:guide>
        <p15:guide id="4" pos="2465">
          <p15:clr>
            <a:srgbClr val="FBAE40"/>
          </p15:clr>
        </p15:guide>
        <p15:guide id="5" pos="511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/ 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9671" y="285982"/>
            <a:ext cx="10931106" cy="683842"/>
          </a:xfrm>
        </p:spPr>
        <p:txBody>
          <a:bodyPr/>
          <a:lstStyle/>
          <a:p>
            <a:r>
              <a:rPr lang="en-GB" noProof="0" dirty="0"/>
              <a:t>Headline in CorpoS (Body) 35 pt.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DI-Lama Project Update | Phani Sarraju | 4.Sep.2018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dirty="0">
                <a:solidFill>
                  <a:prstClr val="black"/>
                </a:solidFill>
              </a:rPr>
              <a:t>Page </a:t>
            </a:r>
            <a:fld id="{52531704-8F80-415D-BD2B-6B9991AE822F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628323" y="4966850"/>
            <a:ext cx="5107503" cy="1414434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dirty="0"/>
              <a:t>Insert text </a:t>
            </a:r>
            <a:r>
              <a:rPr lang="en-GB" noProof="0" dirty="0"/>
              <a:t>(Mark-ups in Bold) </a:t>
            </a:r>
            <a:r>
              <a:rPr lang="en-GB" dirty="0"/>
              <a:t>// conclusion etc.: Increase List Level</a:t>
            </a:r>
          </a:p>
          <a:p>
            <a:pPr lvl="1"/>
            <a:r>
              <a:rPr lang="en-GB" dirty="0"/>
              <a:t>Second level (Conclusion etc.)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00" y="4966850"/>
            <a:ext cx="5464504" cy="1414434"/>
          </a:xfrm>
        </p:spPr>
        <p:txBody>
          <a:bodyPr/>
          <a:lstStyle>
            <a:lvl2pPr>
              <a:defRPr/>
            </a:lvl2pPr>
          </a:lstStyle>
          <a:p>
            <a:pPr lvl="0"/>
            <a:r>
              <a:rPr lang="en-GB" dirty="0"/>
              <a:t>Insert text </a:t>
            </a:r>
            <a:r>
              <a:rPr lang="en-GB" noProof="0" dirty="0"/>
              <a:t>(Mark-ups in Bold) </a:t>
            </a:r>
            <a:r>
              <a:rPr lang="en-GB" dirty="0"/>
              <a:t>// conclusion etc.: Increase List Level</a:t>
            </a:r>
          </a:p>
          <a:p>
            <a:pPr lvl="1"/>
            <a:r>
              <a:rPr lang="en-GB" dirty="0"/>
              <a:t>Second level (Conclusion etc.)</a:t>
            </a:r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29673" y="1233203"/>
            <a:ext cx="6837214" cy="3599628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>Insert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7538288" y="1233202"/>
            <a:ext cx="4022489" cy="1979154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799"/>
            </a:lvl1pPr>
          </a:lstStyle>
          <a:p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>Insert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7538074" y="3286041"/>
            <a:ext cx="4022430" cy="1546791"/>
          </a:xfrm>
          <a:prstGeom prst="rect">
            <a:avLst/>
          </a:prstGeom>
          <a:solidFill>
            <a:srgbClr val="CFCFCF"/>
          </a:solidFill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799"/>
            </a:lvl1pPr>
          </a:lstStyle>
          <a:p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>Insert picture</a:t>
            </a:r>
          </a:p>
        </p:txBody>
      </p:sp>
    </p:spTree>
    <p:extLst>
      <p:ext uri="{BB962C8B-B14F-4D97-AF65-F5344CB8AC3E}">
        <p14:creationId xmlns:p14="http://schemas.microsoft.com/office/powerpoint/2010/main" val="244841217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777">
          <p15:clr>
            <a:srgbClr val="FBAE40"/>
          </p15:clr>
        </p15:guide>
        <p15:guide id="3" orient="horz" pos="3128">
          <p15:clr>
            <a:srgbClr val="FBAE40"/>
          </p15:clr>
        </p15:guide>
        <p15:guide id="4" pos="3842">
          <p15:clr>
            <a:srgbClr val="FBAE40"/>
          </p15:clr>
        </p15:guide>
        <p15:guide id="5" pos="3615">
          <p15:clr>
            <a:srgbClr val="FBAE40"/>
          </p15:clr>
        </p15:guide>
        <p15:guide id="6" orient="horz" pos="4020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/ 3 images/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9671" y="285982"/>
            <a:ext cx="10931106" cy="683842"/>
          </a:xfrm>
        </p:spPr>
        <p:txBody>
          <a:bodyPr/>
          <a:lstStyle/>
          <a:p>
            <a:r>
              <a:rPr lang="en-GB" noProof="0" dirty="0"/>
              <a:t>Headline in CorpoS (Body) 35 pt.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DI-Lama Project Update | Phani Sarraju | 4.Sep.2018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dirty="0">
                <a:solidFill>
                  <a:prstClr val="black"/>
                </a:solidFill>
              </a:rPr>
              <a:t>Page </a:t>
            </a:r>
            <a:fld id="{52531704-8F80-415D-BD2B-6B9991AE822F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629672" y="1233202"/>
            <a:ext cx="5466328" cy="5148082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dirty="0"/>
              <a:t>Insert text in </a:t>
            </a:r>
            <a:r>
              <a:rPr lang="en-GB" noProof="0" dirty="0"/>
              <a:t>CorpoS (Body) 24 pt. (Mark-ups in Bold) </a:t>
            </a:r>
            <a:r>
              <a:rPr lang="en-GB" dirty="0"/>
              <a:t>// for conclusion</a:t>
            </a:r>
            <a:r>
              <a:rPr lang="en-GB" noProof="0" dirty="0"/>
              <a:t>, summary or short highlight</a:t>
            </a:r>
            <a:r>
              <a:rPr lang="en-GB" dirty="0"/>
              <a:t>: Home // Paragraph// Increase List Level</a:t>
            </a:r>
          </a:p>
          <a:p>
            <a:pPr lvl="1"/>
            <a:r>
              <a:rPr lang="en-GB" dirty="0"/>
              <a:t>Second level (Conclusion, summary or short highlight)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s level</a:t>
            </a:r>
          </a:p>
          <a:p>
            <a:pPr lvl="7"/>
            <a:r>
              <a:rPr lang="en-GB" dirty="0"/>
              <a:t>Eight level</a:t>
            </a:r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816350" y="1233203"/>
            <a:ext cx="4744426" cy="2627392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>Insert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9621389" y="3933889"/>
            <a:ext cx="1939115" cy="2446383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799"/>
            </a:lvl1pPr>
          </a:lstStyle>
          <a:p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>Insert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814850" y="3933889"/>
            <a:ext cx="2735735" cy="2446383"/>
          </a:xfrm>
          <a:prstGeom prst="rect">
            <a:avLst/>
          </a:prstGeom>
          <a:solidFill>
            <a:srgbClr val="CFCFCF"/>
          </a:solidFill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799"/>
            </a:lvl1pPr>
          </a:lstStyle>
          <a:p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>Insert picture</a:t>
            </a:r>
          </a:p>
        </p:txBody>
      </p:sp>
    </p:spTree>
    <p:extLst>
      <p:ext uri="{BB962C8B-B14F-4D97-AF65-F5344CB8AC3E}">
        <p14:creationId xmlns:p14="http://schemas.microsoft.com/office/powerpoint/2010/main" val="169568338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  <p15:guide id="2" orient="horz" pos="4020">
          <p15:clr>
            <a:srgbClr val="FBAE40"/>
          </p15:clr>
        </p15:guide>
        <p15:guide id="3" pos="3842">
          <p15:clr>
            <a:srgbClr val="FBAE40"/>
          </p15:clr>
        </p15:guide>
        <p15:guide id="4" pos="429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/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Headline in CorpoS (Body) 35 pt.</a:t>
            </a:r>
            <a:br>
              <a:rPr lang="en-GB" noProof="0" dirty="0"/>
            </a:br>
            <a:r>
              <a:rPr lang="en-GB" noProof="0" dirty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DI-Lama Project Update | Phani Sarraju | 4.Sep.2018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dirty="0">
                <a:solidFill>
                  <a:prstClr val="black"/>
                </a:solidFill>
              </a:rPr>
              <a:t>Page </a:t>
            </a:r>
            <a:fld id="{52531704-8F80-415D-BD2B-6B9991AE822F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629909" y="2493113"/>
            <a:ext cx="4965177" cy="345546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dirty="0"/>
              <a:t>Insert content or text in </a:t>
            </a:r>
            <a:r>
              <a:rPr lang="en-GB" noProof="0" dirty="0"/>
              <a:t>CorpoS (Body) 24 pt. (Mark-ups in Bold) </a:t>
            </a:r>
            <a:r>
              <a:rPr lang="en-GB" dirty="0"/>
              <a:t>// for conclusion</a:t>
            </a:r>
            <a:r>
              <a:rPr lang="en-GB" noProof="0" dirty="0"/>
              <a:t>, summary or short highlight</a:t>
            </a:r>
            <a:r>
              <a:rPr lang="en-GB" dirty="0"/>
              <a:t>: Home // Paragraph// Increase List Level</a:t>
            </a:r>
          </a:p>
          <a:p>
            <a:pPr lvl="1"/>
            <a:r>
              <a:rPr lang="en-GB" dirty="0"/>
              <a:t>Second level (Conclusion, summary or short highlight)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29912" y="1504602"/>
            <a:ext cx="4965174" cy="683842"/>
          </a:xfrm>
        </p:spPr>
        <p:txBody>
          <a:bodyPr anchor="b" anchorCtr="0"/>
          <a:lstStyle>
            <a:lvl1pPr marL="0" indent="0">
              <a:lnSpc>
                <a:spcPts val="2399"/>
              </a:lnSpc>
              <a:buNone/>
              <a:defRPr sz="1899">
                <a:solidFill>
                  <a:schemeClr val="tx1"/>
                </a:solidFill>
              </a:defRPr>
            </a:lvl1pPr>
            <a:lvl2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2pPr>
            <a:lvl3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3pPr>
            <a:lvl4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4pPr>
            <a:lvl5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5pPr>
            <a:lvl6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6pPr>
            <a:lvl7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7pPr>
            <a:lvl8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8pPr>
            <a:lvl9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Insert headline</a:t>
            </a:r>
          </a:p>
        </p:txBody>
      </p:sp>
      <p:cxnSp>
        <p:nvCxnSpPr>
          <p:cNvPr id="8" name="Gerade Verbindung 42"/>
          <p:cNvCxnSpPr/>
          <p:nvPr/>
        </p:nvCxnSpPr>
        <p:spPr bwMode="auto">
          <a:xfrm>
            <a:off x="629672" y="2231483"/>
            <a:ext cx="4965414" cy="0"/>
          </a:xfrm>
          <a:prstGeom prst="line">
            <a:avLst/>
          </a:prstGeom>
          <a:solidFill>
            <a:srgbClr val="D2D4D6"/>
          </a:solidFill>
          <a:ln w="12700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" name="Gerade Verbindung 42"/>
          <p:cNvCxnSpPr/>
          <p:nvPr/>
        </p:nvCxnSpPr>
        <p:spPr bwMode="auto">
          <a:xfrm>
            <a:off x="6595089" y="2231483"/>
            <a:ext cx="4965414" cy="0"/>
          </a:xfrm>
          <a:prstGeom prst="line">
            <a:avLst/>
          </a:prstGeom>
          <a:solidFill>
            <a:srgbClr val="D2D4D6"/>
          </a:solidFill>
          <a:ln w="12700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6595326" y="1504602"/>
            <a:ext cx="4965177" cy="683842"/>
          </a:xfrm>
        </p:spPr>
        <p:txBody>
          <a:bodyPr anchor="b" anchorCtr="0"/>
          <a:lstStyle>
            <a:lvl1pPr marL="0" indent="0">
              <a:lnSpc>
                <a:spcPts val="2399"/>
              </a:lnSpc>
              <a:buNone/>
              <a:defRPr sz="1899">
                <a:solidFill>
                  <a:schemeClr val="tx1"/>
                </a:solidFill>
              </a:defRPr>
            </a:lvl1pPr>
            <a:lvl2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2pPr>
            <a:lvl3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3pPr>
            <a:lvl4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4pPr>
            <a:lvl5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5pPr>
            <a:lvl6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6pPr>
            <a:lvl7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7pPr>
            <a:lvl8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8pPr>
            <a:lvl9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Insert headline</a:t>
            </a:r>
          </a:p>
        </p:txBody>
      </p:sp>
      <p:sp>
        <p:nvSpPr>
          <p:cNvPr id="11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6595326" y="2493113"/>
            <a:ext cx="4965177" cy="34552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dirty="0"/>
              <a:t>Insert content or text in </a:t>
            </a:r>
            <a:r>
              <a:rPr lang="en-GB" noProof="0" dirty="0"/>
              <a:t>CorpoS (Body) 24 pt. (Mark-ups in Bold) </a:t>
            </a:r>
            <a:r>
              <a:rPr lang="en-GB" dirty="0"/>
              <a:t>// for conclusion</a:t>
            </a:r>
            <a:r>
              <a:rPr lang="en-GB" noProof="0" dirty="0"/>
              <a:t>, summary or short highlight</a:t>
            </a:r>
            <a:r>
              <a:rPr lang="en-GB" dirty="0"/>
              <a:t>: Home // Paragraph// Increase List Level</a:t>
            </a:r>
          </a:p>
          <a:p>
            <a:pPr lvl="1"/>
            <a:r>
              <a:rPr lang="en-GB" dirty="0"/>
              <a:t>Second level (Conclusion, summary or short highlight)</a:t>
            </a:r>
          </a:p>
          <a:p>
            <a:pPr lvl="2"/>
            <a:r>
              <a:rPr lang="en-GB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64668055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4155">
          <p15:clr>
            <a:srgbClr val="FBAE40"/>
          </p15:clr>
        </p15:guide>
        <p15:guide id="2" pos="3528">
          <p15:clr>
            <a:srgbClr val="FBAE40"/>
          </p15:clr>
        </p15:guide>
        <p15:guide id="3" orient="horz" pos="3748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t/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DI-Lama Project Update | Phani Sarraju | 4.Sep.2018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dirty="0">
                <a:solidFill>
                  <a:prstClr val="black"/>
                </a:solidFill>
              </a:rPr>
              <a:t>Page </a:t>
            </a:r>
            <a:fld id="{52531704-8F80-415D-BD2B-6B9991AE822F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  <p:cxnSp>
        <p:nvCxnSpPr>
          <p:cNvPr id="5" name="Gerade Verbindung 66"/>
          <p:cNvCxnSpPr/>
          <p:nvPr/>
        </p:nvCxnSpPr>
        <p:spPr>
          <a:xfrm>
            <a:off x="3362836" y="1233203"/>
            <a:ext cx="0" cy="4797153"/>
          </a:xfrm>
          <a:prstGeom prst="line">
            <a:avLst/>
          </a:prstGeom>
          <a:ln w="3175" cmpd="sng">
            <a:solidFill>
              <a:srgbClr val="000000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Gerade Verbindung 67"/>
          <p:cNvCxnSpPr/>
          <p:nvPr/>
        </p:nvCxnSpPr>
        <p:spPr>
          <a:xfrm>
            <a:off x="6096000" y="1233202"/>
            <a:ext cx="0" cy="4797689"/>
          </a:xfrm>
          <a:prstGeom prst="line">
            <a:avLst/>
          </a:prstGeom>
          <a:ln w="3175" cmpd="sng">
            <a:solidFill>
              <a:srgbClr val="000000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rade Verbindung 68"/>
          <p:cNvCxnSpPr/>
          <p:nvPr/>
        </p:nvCxnSpPr>
        <p:spPr>
          <a:xfrm>
            <a:off x="8827612" y="1233202"/>
            <a:ext cx="0" cy="4797689"/>
          </a:xfrm>
          <a:prstGeom prst="line">
            <a:avLst/>
          </a:prstGeom>
          <a:ln w="3175" cmpd="sng">
            <a:solidFill>
              <a:srgbClr val="000000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809578" y="1979542"/>
            <a:ext cx="2374763" cy="1187725"/>
          </a:xfrm>
          <a:prstGeom prst="rect">
            <a:avLst/>
          </a:prstGeom>
          <a:noFill/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799"/>
            </a:lvl1pPr>
          </a:lstStyle>
          <a:p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>Insert picture</a:t>
            </a:r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541754" y="1979542"/>
            <a:ext cx="2374763" cy="1187725"/>
          </a:xfrm>
          <a:prstGeom prst="rect">
            <a:avLst/>
          </a:prstGeom>
          <a:noFill/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799"/>
            </a:lvl1pPr>
          </a:lstStyle>
          <a:p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>Insert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17" hasCustomPrompt="1"/>
          </p:nvPr>
        </p:nvSpPr>
        <p:spPr>
          <a:xfrm>
            <a:off x="6273932" y="1979542"/>
            <a:ext cx="2374763" cy="1187725"/>
          </a:xfrm>
          <a:prstGeom prst="rect">
            <a:avLst/>
          </a:prstGeom>
          <a:noFill/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799"/>
            </a:lvl1pPr>
          </a:lstStyle>
          <a:p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>Insert picture</a:t>
            </a:r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9006109" y="1983950"/>
            <a:ext cx="2374763" cy="1187725"/>
          </a:xfrm>
          <a:prstGeom prst="rect">
            <a:avLst/>
          </a:prstGeom>
          <a:noFill/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799"/>
            </a:lvl1pPr>
          </a:lstStyle>
          <a:p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>Insert picture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9" hasCustomPrompt="1"/>
          </p:nvPr>
        </p:nvSpPr>
        <p:spPr>
          <a:xfrm>
            <a:off x="809578" y="1504603"/>
            <a:ext cx="2374764" cy="474940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2099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099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099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099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099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099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099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099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099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Insert text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3541755" y="1504603"/>
            <a:ext cx="2374764" cy="474940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2099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099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099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099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099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099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099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099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099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Insert text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1" hasCustomPrompt="1"/>
          </p:nvPr>
        </p:nvSpPr>
        <p:spPr>
          <a:xfrm>
            <a:off x="6273932" y="1504603"/>
            <a:ext cx="2374764" cy="474940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2099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099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099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099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099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099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099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099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099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Insert text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22" hasCustomPrompt="1"/>
          </p:nvPr>
        </p:nvSpPr>
        <p:spPr>
          <a:xfrm>
            <a:off x="9006109" y="1504603"/>
            <a:ext cx="2374764" cy="474940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2099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099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099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099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099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099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099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099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099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Insert text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23" hasCustomPrompt="1"/>
          </p:nvPr>
        </p:nvSpPr>
        <p:spPr>
          <a:xfrm>
            <a:off x="809579" y="3275242"/>
            <a:ext cx="2374762" cy="611858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3698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XXYYY</a:t>
            </a:r>
          </a:p>
        </p:txBody>
      </p:sp>
      <p:sp>
        <p:nvSpPr>
          <p:cNvPr id="24" name="Text Placeholder 18"/>
          <p:cNvSpPr>
            <a:spLocks noGrp="1"/>
          </p:cNvSpPr>
          <p:nvPr>
            <p:ph type="body" sz="quarter" idx="24" hasCustomPrompt="1"/>
          </p:nvPr>
        </p:nvSpPr>
        <p:spPr>
          <a:xfrm>
            <a:off x="809579" y="3887100"/>
            <a:ext cx="2374762" cy="395908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2099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099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099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099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099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099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099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099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099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Insert text</a:t>
            </a:r>
          </a:p>
        </p:txBody>
      </p:sp>
      <p:sp>
        <p:nvSpPr>
          <p:cNvPr id="25" name="Text Placeholder 18"/>
          <p:cNvSpPr>
            <a:spLocks noGrp="1"/>
          </p:cNvSpPr>
          <p:nvPr>
            <p:ph type="body" sz="quarter" idx="25" hasCustomPrompt="1"/>
          </p:nvPr>
        </p:nvSpPr>
        <p:spPr>
          <a:xfrm>
            <a:off x="809579" y="4426975"/>
            <a:ext cx="2374762" cy="611858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3698">
                <a:solidFill>
                  <a:schemeClr val="accent2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accent2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accent2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accent2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accent2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accent2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accent2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accent2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accent2"/>
                </a:solidFill>
              </a:defRPr>
            </a:lvl9pPr>
          </a:lstStyle>
          <a:p>
            <a:pPr lvl="0"/>
            <a:r>
              <a:rPr lang="en-GB" dirty="0" err="1"/>
              <a:t>XXg</a:t>
            </a:r>
            <a:endParaRPr lang="en-GB" dirty="0"/>
          </a:p>
        </p:txBody>
      </p:sp>
      <p:sp>
        <p:nvSpPr>
          <p:cNvPr id="26" name="Text Placeholder 18"/>
          <p:cNvSpPr>
            <a:spLocks noGrp="1"/>
          </p:cNvSpPr>
          <p:nvPr>
            <p:ph type="body" sz="quarter" idx="26" hasCustomPrompt="1"/>
          </p:nvPr>
        </p:nvSpPr>
        <p:spPr>
          <a:xfrm>
            <a:off x="809579" y="5002842"/>
            <a:ext cx="2374762" cy="611858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3698">
                <a:solidFill>
                  <a:schemeClr val="tx2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tx2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tx2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tx2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tx2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tx2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tx2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tx2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tx2"/>
                </a:solidFill>
              </a:defRPr>
            </a:lvl9pPr>
          </a:lstStyle>
          <a:p>
            <a:pPr lvl="0"/>
            <a:r>
              <a:rPr lang="en-GB" dirty="0" err="1"/>
              <a:t>X,Xl</a:t>
            </a:r>
            <a:endParaRPr lang="en-GB" dirty="0"/>
          </a:p>
        </p:txBody>
      </p:sp>
      <p:sp>
        <p:nvSpPr>
          <p:cNvPr id="27" name="Text Placeholder 18"/>
          <p:cNvSpPr>
            <a:spLocks noGrp="1"/>
          </p:cNvSpPr>
          <p:nvPr>
            <p:ph type="body" sz="quarter" idx="27" hasCustomPrompt="1"/>
          </p:nvPr>
        </p:nvSpPr>
        <p:spPr>
          <a:xfrm>
            <a:off x="809579" y="5830650"/>
            <a:ext cx="2374762" cy="287933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599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599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599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599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599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599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599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599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599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Insert text</a:t>
            </a:r>
          </a:p>
        </p:txBody>
      </p:sp>
      <p:sp>
        <p:nvSpPr>
          <p:cNvPr id="32" name="Text Placeholder 18"/>
          <p:cNvSpPr>
            <a:spLocks noGrp="1"/>
          </p:cNvSpPr>
          <p:nvPr>
            <p:ph type="body" sz="quarter" idx="28" hasCustomPrompt="1"/>
          </p:nvPr>
        </p:nvSpPr>
        <p:spPr>
          <a:xfrm>
            <a:off x="3541755" y="3275242"/>
            <a:ext cx="2374762" cy="611858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3698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XXYYY</a:t>
            </a:r>
          </a:p>
        </p:txBody>
      </p:sp>
      <p:sp>
        <p:nvSpPr>
          <p:cNvPr id="33" name="Text Placeholder 18"/>
          <p:cNvSpPr>
            <a:spLocks noGrp="1"/>
          </p:cNvSpPr>
          <p:nvPr>
            <p:ph type="body" sz="quarter" idx="29" hasCustomPrompt="1"/>
          </p:nvPr>
        </p:nvSpPr>
        <p:spPr>
          <a:xfrm>
            <a:off x="3541755" y="3887100"/>
            <a:ext cx="2374762" cy="395908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2099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099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099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099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099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099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099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099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099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Insert text</a:t>
            </a:r>
          </a:p>
        </p:txBody>
      </p:sp>
      <p:sp>
        <p:nvSpPr>
          <p:cNvPr id="34" name="Text Placeholder 18"/>
          <p:cNvSpPr>
            <a:spLocks noGrp="1"/>
          </p:cNvSpPr>
          <p:nvPr>
            <p:ph type="body" sz="quarter" idx="30" hasCustomPrompt="1"/>
          </p:nvPr>
        </p:nvSpPr>
        <p:spPr>
          <a:xfrm>
            <a:off x="3541755" y="4426975"/>
            <a:ext cx="2374762" cy="611858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3698">
                <a:solidFill>
                  <a:schemeClr val="accent2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accent2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accent2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accent2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accent2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accent2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accent2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accent2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accent2"/>
                </a:solidFill>
              </a:defRPr>
            </a:lvl9pPr>
          </a:lstStyle>
          <a:p>
            <a:pPr lvl="0"/>
            <a:r>
              <a:rPr lang="en-GB" dirty="0" err="1"/>
              <a:t>XXg</a:t>
            </a:r>
            <a:endParaRPr lang="en-GB" dirty="0"/>
          </a:p>
        </p:txBody>
      </p:sp>
      <p:sp>
        <p:nvSpPr>
          <p:cNvPr id="35" name="Text Placeholder 18"/>
          <p:cNvSpPr>
            <a:spLocks noGrp="1"/>
          </p:cNvSpPr>
          <p:nvPr>
            <p:ph type="body" sz="quarter" idx="31" hasCustomPrompt="1"/>
          </p:nvPr>
        </p:nvSpPr>
        <p:spPr>
          <a:xfrm>
            <a:off x="3541755" y="5002842"/>
            <a:ext cx="2374762" cy="611858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3698">
                <a:solidFill>
                  <a:schemeClr val="tx2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tx2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tx2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tx2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tx2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tx2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tx2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tx2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tx2"/>
                </a:solidFill>
              </a:defRPr>
            </a:lvl9pPr>
          </a:lstStyle>
          <a:p>
            <a:pPr lvl="0"/>
            <a:r>
              <a:rPr lang="en-GB" dirty="0" err="1"/>
              <a:t>X,Xl</a:t>
            </a:r>
            <a:endParaRPr lang="en-GB" dirty="0"/>
          </a:p>
        </p:txBody>
      </p:sp>
      <p:sp>
        <p:nvSpPr>
          <p:cNvPr id="36" name="Text Placeholder 18"/>
          <p:cNvSpPr>
            <a:spLocks noGrp="1"/>
          </p:cNvSpPr>
          <p:nvPr>
            <p:ph type="body" sz="quarter" idx="32" hasCustomPrompt="1"/>
          </p:nvPr>
        </p:nvSpPr>
        <p:spPr>
          <a:xfrm>
            <a:off x="3541755" y="5830650"/>
            <a:ext cx="2374762" cy="287933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599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599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599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599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599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599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599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599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599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Insert text</a:t>
            </a:r>
          </a:p>
        </p:txBody>
      </p:sp>
      <p:sp>
        <p:nvSpPr>
          <p:cNvPr id="37" name="Text Placeholder 18"/>
          <p:cNvSpPr>
            <a:spLocks noGrp="1"/>
          </p:cNvSpPr>
          <p:nvPr>
            <p:ph type="body" sz="quarter" idx="33" hasCustomPrompt="1"/>
          </p:nvPr>
        </p:nvSpPr>
        <p:spPr>
          <a:xfrm>
            <a:off x="6273934" y="3275242"/>
            <a:ext cx="2374762" cy="611858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3698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XXYYY</a:t>
            </a:r>
          </a:p>
        </p:txBody>
      </p:sp>
      <p:sp>
        <p:nvSpPr>
          <p:cNvPr id="38" name="Text Placeholder 18"/>
          <p:cNvSpPr>
            <a:spLocks noGrp="1"/>
          </p:cNvSpPr>
          <p:nvPr>
            <p:ph type="body" sz="quarter" idx="34" hasCustomPrompt="1"/>
          </p:nvPr>
        </p:nvSpPr>
        <p:spPr>
          <a:xfrm>
            <a:off x="6273934" y="3887100"/>
            <a:ext cx="2374762" cy="395908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2099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099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099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099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099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099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099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099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099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Insert text</a:t>
            </a:r>
          </a:p>
        </p:txBody>
      </p:sp>
      <p:sp>
        <p:nvSpPr>
          <p:cNvPr id="39" name="Text Placeholder 18"/>
          <p:cNvSpPr>
            <a:spLocks noGrp="1"/>
          </p:cNvSpPr>
          <p:nvPr>
            <p:ph type="body" sz="quarter" idx="35" hasCustomPrompt="1"/>
          </p:nvPr>
        </p:nvSpPr>
        <p:spPr>
          <a:xfrm>
            <a:off x="6273934" y="4426975"/>
            <a:ext cx="2374762" cy="611858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3698">
                <a:solidFill>
                  <a:schemeClr val="accent2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accent2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accent2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accent2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accent2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accent2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accent2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accent2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accent2"/>
                </a:solidFill>
              </a:defRPr>
            </a:lvl9pPr>
          </a:lstStyle>
          <a:p>
            <a:pPr lvl="0"/>
            <a:r>
              <a:rPr lang="en-GB" dirty="0" err="1"/>
              <a:t>XXg</a:t>
            </a:r>
            <a:endParaRPr lang="en-GB" dirty="0"/>
          </a:p>
        </p:txBody>
      </p:sp>
      <p:sp>
        <p:nvSpPr>
          <p:cNvPr id="40" name="Text Placeholder 18"/>
          <p:cNvSpPr>
            <a:spLocks noGrp="1"/>
          </p:cNvSpPr>
          <p:nvPr>
            <p:ph type="body" sz="quarter" idx="36" hasCustomPrompt="1"/>
          </p:nvPr>
        </p:nvSpPr>
        <p:spPr>
          <a:xfrm>
            <a:off x="6273934" y="5002842"/>
            <a:ext cx="2374762" cy="611858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3698">
                <a:solidFill>
                  <a:schemeClr val="tx2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tx2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tx2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tx2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tx2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tx2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tx2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tx2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tx2"/>
                </a:solidFill>
              </a:defRPr>
            </a:lvl9pPr>
          </a:lstStyle>
          <a:p>
            <a:pPr lvl="0"/>
            <a:r>
              <a:rPr lang="en-GB" dirty="0" err="1"/>
              <a:t>X,Xl</a:t>
            </a:r>
            <a:endParaRPr lang="en-GB" dirty="0"/>
          </a:p>
        </p:txBody>
      </p:sp>
      <p:sp>
        <p:nvSpPr>
          <p:cNvPr id="41" name="Text Placeholder 18"/>
          <p:cNvSpPr>
            <a:spLocks noGrp="1"/>
          </p:cNvSpPr>
          <p:nvPr>
            <p:ph type="body" sz="quarter" idx="37" hasCustomPrompt="1"/>
          </p:nvPr>
        </p:nvSpPr>
        <p:spPr>
          <a:xfrm>
            <a:off x="6273934" y="5830650"/>
            <a:ext cx="2374762" cy="287933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599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599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599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599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599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599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599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599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599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Insert text</a:t>
            </a:r>
          </a:p>
        </p:txBody>
      </p:sp>
      <p:sp>
        <p:nvSpPr>
          <p:cNvPr id="42" name="Text Placeholder 18"/>
          <p:cNvSpPr>
            <a:spLocks noGrp="1"/>
          </p:cNvSpPr>
          <p:nvPr>
            <p:ph type="body" sz="quarter" idx="38" hasCustomPrompt="1"/>
          </p:nvPr>
        </p:nvSpPr>
        <p:spPr>
          <a:xfrm>
            <a:off x="9006110" y="3303538"/>
            <a:ext cx="2374762" cy="611858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3698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XXYYY</a:t>
            </a:r>
          </a:p>
        </p:txBody>
      </p:sp>
      <p:sp>
        <p:nvSpPr>
          <p:cNvPr id="43" name="Text Placeholder 18"/>
          <p:cNvSpPr>
            <a:spLocks noGrp="1"/>
          </p:cNvSpPr>
          <p:nvPr>
            <p:ph type="body" sz="quarter" idx="39" hasCustomPrompt="1"/>
          </p:nvPr>
        </p:nvSpPr>
        <p:spPr>
          <a:xfrm>
            <a:off x="9006110" y="3915397"/>
            <a:ext cx="2374762" cy="395908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2099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099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099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099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099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099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099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099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099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Insert text</a:t>
            </a:r>
          </a:p>
        </p:txBody>
      </p:sp>
      <p:sp>
        <p:nvSpPr>
          <p:cNvPr id="44" name="Text Placeholder 18"/>
          <p:cNvSpPr>
            <a:spLocks noGrp="1"/>
          </p:cNvSpPr>
          <p:nvPr>
            <p:ph type="body" sz="quarter" idx="40" hasCustomPrompt="1"/>
          </p:nvPr>
        </p:nvSpPr>
        <p:spPr>
          <a:xfrm>
            <a:off x="9006110" y="4455272"/>
            <a:ext cx="2374762" cy="611858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3698">
                <a:solidFill>
                  <a:schemeClr val="accent2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accent2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accent2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accent2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accent2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accent2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accent2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accent2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accent2"/>
                </a:solidFill>
              </a:defRPr>
            </a:lvl9pPr>
          </a:lstStyle>
          <a:p>
            <a:pPr lvl="0"/>
            <a:r>
              <a:rPr lang="en-GB" dirty="0" err="1"/>
              <a:t>XXg</a:t>
            </a:r>
            <a:endParaRPr lang="en-GB" dirty="0"/>
          </a:p>
        </p:txBody>
      </p:sp>
      <p:sp>
        <p:nvSpPr>
          <p:cNvPr id="45" name="Text Placeholder 18"/>
          <p:cNvSpPr>
            <a:spLocks noGrp="1"/>
          </p:cNvSpPr>
          <p:nvPr>
            <p:ph type="body" sz="quarter" idx="41" hasCustomPrompt="1"/>
          </p:nvPr>
        </p:nvSpPr>
        <p:spPr>
          <a:xfrm>
            <a:off x="9006110" y="5031138"/>
            <a:ext cx="2374762" cy="611858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3698">
                <a:solidFill>
                  <a:schemeClr val="tx2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tx2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tx2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tx2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tx2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tx2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tx2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tx2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698">
                <a:solidFill>
                  <a:schemeClr val="tx2"/>
                </a:solidFill>
              </a:defRPr>
            </a:lvl9pPr>
          </a:lstStyle>
          <a:p>
            <a:pPr lvl="0"/>
            <a:r>
              <a:rPr lang="en-GB" dirty="0" err="1"/>
              <a:t>X,Xl</a:t>
            </a:r>
            <a:endParaRPr lang="en-GB" dirty="0"/>
          </a:p>
        </p:txBody>
      </p:sp>
      <p:sp>
        <p:nvSpPr>
          <p:cNvPr id="46" name="Text Placeholder 18"/>
          <p:cNvSpPr>
            <a:spLocks noGrp="1"/>
          </p:cNvSpPr>
          <p:nvPr>
            <p:ph type="body" sz="quarter" idx="42" hasCustomPrompt="1"/>
          </p:nvPr>
        </p:nvSpPr>
        <p:spPr>
          <a:xfrm>
            <a:off x="9006110" y="5858946"/>
            <a:ext cx="2374762" cy="287933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599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599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599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599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599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599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599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599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599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Insert text</a:t>
            </a:r>
          </a:p>
        </p:txBody>
      </p:sp>
      <p:sp>
        <p:nvSpPr>
          <p:cNvPr id="47" name="Title 1"/>
          <p:cNvSpPr>
            <a:spLocks noGrp="1"/>
          </p:cNvSpPr>
          <p:nvPr>
            <p:ph type="title" hasCustomPrompt="1"/>
          </p:nvPr>
        </p:nvSpPr>
        <p:spPr>
          <a:xfrm>
            <a:off x="629671" y="285982"/>
            <a:ext cx="10931106" cy="683842"/>
          </a:xfrm>
        </p:spPr>
        <p:txBody>
          <a:bodyPr/>
          <a:lstStyle/>
          <a:p>
            <a:r>
              <a:rPr lang="en-GB" noProof="0" dirty="0"/>
              <a:t>Headline in CorpoS (Body) 35 pt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028555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char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Regieanweisungen"/>
          <p:cNvGrpSpPr/>
          <p:nvPr/>
        </p:nvGrpSpPr>
        <p:grpSpPr>
          <a:xfrm>
            <a:off x="-2086913" y="-467892"/>
            <a:ext cx="13647691" cy="7792196"/>
            <a:chOff x="-2088000" y="-468000"/>
            <a:chExt cx="13654799" cy="7794000"/>
          </a:xfrm>
        </p:grpSpPr>
        <p:sp>
          <p:nvSpPr>
            <p:cNvPr id="19" name="Hilfslinien"/>
            <p:cNvSpPr txBox="1"/>
            <p:nvPr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99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how guides via menu bar: View // Show // tick Guides</a:t>
              </a:r>
            </a:p>
          </p:txBody>
        </p:sp>
        <p:sp>
          <p:nvSpPr>
            <p:cNvPr id="20" name="Fußzeile"/>
            <p:cNvSpPr txBox="1"/>
            <p:nvPr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1042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099" b="0" baseline="0" dirty="0" smtClean="0">
                  <a:solidFill>
                    <a:schemeClr val="accent5"/>
                  </a:solidFill>
                  <a:latin typeface="+mn-lt"/>
                </a:rPr>
                <a:t>Adjust footer (per slide or for several/all slides) via menu bar: Insert // Text // Header &amp; Footer</a:t>
              </a:r>
            </a:p>
          </p:txBody>
        </p:sp>
        <p:grpSp>
          <p:nvGrpSpPr>
            <p:cNvPr id="21" name="Hinweise links"/>
            <p:cNvGrpSpPr/>
            <p:nvPr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22" name="Folie Wechsel/Zurücksetzen/Textebenen"/>
              <p:cNvSpPr txBox="1"/>
              <p:nvPr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Reset the slide back to its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original form 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Slides // Rese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099" b="0" baseline="0" noProof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Change the slide layout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Slides // Layou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099" b="0" baseline="0" noProof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Change the text level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via menu bar: </a:t>
                </a:r>
                <a:b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</a:b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Paragraph // Increase/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Decrease List Level</a:t>
                </a:r>
              </a:p>
            </p:txBody>
          </p:sp>
          <p:grpSp>
            <p:nvGrpSpPr>
              <p:cNvPr id="23" name="Listenebenen"/>
              <p:cNvGrpSpPr/>
              <p:nvPr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24" name="Text // Listenebene erhöhen"/>
                <p:cNvSpPr txBox="1"/>
                <p:nvPr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38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999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Increase</a:t>
                  </a:r>
                </a:p>
                <a:p>
                  <a:pPr marL="0" marR="0" lvl="0" indent="0" algn="r" defTabSz="9138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999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sp>
              <p:nvSpPr>
                <p:cNvPr id="37" name="Text // Listenebene verringern"/>
                <p:cNvSpPr txBox="1"/>
                <p:nvPr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38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999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Decrease </a:t>
                  </a:r>
                </a:p>
                <a:p>
                  <a:pPr marL="0" marR="0" lvl="0" indent="0" algn="r" defTabSz="9138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999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pic>
              <p:nvPicPr>
                <p:cNvPr id="38" name="Listenebene erhöhen"/>
                <p:cNvPicPr>
                  <a:picLocks noChangeAspect="1"/>
                </p:cNvPicPr>
                <p:nvPr/>
              </p:nvPicPr>
              <p:blipFill>
                <a:blip r:embed="rId2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39" name="Listenebene verringern"/>
                <p:cNvPicPr>
                  <a:picLocks noChangeAspect="1"/>
                </p:cNvPicPr>
                <p:nvPr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pic>
        <p:nvPicPr>
          <p:cNvPr id="36" name="Buerstung O_L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white">
          <a:xfrm>
            <a:off x="-1" y="0"/>
            <a:ext cx="12190451" cy="6487838"/>
          </a:xfrm>
          <a:prstGeom prst="rect">
            <a:avLst/>
          </a:prstGeom>
        </p:spPr>
      </p:pic>
      <p:sp>
        <p:nvSpPr>
          <p:cNvPr id="25" name="Daimler AG (Wortmarke)"/>
          <p:cNvSpPr>
            <a:spLocks noChangeArrowheads="1"/>
          </p:cNvSpPr>
          <p:nvPr/>
        </p:nvSpPr>
        <p:spPr bwMode="auto">
          <a:xfrm>
            <a:off x="629672" y="6564880"/>
            <a:ext cx="2086913" cy="2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r>
              <a:rPr lang="en-GB" sz="1199" dirty="0" smtClean="0">
                <a:latin typeface="+mn-lt"/>
                <a:cs typeface="Daimler CS"/>
              </a:rPr>
              <a:t>Daimler AG</a:t>
            </a:r>
            <a:endParaRPr lang="en-GB" sz="1199" dirty="0">
              <a:latin typeface="+mn-lt"/>
              <a:cs typeface="Daimler CS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28323" y="288859"/>
            <a:ext cx="10932455" cy="1025684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Image-chart, Headline </a:t>
            </a:r>
            <a:r>
              <a:rPr lang="en-GB" noProof="0" dirty="0" smtClean="0"/>
              <a:t>CorpoS </a:t>
            </a:r>
            <a:r>
              <a:rPr lang="en-GB" dirty="0" smtClean="0"/>
              <a:t>(Body) 35 pt. </a:t>
            </a:r>
            <a:br>
              <a:rPr lang="en-GB" dirty="0" smtClean="0"/>
            </a:br>
            <a:r>
              <a:rPr lang="en-GB" dirty="0" smtClean="0"/>
              <a:t>in two or more lines of text</a:t>
            </a:r>
            <a:endParaRPr lang="en-GB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178478-C14F-4056-BC7B-D4A0322B8D6E}" type="slidenum">
              <a:rPr lang="en-US" smtClean="0"/>
              <a:t>‹#›</a:t>
            </a:fld>
            <a:endParaRPr lang="en-US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3427197"/>
            <a:ext cx="12190451" cy="3059413"/>
          </a:xfrm>
          <a:custGeom>
            <a:avLst/>
            <a:gdLst>
              <a:gd name="connsiteX0" fmla="*/ 0 w 12196800"/>
              <a:gd name="connsiteY0" fmla="*/ 0 h 3060123"/>
              <a:gd name="connsiteX1" fmla="*/ 12196800 w 12196800"/>
              <a:gd name="connsiteY1" fmla="*/ 0 h 3060123"/>
              <a:gd name="connsiteX2" fmla="*/ 12196800 w 12196800"/>
              <a:gd name="connsiteY2" fmla="*/ 3060123 h 3060123"/>
              <a:gd name="connsiteX3" fmla="*/ 0 w 12196800"/>
              <a:gd name="connsiteY3" fmla="*/ 3060123 h 3060123"/>
              <a:gd name="connsiteX4" fmla="*/ 0 w 12196800"/>
              <a:gd name="connsiteY4" fmla="*/ 0 h 3060123"/>
              <a:gd name="connsiteX0" fmla="*/ 0 w 12196800"/>
              <a:gd name="connsiteY0" fmla="*/ 0 h 3060123"/>
              <a:gd name="connsiteX1" fmla="*/ 12196800 w 12196800"/>
              <a:gd name="connsiteY1" fmla="*/ 0 h 3060123"/>
              <a:gd name="connsiteX2" fmla="*/ 12196800 w 12196800"/>
              <a:gd name="connsiteY2" fmla="*/ 3060123 h 3060123"/>
              <a:gd name="connsiteX3" fmla="*/ 0 w 12196800"/>
              <a:gd name="connsiteY3" fmla="*/ 3060123 h 3060123"/>
              <a:gd name="connsiteX4" fmla="*/ 0 w 12196800"/>
              <a:gd name="connsiteY4" fmla="*/ 1070191 h 3060123"/>
              <a:gd name="connsiteX5" fmla="*/ 0 w 12196800"/>
              <a:gd name="connsiteY5" fmla="*/ 0 h 3060123"/>
              <a:gd name="connsiteX0" fmla="*/ 0 w 12196800"/>
              <a:gd name="connsiteY0" fmla="*/ 1070191 h 3060123"/>
              <a:gd name="connsiteX1" fmla="*/ 12196800 w 12196800"/>
              <a:gd name="connsiteY1" fmla="*/ 0 h 3060123"/>
              <a:gd name="connsiteX2" fmla="*/ 12196800 w 12196800"/>
              <a:gd name="connsiteY2" fmla="*/ 3060123 h 3060123"/>
              <a:gd name="connsiteX3" fmla="*/ 0 w 12196800"/>
              <a:gd name="connsiteY3" fmla="*/ 3060123 h 3060123"/>
              <a:gd name="connsiteX4" fmla="*/ 0 w 12196800"/>
              <a:gd name="connsiteY4" fmla="*/ 1070191 h 30601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6800" h="3060123">
                <a:moveTo>
                  <a:pt x="0" y="1070191"/>
                </a:moveTo>
                <a:lnTo>
                  <a:pt x="12196800" y="0"/>
                </a:lnTo>
                <a:lnTo>
                  <a:pt x="12196800" y="3060123"/>
                </a:lnTo>
                <a:lnTo>
                  <a:pt x="0" y="3060123"/>
                </a:lnTo>
                <a:lnTo>
                  <a:pt x="0" y="1070191"/>
                </a:lnTo>
                <a:close/>
              </a:path>
            </a:pathLst>
          </a:custGeom>
          <a:noFill/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255944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88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/ Headline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Headline in CorpoS (Body) 35 pt.</a:t>
            </a:r>
            <a:br>
              <a:rPr lang="en-GB" noProof="0" dirty="0"/>
            </a:br>
            <a:r>
              <a:rPr lang="en-GB" noProof="0" dirty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DI-Lama Project Update | Phani Sarraju | 4.Sep.2018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dirty="0">
                <a:solidFill>
                  <a:prstClr val="black"/>
                </a:solidFill>
              </a:rPr>
              <a:t>Page </a:t>
            </a:r>
            <a:fld id="{52531704-8F80-415D-BD2B-6B9991AE822F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652376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4020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/ Headline 2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9671" y="285982"/>
            <a:ext cx="10931106" cy="683842"/>
          </a:xfrm>
        </p:spPr>
        <p:txBody>
          <a:bodyPr/>
          <a:lstStyle/>
          <a:p>
            <a:r>
              <a:rPr lang="en-GB" noProof="0" dirty="0"/>
              <a:t>Headline in CorpoS (Body) 35 pt.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DI-Lama Project Update | Phani Sarraju | 4.Sep.2018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dirty="0">
                <a:solidFill>
                  <a:prstClr val="black"/>
                </a:solidFill>
              </a:rPr>
              <a:t>Page </a:t>
            </a:r>
            <a:fld id="{52531704-8F80-415D-BD2B-6B9991AE822F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620910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4020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line two lines //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noProof="0" dirty="0"/>
              <a:t>Headline in </a:t>
            </a:r>
            <a:r>
              <a:rPr lang="de-DE" noProof="0" dirty="0" err="1"/>
              <a:t>CorpoS</a:t>
            </a:r>
            <a:r>
              <a:rPr lang="de-DE" noProof="0" dirty="0"/>
              <a:t> (Textkörper) 35 pt.</a:t>
            </a:r>
            <a:br>
              <a:rPr lang="de-DE" noProof="0" dirty="0"/>
            </a:br>
            <a:r>
              <a:rPr lang="de-DE" noProof="0" dirty="0"/>
              <a:t>über zwei Zeilen</a:t>
            </a:r>
            <a:endParaRPr lang="de-DE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629909" y="1504602"/>
            <a:ext cx="10930594" cy="4983236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de-DE" dirty="0"/>
              <a:t>Text oder Inhalt einfügen in </a:t>
            </a:r>
            <a:r>
              <a:rPr lang="de-DE" noProof="0" dirty="0" err="1"/>
              <a:t>CorpoS</a:t>
            </a:r>
            <a:r>
              <a:rPr lang="de-DE" noProof="0" dirty="0"/>
              <a:t> (Body) 24 pt. (Mark-</a:t>
            </a:r>
            <a:r>
              <a:rPr lang="de-DE" noProof="0" dirty="0" err="1"/>
              <a:t>ups</a:t>
            </a:r>
            <a:r>
              <a:rPr lang="de-DE" noProof="0" dirty="0"/>
              <a:t> in Fett) </a:t>
            </a:r>
            <a:r>
              <a:rPr lang="de-DE" dirty="0"/>
              <a:t>// für Zusammenfassung oder kurzes Highlight: Start // Absatz // Listenebene erhöhen</a:t>
            </a:r>
          </a:p>
          <a:p>
            <a:pPr lvl="1"/>
            <a:r>
              <a:rPr lang="de-DE" dirty="0"/>
              <a:t>Zweite Ebene (Zusammenfassung oder kurzes Highlight)</a:t>
            </a:r>
          </a:p>
          <a:p>
            <a:pPr lvl="2"/>
            <a:r>
              <a:rPr lang="de-DE" dirty="0"/>
              <a:t>Dritte Ebene </a:t>
            </a:r>
          </a:p>
          <a:p>
            <a:pPr lvl="3"/>
            <a:r>
              <a:rPr lang="de-DE" dirty="0"/>
              <a:t>Vierte Ebene </a:t>
            </a:r>
          </a:p>
          <a:p>
            <a:pPr lvl="4"/>
            <a:r>
              <a:rPr lang="de-DE" dirty="0"/>
              <a:t>Fünfte Ebene </a:t>
            </a:r>
          </a:p>
          <a:p>
            <a:pPr lvl="5"/>
            <a:r>
              <a:rPr lang="de-DE" dirty="0"/>
              <a:t>Sechste Ebene </a:t>
            </a:r>
          </a:p>
          <a:p>
            <a:pPr lvl="6"/>
            <a:r>
              <a:rPr lang="de-DE" dirty="0"/>
              <a:t>Siebte Ebene </a:t>
            </a:r>
          </a:p>
          <a:p>
            <a:pPr lvl="7"/>
            <a:r>
              <a:rPr lang="de-DE" dirty="0"/>
              <a:t>Achte Ebene </a:t>
            </a:r>
          </a:p>
          <a:p>
            <a:pPr lvl="8"/>
            <a:r>
              <a:rPr lang="de-DE" dirty="0"/>
              <a:t>Neunte Ebene 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DI-Lama Project Update | Phani Sarraju | 4.Sep.2018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DE" dirty="0">
                <a:solidFill>
                  <a:prstClr val="black"/>
                </a:solidFill>
              </a:rPr>
              <a:t>Seite </a:t>
            </a:r>
            <a:fld id="{52531704-8F80-415D-BD2B-6B9991AE822F}" type="slidenum">
              <a:rPr lang="de-DE" smtClean="0">
                <a:solidFill>
                  <a:prstClr val="black"/>
                </a:solidFill>
              </a:rPr>
              <a:pPr/>
              <a:t>‹#›</a:t>
            </a:fld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133465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4020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. Titel Bil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 bwMode="auto">
          <a:xfrm>
            <a:off x="-2380" y="3443483"/>
            <a:ext cx="12192830" cy="3429000"/>
          </a:xfrm>
          <a:custGeom>
            <a:avLst/>
            <a:gdLst>
              <a:gd name="connsiteX0" fmla="*/ 0 w 12196799"/>
              <a:gd name="connsiteY0" fmla="*/ 0 h 3429794"/>
              <a:gd name="connsiteX1" fmla="*/ 12196799 w 12196799"/>
              <a:gd name="connsiteY1" fmla="*/ 0 h 3429794"/>
              <a:gd name="connsiteX2" fmla="*/ 12196799 w 12196799"/>
              <a:gd name="connsiteY2" fmla="*/ 3429794 h 3429794"/>
              <a:gd name="connsiteX3" fmla="*/ 0 w 12196799"/>
              <a:gd name="connsiteY3" fmla="*/ 3429794 h 3429794"/>
              <a:gd name="connsiteX4" fmla="*/ 0 w 12196799"/>
              <a:gd name="connsiteY4" fmla="*/ 0 h 3429794"/>
              <a:gd name="connsiteX0" fmla="*/ 2381 w 12199180"/>
              <a:gd name="connsiteY0" fmla="*/ 0 h 3429794"/>
              <a:gd name="connsiteX1" fmla="*/ 12199180 w 12199180"/>
              <a:gd name="connsiteY1" fmla="*/ 0 h 3429794"/>
              <a:gd name="connsiteX2" fmla="*/ 12199180 w 12199180"/>
              <a:gd name="connsiteY2" fmla="*/ 3429794 h 3429794"/>
              <a:gd name="connsiteX3" fmla="*/ 2381 w 12199180"/>
              <a:gd name="connsiteY3" fmla="*/ 3429794 h 3429794"/>
              <a:gd name="connsiteX4" fmla="*/ 0 w 12199180"/>
              <a:gd name="connsiteY4" fmla="*/ 1070769 h 3429794"/>
              <a:gd name="connsiteX5" fmla="*/ 2381 w 12199180"/>
              <a:gd name="connsiteY5" fmla="*/ 0 h 3429794"/>
              <a:gd name="connsiteX0" fmla="*/ 0 w 12199180"/>
              <a:gd name="connsiteY0" fmla="*/ 1167730 h 3526755"/>
              <a:gd name="connsiteX1" fmla="*/ 12199180 w 12199180"/>
              <a:gd name="connsiteY1" fmla="*/ 96961 h 3526755"/>
              <a:gd name="connsiteX2" fmla="*/ 12199180 w 12199180"/>
              <a:gd name="connsiteY2" fmla="*/ 3526755 h 3526755"/>
              <a:gd name="connsiteX3" fmla="*/ 2381 w 12199180"/>
              <a:gd name="connsiteY3" fmla="*/ 3526755 h 3526755"/>
              <a:gd name="connsiteX4" fmla="*/ 0 w 12199180"/>
              <a:gd name="connsiteY4" fmla="*/ 1167730 h 3526755"/>
              <a:gd name="connsiteX0" fmla="*/ 0 w 12199180"/>
              <a:gd name="connsiteY0" fmla="*/ 1070769 h 3429794"/>
              <a:gd name="connsiteX1" fmla="*/ 12199180 w 12199180"/>
              <a:gd name="connsiteY1" fmla="*/ 0 h 3429794"/>
              <a:gd name="connsiteX2" fmla="*/ 12199180 w 12199180"/>
              <a:gd name="connsiteY2" fmla="*/ 3429794 h 3429794"/>
              <a:gd name="connsiteX3" fmla="*/ 2381 w 12199180"/>
              <a:gd name="connsiteY3" fmla="*/ 3429794 h 3429794"/>
              <a:gd name="connsiteX4" fmla="*/ 0 w 12199180"/>
              <a:gd name="connsiteY4" fmla="*/ 1070769 h 34297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9180" h="3429794">
                <a:moveTo>
                  <a:pt x="0" y="1070769"/>
                </a:moveTo>
                <a:lnTo>
                  <a:pt x="12199180" y="0"/>
                </a:lnTo>
                <a:lnTo>
                  <a:pt x="12199180" y="3429794"/>
                </a:lnTo>
                <a:lnTo>
                  <a:pt x="2381" y="3429794"/>
                </a:lnTo>
                <a:cubicBezTo>
                  <a:pt x="1587" y="2643452"/>
                  <a:pt x="794" y="1857111"/>
                  <a:pt x="0" y="1070769"/>
                </a:cubicBezTo>
                <a:close/>
              </a:path>
            </a:pathLst>
          </a:custGeom>
          <a:noFill/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de-DE" noProof="0" dirty="0"/>
              <a:t/>
            </a:r>
            <a:br>
              <a:rPr lang="de-DE" noProof="0" dirty="0"/>
            </a:br>
            <a:r>
              <a:rPr lang="de-DE" noProof="0" dirty="0"/>
              <a:t/>
            </a:r>
            <a:br>
              <a:rPr lang="de-DE" noProof="0" dirty="0"/>
            </a:br>
            <a:r>
              <a:rPr lang="de-DE" noProof="0" dirty="0"/>
              <a:t/>
            </a:r>
            <a:br>
              <a:rPr lang="de-DE" noProof="0" dirty="0"/>
            </a:br>
            <a:r>
              <a:rPr lang="de-DE" noProof="0" dirty="0"/>
              <a:t/>
            </a:r>
            <a:br>
              <a:rPr lang="de-DE" noProof="0" dirty="0"/>
            </a:br>
            <a:r>
              <a:rPr lang="de-DE" noProof="0" dirty="0"/>
              <a:t/>
            </a:r>
            <a:br>
              <a:rPr lang="de-DE" noProof="0" dirty="0"/>
            </a:br>
            <a:r>
              <a:rPr lang="de-DE" noProof="0" dirty="0"/>
              <a:t/>
            </a: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6" name="Titel 1"/>
          <p:cNvSpPr>
            <a:spLocks noGrp="1"/>
          </p:cNvSpPr>
          <p:nvPr>
            <p:ph type="ctrTitle" hasCustomPrompt="1"/>
          </p:nvPr>
        </p:nvSpPr>
        <p:spPr>
          <a:xfrm>
            <a:off x="628323" y="2045814"/>
            <a:ext cx="10932181" cy="1619625"/>
          </a:xfrm>
          <a:custGeom>
            <a:avLst/>
            <a:gdLst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75 w 10937875"/>
              <a:gd name="connsiteY2" fmla="*/ 1620000 h 1620000"/>
              <a:gd name="connsiteX3" fmla="*/ 0 w 10937875"/>
              <a:gd name="connsiteY3" fmla="*/ 1620000 h 1620000"/>
              <a:gd name="connsiteX4" fmla="*/ 0 w 10937875"/>
              <a:gd name="connsiteY4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75 w 10937875"/>
              <a:gd name="connsiteY2" fmla="*/ 1620000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10937875 w 10937875"/>
              <a:gd name="connsiteY3" fmla="*/ 1620000 h 1620000"/>
              <a:gd name="connsiteX4" fmla="*/ 6569541 w 10937875"/>
              <a:gd name="connsiteY4" fmla="*/ 1619979 h 1620000"/>
              <a:gd name="connsiteX5" fmla="*/ 0 w 10937875"/>
              <a:gd name="connsiteY5" fmla="*/ 1620000 h 1620000"/>
              <a:gd name="connsiteX6" fmla="*/ 0 w 10937875"/>
              <a:gd name="connsiteY6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937875" h="1620000">
                <a:moveTo>
                  <a:pt x="0" y="0"/>
                </a:moveTo>
                <a:lnTo>
                  <a:pt x="10937875" y="0"/>
                </a:lnTo>
                <a:cubicBezTo>
                  <a:pt x="10937870" y="414317"/>
                  <a:pt x="10937865" y="828635"/>
                  <a:pt x="10937860" y="1242952"/>
                </a:cubicBezTo>
                <a:lnTo>
                  <a:pt x="6569541" y="1619979"/>
                </a:lnTo>
                <a:lnTo>
                  <a:pt x="0" y="1620000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 anchor="t" anchorCtr="0">
            <a:noAutofit/>
          </a:bodyPr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Name des Vortragenden: CorpoS (Textkörper) 35 pt.</a:t>
            </a:r>
            <a:br>
              <a:rPr lang="de-DE" dirty="0"/>
            </a:br>
            <a:r>
              <a:rPr lang="de-DE" dirty="0"/>
              <a:t>Präsentationstitel in zwei oder drei </a:t>
            </a:r>
            <a:br>
              <a:rPr lang="de-DE" dirty="0"/>
            </a:br>
            <a:r>
              <a:rPr lang="de-DE" dirty="0"/>
              <a:t>Zeilen Text, </a:t>
            </a:r>
            <a:r>
              <a:rPr lang="de-DE" dirty="0" err="1"/>
              <a:t>dd</a:t>
            </a:r>
            <a:r>
              <a:rPr lang="de-DE" dirty="0"/>
              <a:t>. </a:t>
            </a:r>
            <a:r>
              <a:rPr lang="de-DE" dirty="0" err="1"/>
              <a:t>mmmm</a:t>
            </a:r>
            <a:r>
              <a:rPr lang="de-DE" dirty="0"/>
              <a:t> </a:t>
            </a:r>
            <a:r>
              <a:rPr lang="de-DE" dirty="0" err="1"/>
              <a:t>yyyy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771569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folie ohne Bürs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 noProof="0" dirty="0"/>
              <a:t>Headline für Agenda in CorpoS (Textkörper) 35 pt. </a:t>
            </a:r>
            <a:br>
              <a:rPr lang="de-DE" noProof="0" dirty="0"/>
            </a:br>
            <a:r>
              <a:rPr lang="de-DE" noProof="0" dirty="0"/>
              <a:t>in ein oder zwei Zeilen</a:t>
            </a:r>
            <a:endParaRPr lang="de-DE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28324" y="1504602"/>
            <a:ext cx="10932180" cy="4875670"/>
          </a:xfrm>
        </p:spPr>
        <p:txBody>
          <a:bodyPr/>
          <a:lstStyle>
            <a:lvl1pPr marL="359820" indent="-359820">
              <a:buSzPct val="100000"/>
              <a:buFont typeface="+mj-lt"/>
              <a:buAutoNum type="arabicPeriod"/>
              <a:defRPr baseline="0">
                <a:solidFill>
                  <a:schemeClr val="tx1"/>
                </a:solidFill>
              </a:defRPr>
            </a:lvl1pPr>
            <a:lvl2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2pPr>
            <a:lvl3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3pPr>
            <a:lvl4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4pPr>
            <a:lvl5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5pPr>
            <a:lvl6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6pPr>
            <a:lvl7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7pPr>
            <a:lvl8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8pPr>
            <a:lvl9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/>
              <a:t>Agenda Punkt einfüg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 </a:t>
            </a:r>
          </a:p>
          <a:p>
            <a:pPr lvl="3"/>
            <a:r>
              <a:rPr lang="de-DE" dirty="0"/>
              <a:t>Vierte Ebene </a:t>
            </a:r>
          </a:p>
          <a:p>
            <a:pPr lvl="4"/>
            <a:r>
              <a:rPr lang="de-DE" dirty="0"/>
              <a:t>Fünfte Ebene </a:t>
            </a:r>
          </a:p>
          <a:p>
            <a:pPr lvl="5"/>
            <a:r>
              <a:rPr lang="de-DE" dirty="0"/>
              <a:t>Sechste Ebene </a:t>
            </a:r>
          </a:p>
          <a:p>
            <a:pPr lvl="6"/>
            <a:r>
              <a:rPr lang="de-DE" dirty="0"/>
              <a:t>Siebte Ebene </a:t>
            </a:r>
          </a:p>
          <a:p>
            <a:pPr lvl="7"/>
            <a:r>
              <a:rPr lang="de-DE" dirty="0"/>
              <a:t>Achte Ebene </a:t>
            </a:r>
          </a:p>
          <a:p>
            <a:pPr lvl="8"/>
            <a:r>
              <a:rPr lang="de-DE" dirty="0"/>
              <a:t>Neunte Ebene 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DI-Lama Project Update | Phani Sarraju | 4.Sep.2018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DE" dirty="0">
                <a:solidFill>
                  <a:prstClr val="black"/>
                </a:solidFill>
              </a:rPr>
              <a:t>Seite </a:t>
            </a:r>
            <a:fld id="{52531704-8F80-415D-BD2B-6B9991AE822F}" type="slidenum">
              <a:rPr lang="de-DE" smtClean="0">
                <a:solidFill>
                  <a:prstClr val="black"/>
                </a:solidFill>
              </a:rPr>
              <a:pPr/>
              <a:t>‹#›</a:t>
            </a:fld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214321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smtClean="0">
                <a:solidFill>
                  <a:srgbClr val="000000"/>
                </a:solidFill>
              </a:rPr>
              <a:t>DI-Lama Project Update | Phani Sarraju | 4.Sep.2018</a:t>
            </a: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B69A7E8-C565-46EF-B2C2-0D5C00F1D6D8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2704536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line //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9671" y="285982"/>
            <a:ext cx="10931106" cy="683842"/>
          </a:xfrm>
        </p:spPr>
        <p:txBody>
          <a:bodyPr/>
          <a:lstStyle/>
          <a:p>
            <a:r>
              <a:rPr lang="de-DE" noProof="0" dirty="0"/>
              <a:t>Headline in </a:t>
            </a:r>
            <a:r>
              <a:rPr lang="de-DE" noProof="0" dirty="0" err="1"/>
              <a:t>CorpoS</a:t>
            </a:r>
            <a:r>
              <a:rPr lang="de-DE" noProof="0" dirty="0"/>
              <a:t> (Textkörper) 35 pt.</a:t>
            </a:r>
            <a:endParaRPr lang="de-DE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629671" y="1233203"/>
            <a:ext cx="10930832" cy="525463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de-DE" dirty="0"/>
              <a:t>Text oder Inhalt einfügen in </a:t>
            </a:r>
            <a:r>
              <a:rPr lang="de-DE" noProof="0" dirty="0"/>
              <a:t>CorpoS (Body) 24 pt. (mark-</a:t>
            </a:r>
            <a:r>
              <a:rPr lang="de-DE" noProof="0" dirty="0" err="1"/>
              <a:t>ups</a:t>
            </a:r>
            <a:r>
              <a:rPr lang="de-DE" noProof="0" dirty="0"/>
              <a:t> in Fett) </a:t>
            </a:r>
            <a:r>
              <a:rPr lang="de-DE" dirty="0"/>
              <a:t>// für Zusammenfassung oder kurzes Highlight: Start // Absatz // Listenebene erhöhen</a:t>
            </a:r>
          </a:p>
          <a:p>
            <a:pPr lvl="1"/>
            <a:r>
              <a:rPr lang="de-DE" dirty="0"/>
              <a:t>Zweite Ebene (Zusammenfassung oder kurzes Highlight)</a:t>
            </a:r>
          </a:p>
          <a:p>
            <a:pPr lvl="2"/>
            <a:r>
              <a:rPr lang="de-DE" dirty="0"/>
              <a:t>Dritte Ebene </a:t>
            </a:r>
          </a:p>
          <a:p>
            <a:pPr lvl="3"/>
            <a:r>
              <a:rPr lang="de-DE" dirty="0"/>
              <a:t>Vierte Ebene </a:t>
            </a:r>
          </a:p>
          <a:p>
            <a:pPr lvl="4"/>
            <a:r>
              <a:rPr lang="de-DE" dirty="0"/>
              <a:t>Fünfte Ebene </a:t>
            </a:r>
          </a:p>
          <a:p>
            <a:pPr lvl="5"/>
            <a:r>
              <a:rPr lang="de-DE" dirty="0"/>
              <a:t>Sechste Ebene </a:t>
            </a:r>
          </a:p>
          <a:p>
            <a:pPr lvl="6"/>
            <a:r>
              <a:rPr lang="de-DE" dirty="0"/>
              <a:t>Siebte Ebene </a:t>
            </a:r>
          </a:p>
          <a:p>
            <a:pPr lvl="7"/>
            <a:r>
              <a:rPr lang="de-DE" dirty="0"/>
              <a:t>Achte Ebene </a:t>
            </a:r>
          </a:p>
          <a:p>
            <a:pPr lvl="8"/>
            <a:r>
              <a:rPr lang="de-DE" dirty="0"/>
              <a:t>Neunte Ebene 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DI-Lama Project Update | Phani Sarraju | 4.Sep.2018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DE" dirty="0">
                <a:solidFill>
                  <a:prstClr val="black"/>
                </a:solidFill>
              </a:rPr>
              <a:t>Seite </a:t>
            </a:r>
            <a:fld id="{52531704-8F80-415D-BD2B-6B9991AE822F}" type="slidenum">
              <a:rPr lang="de-DE" smtClean="0">
                <a:solidFill>
                  <a:prstClr val="black"/>
                </a:solidFill>
              </a:rPr>
              <a:pPr/>
              <a:t>‹#›</a:t>
            </a:fld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634170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ima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 bwMode="auto">
          <a:xfrm>
            <a:off x="-2380" y="3429000"/>
            <a:ext cx="12192830" cy="3429000"/>
          </a:xfrm>
          <a:custGeom>
            <a:avLst/>
            <a:gdLst>
              <a:gd name="connsiteX0" fmla="*/ 0 w 12196799"/>
              <a:gd name="connsiteY0" fmla="*/ 0 h 3429794"/>
              <a:gd name="connsiteX1" fmla="*/ 12196799 w 12196799"/>
              <a:gd name="connsiteY1" fmla="*/ 0 h 3429794"/>
              <a:gd name="connsiteX2" fmla="*/ 12196799 w 12196799"/>
              <a:gd name="connsiteY2" fmla="*/ 3429794 h 3429794"/>
              <a:gd name="connsiteX3" fmla="*/ 0 w 12196799"/>
              <a:gd name="connsiteY3" fmla="*/ 3429794 h 3429794"/>
              <a:gd name="connsiteX4" fmla="*/ 0 w 12196799"/>
              <a:gd name="connsiteY4" fmla="*/ 0 h 3429794"/>
              <a:gd name="connsiteX0" fmla="*/ 2381 w 12199180"/>
              <a:gd name="connsiteY0" fmla="*/ 0 h 3429794"/>
              <a:gd name="connsiteX1" fmla="*/ 12199180 w 12199180"/>
              <a:gd name="connsiteY1" fmla="*/ 0 h 3429794"/>
              <a:gd name="connsiteX2" fmla="*/ 12199180 w 12199180"/>
              <a:gd name="connsiteY2" fmla="*/ 3429794 h 3429794"/>
              <a:gd name="connsiteX3" fmla="*/ 2381 w 12199180"/>
              <a:gd name="connsiteY3" fmla="*/ 3429794 h 3429794"/>
              <a:gd name="connsiteX4" fmla="*/ 0 w 12199180"/>
              <a:gd name="connsiteY4" fmla="*/ 1070769 h 3429794"/>
              <a:gd name="connsiteX5" fmla="*/ 2381 w 12199180"/>
              <a:gd name="connsiteY5" fmla="*/ 0 h 3429794"/>
              <a:gd name="connsiteX0" fmla="*/ 0 w 12199180"/>
              <a:gd name="connsiteY0" fmla="*/ 1167730 h 3526755"/>
              <a:gd name="connsiteX1" fmla="*/ 12199180 w 12199180"/>
              <a:gd name="connsiteY1" fmla="*/ 96961 h 3526755"/>
              <a:gd name="connsiteX2" fmla="*/ 12199180 w 12199180"/>
              <a:gd name="connsiteY2" fmla="*/ 3526755 h 3526755"/>
              <a:gd name="connsiteX3" fmla="*/ 2381 w 12199180"/>
              <a:gd name="connsiteY3" fmla="*/ 3526755 h 3526755"/>
              <a:gd name="connsiteX4" fmla="*/ 0 w 12199180"/>
              <a:gd name="connsiteY4" fmla="*/ 1167730 h 3526755"/>
              <a:gd name="connsiteX0" fmla="*/ 0 w 12199180"/>
              <a:gd name="connsiteY0" fmla="*/ 1070769 h 3429794"/>
              <a:gd name="connsiteX1" fmla="*/ 12199180 w 12199180"/>
              <a:gd name="connsiteY1" fmla="*/ 0 h 3429794"/>
              <a:gd name="connsiteX2" fmla="*/ 12199180 w 12199180"/>
              <a:gd name="connsiteY2" fmla="*/ 3429794 h 3429794"/>
              <a:gd name="connsiteX3" fmla="*/ 2381 w 12199180"/>
              <a:gd name="connsiteY3" fmla="*/ 3429794 h 3429794"/>
              <a:gd name="connsiteX4" fmla="*/ 0 w 12199180"/>
              <a:gd name="connsiteY4" fmla="*/ 1070769 h 34297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9180" h="3429794">
                <a:moveTo>
                  <a:pt x="0" y="1070769"/>
                </a:moveTo>
                <a:lnTo>
                  <a:pt x="12199180" y="0"/>
                </a:lnTo>
                <a:lnTo>
                  <a:pt x="12199180" y="3429794"/>
                </a:lnTo>
                <a:lnTo>
                  <a:pt x="2381" y="3429794"/>
                </a:lnTo>
                <a:cubicBezTo>
                  <a:pt x="1587" y="2643452"/>
                  <a:pt x="794" y="1857111"/>
                  <a:pt x="0" y="1070769"/>
                </a:cubicBezTo>
                <a:close/>
              </a:path>
            </a:pathLst>
          </a:custGeom>
          <a:noFill/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28323" y="2045815"/>
            <a:ext cx="10932181" cy="1619625"/>
          </a:xfrm>
          <a:custGeom>
            <a:avLst/>
            <a:gdLst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75 w 10937875"/>
              <a:gd name="connsiteY2" fmla="*/ 1620000 h 1620000"/>
              <a:gd name="connsiteX3" fmla="*/ 0 w 10937875"/>
              <a:gd name="connsiteY3" fmla="*/ 1620000 h 1620000"/>
              <a:gd name="connsiteX4" fmla="*/ 0 w 10937875"/>
              <a:gd name="connsiteY4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75 w 10937875"/>
              <a:gd name="connsiteY2" fmla="*/ 1620000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10937875 w 10937875"/>
              <a:gd name="connsiteY3" fmla="*/ 1620000 h 1620000"/>
              <a:gd name="connsiteX4" fmla="*/ 6569541 w 10937875"/>
              <a:gd name="connsiteY4" fmla="*/ 1619979 h 1620000"/>
              <a:gd name="connsiteX5" fmla="*/ 0 w 10937875"/>
              <a:gd name="connsiteY5" fmla="*/ 1620000 h 1620000"/>
              <a:gd name="connsiteX6" fmla="*/ 0 w 10937875"/>
              <a:gd name="connsiteY6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937875" h="1620000">
                <a:moveTo>
                  <a:pt x="0" y="0"/>
                </a:moveTo>
                <a:lnTo>
                  <a:pt x="10937875" y="0"/>
                </a:lnTo>
                <a:cubicBezTo>
                  <a:pt x="10937870" y="414317"/>
                  <a:pt x="10937865" y="828635"/>
                  <a:pt x="10937860" y="1242952"/>
                </a:cubicBezTo>
                <a:lnTo>
                  <a:pt x="6569541" y="1619979"/>
                </a:lnTo>
                <a:lnTo>
                  <a:pt x="0" y="1620000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 anchor="t" anchorCtr="0">
            <a:noAutofit/>
          </a:bodyPr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Referent’s name: </a:t>
            </a:r>
            <a:r>
              <a:rPr lang="en-GB" noProof="0" dirty="0" smtClean="0"/>
              <a:t>CorpoS </a:t>
            </a:r>
            <a:r>
              <a:rPr lang="en-GB" dirty="0" smtClean="0"/>
              <a:t>(Body) 35 pt.</a:t>
            </a:r>
            <a:br>
              <a:rPr lang="en-GB" dirty="0" smtClean="0"/>
            </a:br>
            <a:r>
              <a:rPr lang="en-GB" dirty="0" smtClean="0"/>
              <a:t>Presentation title in two or three </a:t>
            </a:r>
            <a:br>
              <a:rPr lang="en-GB" dirty="0" smtClean="0"/>
            </a:br>
            <a:r>
              <a:rPr lang="en-GB" dirty="0" smtClean="0"/>
              <a:t>lines of text, dd. </a:t>
            </a:r>
            <a:r>
              <a:rPr lang="en-GB" dirty="0" err="1" smtClean="0"/>
              <a:t>mmmm</a:t>
            </a:r>
            <a:r>
              <a:rPr lang="en-GB" dirty="0" smtClean="0"/>
              <a:t> </a:t>
            </a:r>
            <a:r>
              <a:rPr lang="en-GB" dirty="0" err="1" smtClean="0"/>
              <a:t>yyyy</a:t>
            </a:r>
            <a:endParaRPr lang="en-GB" dirty="0"/>
          </a:p>
        </p:txBody>
      </p:sp>
      <p:pic>
        <p:nvPicPr>
          <p:cNvPr id="30" name="Wortmarke DAIMLER" descr="Daimler_RGB_100mm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673" y="790854"/>
            <a:ext cx="3418220" cy="462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60042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289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line 2 lines //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Headline in CorpoS (Body) 35 pt.</a:t>
            </a:r>
            <a:br>
              <a:rPr lang="en-GB" noProof="0" dirty="0" smtClean="0"/>
            </a:br>
            <a:r>
              <a:rPr lang="en-GB" noProof="0" dirty="0" smtClean="0"/>
              <a:t>in two lines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dirty="0" smtClean="0"/>
              <a:t>Page </a:t>
            </a:r>
            <a:fld id="{52531704-8F80-415D-BD2B-6B9991AE822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629911" y="1504601"/>
            <a:ext cx="5465538" cy="4876871"/>
          </a:xfrm>
        </p:spPr>
        <p:txBody>
          <a:bodyPr/>
          <a:lstStyle>
            <a:lvl1pPr marL="197865" indent="-197865">
              <a:defRPr baseline="0"/>
            </a:lvl1pPr>
            <a:lvl2pPr marL="467992" indent="-252241">
              <a:defRPr/>
            </a:lvl2pPr>
            <a:lvl3pPr marL="663121" indent="-180852">
              <a:defRPr/>
            </a:lvl3pPr>
            <a:lvl4pPr marL="875701" indent="-223685">
              <a:defRPr/>
            </a:lvl4pPr>
            <a:lvl5pPr marL="1043861" indent="-152296">
              <a:defRPr/>
            </a:lvl5pPr>
          </a:lstStyle>
          <a:p>
            <a:pPr lvl="0"/>
            <a:r>
              <a:rPr lang="en-GB" noProof="0" dirty="0" smtClean="0"/>
              <a:t>Insert content or text in </a:t>
            </a:r>
            <a:r>
              <a:rPr lang="en-GB" noProof="0" dirty="0" err="1" smtClean="0"/>
              <a:t>Corpo</a:t>
            </a:r>
            <a:r>
              <a:rPr lang="en-GB" noProof="0" dirty="0" smtClean="0"/>
              <a:t> S (Body) 24 pt. (Mark-ups in Bold) // for conclusion, summary or short highlight: Home // Paragraph// Increase List Level</a:t>
            </a:r>
          </a:p>
          <a:p>
            <a:pPr lvl="1"/>
            <a:r>
              <a:rPr lang="en-GB" noProof="0" dirty="0" smtClean="0"/>
              <a:t>Second level (Conclusion, summary or short highlight)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</a:p>
        </p:txBody>
      </p:sp>
      <p:sp>
        <p:nvSpPr>
          <p:cNvPr id="19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78500" y="6564880"/>
            <a:ext cx="8120970" cy="215949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r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199">
                <a:latin typeface="+mn-lt"/>
              </a:defRPr>
            </a:lvl2pPr>
            <a:lvl3pPr marL="0" indent="0" algn="r">
              <a:spcBef>
                <a:spcPts val="0"/>
              </a:spcBef>
              <a:defRPr sz="1199">
                <a:latin typeface="+mn-lt"/>
              </a:defRPr>
            </a:lvl3pPr>
            <a:lvl4pPr marL="0" indent="0" algn="r">
              <a:spcBef>
                <a:spcPts val="0"/>
              </a:spcBef>
              <a:defRPr sz="1199">
                <a:latin typeface="+mn-lt"/>
              </a:defRPr>
            </a:lvl4pPr>
            <a:lvl5pPr marL="0" indent="0" algn="r">
              <a:spcBef>
                <a:spcPts val="0"/>
              </a:spcBef>
              <a:defRPr sz="1199">
                <a:latin typeface="+mn-lt"/>
              </a:defRPr>
            </a:lvl5pPr>
            <a:lvl6pPr marL="0" indent="0" algn="r">
              <a:spcBef>
                <a:spcPts val="0"/>
              </a:spcBef>
              <a:defRPr sz="1199">
                <a:latin typeface="+mn-lt"/>
              </a:defRPr>
            </a:lvl6pPr>
            <a:lvl7pPr marL="0" indent="0" algn="r">
              <a:spcBef>
                <a:spcPts val="0"/>
              </a:spcBef>
              <a:defRPr sz="1199">
                <a:latin typeface="+mn-lt"/>
              </a:defRPr>
            </a:lvl7pPr>
            <a:lvl8pPr marL="0" indent="0" algn="r">
              <a:spcBef>
                <a:spcPts val="0"/>
              </a:spcBef>
              <a:defRPr sz="1199">
                <a:latin typeface="+mn-lt"/>
              </a:defRPr>
            </a:lvl8pPr>
            <a:lvl9pPr marL="0" indent="0" algn="r">
              <a:spcBef>
                <a:spcPts val="0"/>
              </a:spcBef>
              <a:defRPr sz="1199">
                <a:latin typeface="+mn-lt"/>
              </a:defRPr>
            </a:lvl9pPr>
          </a:lstStyle>
          <a:p>
            <a:r>
              <a:rPr lang="en-US" smtClean="0"/>
              <a:t>DI-Lama Project Update | Phani Sarraju | 4.Sep.2018</a:t>
            </a:r>
            <a:endParaRPr lang="en-GB" dirty="0" smtClean="0"/>
          </a:p>
        </p:txBody>
      </p:sp>
    </p:spTree>
    <p:extLst>
      <p:ext uri="{BB962C8B-B14F-4D97-AF65-F5344CB8AC3E}">
        <p14:creationId xmlns:p14="http://schemas.microsoft.com/office/powerpoint/2010/main" val="381630059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  <p15:guide id="3" orient="horz" pos="950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Headline 2 lines //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Headline in CorpoS (Body) 35 pt.</a:t>
            </a:r>
            <a:br>
              <a:rPr lang="en-GB" noProof="0" dirty="0" smtClean="0"/>
            </a:br>
            <a:r>
              <a:rPr lang="en-GB" noProof="0" dirty="0" smtClean="0"/>
              <a:t>in two lines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dirty="0" smtClean="0"/>
              <a:t>Page </a:t>
            </a:r>
            <a:fld id="{52531704-8F80-415D-BD2B-6B9991AE822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629910" y="1504601"/>
            <a:ext cx="10930870" cy="4876871"/>
          </a:xfrm>
        </p:spPr>
        <p:txBody>
          <a:bodyPr/>
          <a:lstStyle>
            <a:lvl1pPr marL="197865" indent="-197865">
              <a:defRPr baseline="0"/>
            </a:lvl1pPr>
            <a:lvl2pPr marL="467992" indent="-252241">
              <a:defRPr/>
            </a:lvl2pPr>
            <a:lvl3pPr marL="663121" indent="-180852">
              <a:defRPr/>
            </a:lvl3pPr>
            <a:lvl4pPr marL="875701" indent="-223685">
              <a:defRPr/>
            </a:lvl4pPr>
            <a:lvl5pPr marL="1043861" indent="-152296">
              <a:defRPr/>
            </a:lvl5pPr>
          </a:lstStyle>
          <a:p>
            <a:pPr lvl="0"/>
            <a:r>
              <a:rPr lang="en-GB" noProof="0" dirty="0" smtClean="0"/>
              <a:t>Insert content or text in </a:t>
            </a:r>
            <a:r>
              <a:rPr lang="en-GB" noProof="0" dirty="0" err="1" smtClean="0"/>
              <a:t>Corpo</a:t>
            </a:r>
            <a:r>
              <a:rPr lang="en-GB" noProof="0" dirty="0" smtClean="0"/>
              <a:t> S (Body) 24 pt. (Mark-ups in Bold) // for conclusion, summary or short highlight: Home // Paragraph// Increase List Level</a:t>
            </a:r>
          </a:p>
          <a:p>
            <a:pPr lvl="1"/>
            <a:r>
              <a:rPr lang="en-GB" noProof="0" dirty="0" smtClean="0"/>
              <a:t>Second level (Conclusion, summary or short highlight)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</a:p>
        </p:txBody>
      </p:sp>
      <p:sp>
        <p:nvSpPr>
          <p:cNvPr id="19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78500" y="6564880"/>
            <a:ext cx="8120970" cy="215949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r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199">
                <a:latin typeface="+mn-lt"/>
              </a:defRPr>
            </a:lvl2pPr>
            <a:lvl3pPr marL="0" indent="0" algn="r">
              <a:spcBef>
                <a:spcPts val="0"/>
              </a:spcBef>
              <a:defRPr sz="1199">
                <a:latin typeface="+mn-lt"/>
              </a:defRPr>
            </a:lvl3pPr>
            <a:lvl4pPr marL="0" indent="0" algn="r">
              <a:spcBef>
                <a:spcPts val="0"/>
              </a:spcBef>
              <a:defRPr sz="1199">
                <a:latin typeface="+mn-lt"/>
              </a:defRPr>
            </a:lvl4pPr>
            <a:lvl5pPr marL="0" indent="0" algn="r">
              <a:spcBef>
                <a:spcPts val="0"/>
              </a:spcBef>
              <a:defRPr sz="1199">
                <a:latin typeface="+mn-lt"/>
              </a:defRPr>
            </a:lvl5pPr>
            <a:lvl6pPr marL="0" indent="0" algn="r">
              <a:spcBef>
                <a:spcPts val="0"/>
              </a:spcBef>
              <a:defRPr sz="1199">
                <a:latin typeface="+mn-lt"/>
              </a:defRPr>
            </a:lvl6pPr>
            <a:lvl7pPr marL="0" indent="0" algn="r">
              <a:spcBef>
                <a:spcPts val="0"/>
              </a:spcBef>
              <a:defRPr sz="1199">
                <a:latin typeface="+mn-lt"/>
              </a:defRPr>
            </a:lvl7pPr>
            <a:lvl8pPr marL="0" indent="0" algn="r">
              <a:spcBef>
                <a:spcPts val="0"/>
              </a:spcBef>
              <a:defRPr sz="1199">
                <a:latin typeface="+mn-lt"/>
              </a:defRPr>
            </a:lvl8pPr>
            <a:lvl9pPr marL="0" indent="0" algn="r">
              <a:spcBef>
                <a:spcPts val="0"/>
              </a:spcBef>
              <a:defRPr sz="1199">
                <a:latin typeface="+mn-lt"/>
              </a:defRPr>
            </a:lvl9pPr>
          </a:lstStyle>
          <a:p>
            <a:r>
              <a:rPr lang="en-US" smtClean="0"/>
              <a:t>DI-Lama Project Update | Phani Sarraju | 4.Sep.2018</a:t>
            </a:r>
            <a:endParaRPr lang="en-GB" dirty="0" smtClean="0"/>
          </a:p>
        </p:txBody>
      </p:sp>
    </p:spTree>
    <p:extLst>
      <p:ext uri="{BB962C8B-B14F-4D97-AF65-F5344CB8AC3E}">
        <p14:creationId xmlns:p14="http://schemas.microsoft.com/office/powerpoint/2010/main" val="268692173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  <p15:guide id="3" orient="horz" pos="95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ext/ image brushing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Regieanweisungen"/>
          <p:cNvGrpSpPr/>
          <p:nvPr/>
        </p:nvGrpSpPr>
        <p:grpSpPr>
          <a:xfrm>
            <a:off x="-2086913" y="-467892"/>
            <a:ext cx="13647691" cy="7792196"/>
            <a:chOff x="-2088000" y="-468000"/>
            <a:chExt cx="13654799" cy="7794000"/>
          </a:xfrm>
        </p:grpSpPr>
        <p:sp>
          <p:nvSpPr>
            <p:cNvPr id="19" name="Hilfslinien"/>
            <p:cNvSpPr txBox="1"/>
            <p:nvPr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99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how guides via menu bar: View // Show // tick Guides</a:t>
              </a:r>
            </a:p>
          </p:txBody>
        </p:sp>
        <p:sp>
          <p:nvSpPr>
            <p:cNvPr id="20" name="Fußzeile"/>
            <p:cNvSpPr txBox="1"/>
            <p:nvPr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1042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099" b="0" baseline="0" dirty="0" smtClean="0">
                  <a:solidFill>
                    <a:schemeClr val="accent5"/>
                  </a:solidFill>
                  <a:latin typeface="+mn-lt"/>
                </a:rPr>
                <a:t>Adjust footer (per slide or for several/all slides) via menu bar: Insert // Text // Header &amp; Footer</a:t>
              </a:r>
            </a:p>
          </p:txBody>
        </p:sp>
        <p:grpSp>
          <p:nvGrpSpPr>
            <p:cNvPr id="21" name="Hinweise links"/>
            <p:cNvGrpSpPr/>
            <p:nvPr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22" name="Folie Wechsel/Zurücksetzen/Textebenen"/>
              <p:cNvSpPr txBox="1"/>
              <p:nvPr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Reset the slide back to its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original form 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Slides // Rese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099" b="0" baseline="0" noProof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Change the slide layout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Slides // Layou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099" b="0" baseline="0" noProof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Change the text level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via menu bar: </a:t>
                </a:r>
                <a:b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</a:b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Paragraph // Increase/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Decrease List Level</a:t>
                </a:r>
              </a:p>
            </p:txBody>
          </p:sp>
          <p:grpSp>
            <p:nvGrpSpPr>
              <p:cNvPr id="23" name="Listenebenen"/>
              <p:cNvGrpSpPr/>
              <p:nvPr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24" name="Text // Listenebene erhöhen"/>
                <p:cNvSpPr txBox="1"/>
                <p:nvPr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38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999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Increase</a:t>
                  </a:r>
                </a:p>
                <a:p>
                  <a:pPr marL="0" marR="0" lvl="0" indent="0" algn="r" defTabSz="9138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999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sp>
              <p:nvSpPr>
                <p:cNvPr id="37" name="Text // Listenebene verringern"/>
                <p:cNvSpPr txBox="1"/>
                <p:nvPr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38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999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Decrease </a:t>
                  </a:r>
                </a:p>
                <a:p>
                  <a:pPr marL="0" marR="0" lvl="0" indent="0" algn="r" defTabSz="9138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999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pic>
              <p:nvPicPr>
                <p:cNvPr id="38" name="Listenebene erhöhen"/>
                <p:cNvPicPr>
                  <a:picLocks noChangeAspect="1"/>
                </p:cNvPicPr>
                <p:nvPr/>
              </p:nvPicPr>
              <p:blipFill>
                <a:blip r:embed="rId2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39" name="Listenebene verringern"/>
                <p:cNvPicPr>
                  <a:picLocks noChangeAspect="1"/>
                </p:cNvPicPr>
                <p:nvPr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pic>
        <p:nvPicPr>
          <p:cNvPr id="36" name="Buerstung O_S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white">
          <a:xfrm>
            <a:off x="0" y="-1"/>
            <a:ext cx="12190451" cy="6487839"/>
          </a:xfrm>
          <a:prstGeom prst="rect">
            <a:avLst/>
          </a:prstGeom>
        </p:spPr>
      </p:pic>
      <p:sp>
        <p:nvSpPr>
          <p:cNvPr id="25" name="Daimler AG (Wortmarke)"/>
          <p:cNvSpPr>
            <a:spLocks noChangeArrowheads="1"/>
          </p:cNvSpPr>
          <p:nvPr/>
        </p:nvSpPr>
        <p:spPr bwMode="auto">
          <a:xfrm>
            <a:off x="629672" y="6564880"/>
            <a:ext cx="2086913" cy="2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r>
              <a:rPr lang="en-GB" sz="1199" dirty="0" smtClean="0">
                <a:latin typeface="+mn-lt"/>
                <a:cs typeface="Daimler CS"/>
              </a:rPr>
              <a:t>Daimler AG</a:t>
            </a:r>
            <a:endParaRPr lang="en-GB" sz="1199" dirty="0">
              <a:latin typeface="+mn-lt"/>
              <a:cs typeface="Daimler CS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116" y="288857"/>
            <a:ext cx="10930662" cy="1151733"/>
          </a:xfrm>
          <a:custGeom>
            <a:avLst/>
            <a:gdLst>
              <a:gd name="connsiteX0" fmla="*/ 0 w 10936355"/>
              <a:gd name="connsiteY0" fmla="*/ 0 h 1152000"/>
              <a:gd name="connsiteX1" fmla="*/ 10936355 w 10936355"/>
              <a:gd name="connsiteY1" fmla="*/ 0 h 1152000"/>
              <a:gd name="connsiteX2" fmla="*/ 10936355 w 10936355"/>
              <a:gd name="connsiteY2" fmla="*/ 1152000 h 1152000"/>
              <a:gd name="connsiteX3" fmla="*/ 0 w 10936355"/>
              <a:gd name="connsiteY3" fmla="*/ 1152000 h 1152000"/>
              <a:gd name="connsiteX4" fmla="*/ 0 w 10936355"/>
              <a:gd name="connsiteY4" fmla="*/ 0 h 1152000"/>
              <a:gd name="connsiteX0" fmla="*/ 0 w 10936355"/>
              <a:gd name="connsiteY0" fmla="*/ 0 h 1152000"/>
              <a:gd name="connsiteX1" fmla="*/ 10936355 w 10936355"/>
              <a:gd name="connsiteY1" fmla="*/ 0 h 1152000"/>
              <a:gd name="connsiteX2" fmla="*/ 10932906 w 10936355"/>
              <a:gd name="connsiteY2" fmla="*/ 695326 h 1152000"/>
              <a:gd name="connsiteX3" fmla="*/ 10936355 w 10936355"/>
              <a:gd name="connsiteY3" fmla="*/ 1152000 h 1152000"/>
              <a:gd name="connsiteX4" fmla="*/ 0 w 10936355"/>
              <a:gd name="connsiteY4" fmla="*/ 1152000 h 1152000"/>
              <a:gd name="connsiteX5" fmla="*/ 0 w 10936355"/>
              <a:gd name="connsiteY5" fmla="*/ 0 h 1152000"/>
              <a:gd name="connsiteX0" fmla="*/ 0 w 10936355"/>
              <a:gd name="connsiteY0" fmla="*/ 0 h 1152000"/>
              <a:gd name="connsiteX1" fmla="*/ 10936355 w 10936355"/>
              <a:gd name="connsiteY1" fmla="*/ 0 h 1152000"/>
              <a:gd name="connsiteX2" fmla="*/ 10932906 w 10936355"/>
              <a:gd name="connsiteY2" fmla="*/ 695326 h 1152000"/>
              <a:gd name="connsiteX3" fmla="*/ 10936355 w 10936355"/>
              <a:gd name="connsiteY3" fmla="*/ 1152000 h 1152000"/>
              <a:gd name="connsiteX4" fmla="*/ 4948164 w 10936355"/>
              <a:gd name="connsiteY4" fmla="*/ 1147990 h 1152000"/>
              <a:gd name="connsiteX5" fmla="*/ 0 w 10936355"/>
              <a:gd name="connsiteY5" fmla="*/ 1152000 h 1152000"/>
              <a:gd name="connsiteX6" fmla="*/ 0 w 10936355"/>
              <a:gd name="connsiteY6" fmla="*/ 0 h 1152000"/>
              <a:gd name="connsiteX0" fmla="*/ 0 w 10936355"/>
              <a:gd name="connsiteY0" fmla="*/ 0 h 1152000"/>
              <a:gd name="connsiteX1" fmla="*/ 10936355 w 10936355"/>
              <a:gd name="connsiteY1" fmla="*/ 0 h 1152000"/>
              <a:gd name="connsiteX2" fmla="*/ 10932906 w 10936355"/>
              <a:gd name="connsiteY2" fmla="*/ 695326 h 1152000"/>
              <a:gd name="connsiteX3" fmla="*/ 4948164 w 10936355"/>
              <a:gd name="connsiteY3" fmla="*/ 1147990 h 1152000"/>
              <a:gd name="connsiteX4" fmla="*/ 0 w 10936355"/>
              <a:gd name="connsiteY4" fmla="*/ 1152000 h 1152000"/>
              <a:gd name="connsiteX5" fmla="*/ 0 w 10936355"/>
              <a:gd name="connsiteY5" fmla="*/ 0 h 1152000"/>
              <a:gd name="connsiteX0" fmla="*/ 0 w 10936355"/>
              <a:gd name="connsiteY0" fmla="*/ 0 h 1152000"/>
              <a:gd name="connsiteX1" fmla="*/ 10936355 w 10936355"/>
              <a:gd name="connsiteY1" fmla="*/ 0 h 1152000"/>
              <a:gd name="connsiteX2" fmla="*/ 10932906 w 10936355"/>
              <a:gd name="connsiteY2" fmla="*/ 695326 h 1152000"/>
              <a:gd name="connsiteX3" fmla="*/ 4948164 w 10936355"/>
              <a:gd name="connsiteY3" fmla="*/ 1147990 h 1152000"/>
              <a:gd name="connsiteX4" fmla="*/ 0 w 10936355"/>
              <a:gd name="connsiteY4" fmla="*/ 1152000 h 1152000"/>
              <a:gd name="connsiteX5" fmla="*/ 0 w 10936355"/>
              <a:gd name="connsiteY5" fmla="*/ 0 h 115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936355" h="1152000">
                <a:moveTo>
                  <a:pt x="0" y="0"/>
                </a:moveTo>
                <a:lnTo>
                  <a:pt x="10936355" y="0"/>
                </a:lnTo>
                <a:cubicBezTo>
                  <a:pt x="10935205" y="231775"/>
                  <a:pt x="10934056" y="463551"/>
                  <a:pt x="10932906" y="695326"/>
                </a:cubicBezTo>
                <a:lnTo>
                  <a:pt x="4948164" y="1147990"/>
                </a:lnTo>
                <a:lnTo>
                  <a:pt x="0" y="1152000"/>
                </a:lnTo>
                <a:lnTo>
                  <a:pt x="0" y="0"/>
                </a:lnTo>
                <a:close/>
              </a:path>
            </a:pathLst>
          </a:custGeo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Image-chart, Headline </a:t>
            </a:r>
            <a:r>
              <a:rPr lang="en-GB" noProof="0" dirty="0" smtClean="0"/>
              <a:t>CorpoS </a:t>
            </a:r>
            <a:r>
              <a:rPr lang="en-GB" dirty="0" smtClean="0"/>
              <a:t>(Body) 35 pt. </a:t>
            </a:r>
            <a:br>
              <a:rPr lang="en-GB" dirty="0" smtClean="0"/>
            </a:br>
            <a:r>
              <a:rPr lang="en-GB" dirty="0" smtClean="0"/>
              <a:t>in two lines of text</a:t>
            </a:r>
            <a:endParaRPr lang="en-GB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178478-C14F-4056-BC7B-D4A0322B8D6E}" type="slidenum">
              <a:rPr lang="en-US" smtClean="0"/>
              <a:t>‹#›</a:t>
            </a:fld>
            <a:endParaRPr lang="en-US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149011"/>
            <a:ext cx="12190451" cy="5337600"/>
          </a:xfrm>
          <a:custGeom>
            <a:avLst/>
            <a:gdLst>
              <a:gd name="connsiteX0" fmla="*/ 0 w 12196800"/>
              <a:gd name="connsiteY0" fmla="*/ 0 h 5338836"/>
              <a:gd name="connsiteX1" fmla="*/ 12196800 w 12196800"/>
              <a:gd name="connsiteY1" fmla="*/ 0 h 5338836"/>
              <a:gd name="connsiteX2" fmla="*/ 12196800 w 12196800"/>
              <a:gd name="connsiteY2" fmla="*/ 5338836 h 5338836"/>
              <a:gd name="connsiteX3" fmla="*/ 0 w 12196800"/>
              <a:gd name="connsiteY3" fmla="*/ 5338836 h 5338836"/>
              <a:gd name="connsiteX4" fmla="*/ 0 w 12196800"/>
              <a:gd name="connsiteY4" fmla="*/ 0 h 5338836"/>
              <a:gd name="connsiteX0" fmla="*/ 0 w 12196800"/>
              <a:gd name="connsiteY0" fmla="*/ 0 h 5338836"/>
              <a:gd name="connsiteX1" fmla="*/ 12196800 w 12196800"/>
              <a:gd name="connsiteY1" fmla="*/ 0 h 5338836"/>
              <a:gd name="connsiteX2" fmla="*/ 12196800 w 12196800"/>
              <a:gd name="connsiteY2" fmla="*/ 5338836 h 5338836"/>
              <a:gd name="connsiteX3" fmla="*/ 0 w 12196800"/>
              <a:gd name="connsiteY3" fmla="*/ 5338836 h 5338836"/>
              <a:gd name="connsiteX4" fmla="*/ 0 w 12196800"/>
              <a:gd name="connsiteY4" fmla="*/ 1067667 h 5338836"/>
              <a:gd name="connsiteX5" fmla="*/ 0 w 12196800"/>
              <a:gd name="connsiteY5" fmla="*/ 0 h 5338836"/>
              <a:gd name="connsiteX0" fmla="*/ 0 w 12196800"/>
              <a:gd name="connsiteY0" fmla="*/ 1067667 h 5338836"/>
              <a:gd name="connsiteX1" fmla="*/ 12196800 w 12196800"/>
              <a:gd name="connsiteY1" fmla="*/ 0 h 5338836"/>
              <a:gd name="connsiteX2" fmla="*/ 12196800 w 12196800"/>
              <a:gd name="connsiteY2" fmla="*/ 5338836 h 5338836"/>
              <a:gd name="connsiteX3" fmla="*/ 0 w 12196800"/>
              <a:gd name="connsiteY3" fmla="*/ 5338836 h 5338836"/>
              <a:gd name="connsiteX4" fmla="*/ 0 w 12196800"/>
              <a:gd name="connsiteY4" fmla="*/ 1067667 h 53388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6800" h="5338836">
                <a:moveTo>
                  <a:pt x="0" y="1067667"/>
                </a:moveTo>
                <a:lnTo>
                  <a:pt x="12196800" y="0"/>
                </a:lnTo>
                <a:lnTo>
                  <a:pt x="12196800" y="5338836"/>
                </a:lnTo>
                <a:lnTo>
                  <a:pt x="0" y="5338836"/>
                </a:lnTo>
                <a:lnTo>
                  <a:pt x="0" y="1067667"/>
                </a:lnTo>
                <a:close/>
              </a:path>
            </a:pathLst>
          </a:custGeom>
          <a:noFill/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4620310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88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line 2 lines //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Headline in CorpoS (Body) 35 pt.</a:t>
            </a:r>
            <a:br>
              <a:rPr lang="en-GB" noProof="0" dirty="0" smtClean="0"/>
            </a:br>
            <a:r>
              <a:rPr lang="en-GB" noProof="0" dirty="0" smtClean="0"/>
              <a:t>in two lines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dirty="0" smtClean="0"/>
              <a:t>Page </a:t>
            </a:r>
            <a:fld id="{52531704-8F80-415D-BD2B-6B9991AE822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9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78500" y="6564880"/>
            <a:ext cx="8120970" cy="215949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r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199">
                <a:latin typeface="+mn-lt"/>
              </a:defRPr>
            </a:lvl2pPr>
            <a:lvl3pPr marL="0" indent="0" algn="r">
              <a:spcBef>
                <a:spcPts val="0"/>
              </a:spcBef>
              <a:defRPr sz="1199">
                <a:latin typeface="+mn-lt"/>
              </a:defRPr>
            </a:lvl3pPr>
            <a:lvl4pPr marL="0" indent="0" algn="r">
              <a:spcBef>
                <a:spcPts val="0"/>
              </a:spcBef>
              <a:defRPr sz="1199">
                <a:latin typeface="+mn-lt"/>
              </a:defRPr>
            </a:lvl4pPr>
            <a:lvl5pPr marL="0" indent="0" algn="r">
              <a:spcBef>
                <a:spcPts val="0"/>
              </a:spcBef>
              <a:defRPr sz="1199">
                <a:latin typeface="+mn-lt"/>
              </a:defRPr>
            </a:lvl5pPr>
            <a:lvl6pPr marL="0" indent="0" algn="r">
              <a:spcBef>
                <a:spcPts val="0"/>
              </a:spcBef>
              <a:defRPr sz="1199">
                <a:latin typeface="+mn-lt"/>
              </a:defRPr>
            </a:lvl6pPr>
            <a:lvl7pPr marL="0" indent="0" algn="r">
              <a:spcBef>
                <a:spcPts val="0"/>
              </a:spcBef>
              <a:defRPr sz="1199">
                <a:latin typeface="+mn-lt"/>
              </a:defRPr>
            </a:lvl7pPr>
            <a:lvl8pPr marL="0" indent="0" algn="r">
              <a:spcBef>
                <a:spcPts val="0"/>
              </a:spcBef>
              <a:defRPr sz="1199">
                <a:latin typeface="+mn-lt"/>
              </a:defRPr>
            </a:lvl8pPr>
            <a:lvl9pPr marL="0" indent="0" algn="r">
              <a:spcBef>
                <a:spcPts val="0"/>
              </a:spcBef>
              <a:defRPr sz="1199">
                <a:latin typeface="+mn-lt"/>
              </a:defRPr>
            </a:lvl9pPr>
          </a:lstStyle>
          <a:p>
            <a:r>
              <a:rPr lang="en-US" smtClean="0"/>
              <a:t>DI-Lama Project Update | Phani Sarraju | 4.Sep.2018</a:t>
            </a:r>
            <a:endParaRPr lang="en-GB" dirty="0" smtClean="0"/>
          </a:p>
        </p:txBody>
      </p:sp>
    </p:spTree>
    <p:extLst>
      <p:ext uri="{BB962C8B-B14F-4D97-AF65-F5344CB8AC3E}">
        <p14:creationId xmlns:p14="http://schemas.microsoft.com/office/powerpoint/2010/main" val="326280858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  <p15:guide id="3" orient="horz" pos="950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Headline for Agenda in </a:t>
            </a:r>
            <a:r>
              <a:rPr lang="en-GB" noProof="0" dirty="0" err="1" smtClean="0"/>
              <a:t>CorpoS</a:t>
            </a:r>
            <a:r>
              <a:rPr lang="en-GB" noProof="0" dirty="0" smtClean="0"/>
              <a:t> (Body) 35 pt. </a:t>
            </a:r>
            <a:br>
              <a:rPr lang="en-GB" noProof="0" dirty="0" smtClean="0"/>
            </a:br>
            <a:r>
              <a:rPr lang="en-GB" noProof="0" dirty="0" smtClean="0"/>
              <a:t>one or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DI-Lama Project Update | Phani Sarraju | 4.Sep.2018</a:t>
            </a:r>
            <a:endParaRPr lang="en-GB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dirty="0" smtClean="0"/>
              <a:t>Page </a:t>
            </a:r>
            <a:fld id="{52531704-8F80-415D-BD2B-6B9991AE822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28324" y="1504602"/>
            <a:ext cx="10932180" cy="4875670"/>
          </a:xfrm>
        </p:spPr>
        <p:txBody>
          <a:bodyPr/>
          <a:lstStyle>
            <a:lvl1pPr marL="197861" indent="-197861">
              <a:lnSpc>
                <a:spcPct val="85000"/>
              </a:lnSpc>
              <a:buSzPct val="100000"/>
              <a:buFont typeface="+mj-lt"/>
              <a:buAutoNum type="arabicPeriod"/>
              <a:defRPr>
                <a:solidFill>
                  <a:schemeClr val="tx1"/>
                </a:solidFill>
              </a:defRPr>
            </a:lvl1pPr>
            <a:lvl2pPr marL="198299" indent="-198299">
              <a:lnSpc>
                <a:spcPct val="85000"/>
              </a:lnSpc>
              <a:buFont typeface="+mj-lt"/>
              <a:buAutoNum type="arabicPeriod"/>
              <a:defRPr>
                <a:solidFill>
                  <a:schemeClr val="tx1"/>
                </a:solidFill>
              </a:defRPr>
            </a:lvl2pPr>
            <a:lvl3pPr marL="190367" indent="-190367">
              <a:lnSpc>
                <a:spcPct val="85000"/>
              </a:lnSpc>
              <a:buFont typeface="+mj-lt"/>
              <a:buAutoNum type="arabicPeriod"/>
              <a:defRPr>
                <a:solidFill>
                  <a:schemeClr val="tx1"/>
                </a:solidFill>
              </a:defRPr>
            </a:lvl3pPr>
            <a:lvl4pPr marL="182435" indent="-182435">
              <a:lnSpc>
                <a:spcPct val="85000"/>
              </a:lnSpc>
              <a:buFont typeface="+mj-lt"/>
              <a:buAutoNum type="arabicPeriod"/>
              <a:defRPr>
                <a:solidFill>
                  <a:schemeClr val="tx1"/>
                </a:solidFill>
              </a:defRPr>
            </a:lvl4pPr>
            <a:lvl5pPr marL="152294" indent="-152294">
              <a:lnSpc>
                <a:spcPct val="85000"/>
              </a:lnSpc>
              <a:buFont typeface="+mj-lt"/>
              <a:buAutoNum type="arabicPeriod"/>
              <a:defRPr>
                <a:solidFill>
                  <a:schemeClr val="tx1"/>
                </a:solidFill>
              </a:defRPr>
            </a:lvl5pPr>
            <a:lvl6pPr marL="359748" indent="-359748">
              <a:lnSpc>
                <a:spcPct val="85000"/>
              </a:lnSpc>
              <a:buFont typeface="+mj-lt"/>
              <a:buAutoNum type="arabicPeriod"/>
              <a:defRPr>
                <a:solidFill>
                  <a:schemeClr val="tx1"/>
                </a:solidFill>
              </a:defRPr>
            </a:lvl6pPr>
            <a:lvl7pPr marL="359748" indent="-359748">
              <a:lnSpc>
                <a:spcPct val="85000"/>
              </a:lnSpc>
              <a:buFont typeface="+mj-lt"/>
              <a:buAutoNum type="arabicPeriod"/>
              <a:defRPr>
                <a:solidFill>
                  <a:schemeClr val="tx1"/>
                </a:solidFill>
              </a:defRPr>
            </a:lvl7pPr>
            <a:lvl8pPr marL="359748" indent="-359748">
              <a:lnSpc>
                <a:spcPct val="85000"/>
              </a:lnSpc>
              <a:buFont typeface="+mj-lt"/>
              <a:buAutoNum type="arabicPeriod"/>
              <a:defRPr>
                <a:solidFill>
                  <a:schemeClr val="tx1"/>
                </a:solidFill>
              </a:defRPr>
            </a:lvl8pPr>
            <a:lvl9pPr marL="359748" indent="-359748">
              <a:lnSpc>
                <a:spcPct val="85000"/>
              </a:lnSpc>
              <a:buFont typeface="+mj-lt"/>
              <a:buAutoNum type="arabicPeriod"/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 smtClean="0"/>
              <a:t>Insert Agenda point</a:t>
            </a:r>
          </a:p>
          <a:p>
            <a:pPr lvl="1"/>
            <a:r>
              <a:rPr lang="en-GB" dirty="0" smtClean="0"/>
              <a:t>Second level 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</a:p>
          <a:p>
            <a:pPr lvl="5"/>
            <a:r>
              <a:rPr lang="en-GB" dirty="0" smtClean="0"/>
              <a:t>Sixth level</a:t>
            </a:r>
          </a:p>
          <a:p>
            <a:pPr lvl="6"/>
            <a:r>
              <a:rPr lang="en-GB" dirty="0" smtClean="0"/>
              <a:t>Sevens level</a:t>
            </a:r>
          </a:p>
          <a:p>
            <a:pPr lvl="7"/>
            <a:r>
              <a:rPr lang="en-GB" dirty="0" smtClean="0"/>
              <a:t>Eight level</a:t>
            </a:r>
          </a:p>
          <a:p>
            <a:pPr lvl="8"/>
            <a:r>
              <a:rPr lang="en-GB" dirty="0" smtClean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163669441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948">
          <p15:clr>
            <a:srgbClr val="FBAE40"/>
          </p15:clr>
        </p15:guide>
        <p15:guide id="3" orient="horz" pos="4020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2/4 brushe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28323" y="5121280"/>
            <a:ext cx="10932181" cy="1025684"/>
          </a:xfrm>
        </p:spPr>
        <p:txBody>
          <a:bodyPr wrap="square" anchor="b" anchorCtr="0">
            <a:spAutoFit/>
          </a:bodyPr>
          <a:lstStyle>
            <a:lvl1pPr>
              <a:defRPr/>
            </a:lvl1pPr>
          </a:lstStyle>
          <a:p>
            <a:r>
              <a:rPr lang="en-US" dirty="0" smtClean="0"/>
              <a:t>Referent’s name: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</a:t>
            </a:r>
            <a:r>
              <a:rPr lang="en-US" dirty="0" smtClean="0"/>
              <a:t>(Body) 35 pt. Presentation title</a:t>
            </a:r>
            <a:br>
              <a:rPr lang="en-US" dirty="0" smtClean="0"/>
            </a:br>
            <a:r>
              <a:rPr lang="en-US" dirty="0" smtClean="0"/>
              <a:t>in two or more lines of text, dd. </a:t>
            </a:r>
            <a:r>
              <a:rPr lang="en-US" dirty="0" err="1" smtClean="0"/>
              <a:t>mmmm</a:t>
            </a:r>
            <a:r>
              <a:rPr lang="en-US" dirty="0" smtClean="0"/>
              <a:t> </a:t>
            </a:r>
            <a:r>
              <a:rPr lang="en-US" dirty="0" err="1" smtClean="0"/>
              <a:t>yyyy</a:t>
            </a:r>
            <a:endParaRPr lang="en-US" dirty="0"/>
          </a:p>
        </p:txBody>
      </p:sp>
      <p:pic>
        <p:nvPicPr>
          <p:cNvPr id="28" name="Wortmarke DAIMLER" descr="Daimler_RGB_100mm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9672" y="790853"/>
            <a:ext cx="3418220" cy="462728"/>
          </a:xfrm>
          <a:prstGeom prst="rect">
            <a:avLst/>
          </a:prstGeom>
        </p:spPr>
      </p:pic>
      <p:pic>
        <p:nvPicPr>
          <p:cNvPr id="4" name="Wortmarke DAIMLER" descr="Daimler_RGB_100mm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672" y="790853"/>
            <a:ext cx="3418220" cy="462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60246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13173783"/>
              </p:ext>
            </p:extLst>
          </p:nvPr>
        </p:nvGraphicFramePr>
        <p:xfrm>
          <a:off x="1588" y="1588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4098" name="think-cell スライド" r:id="rId4" imgW="395" imgH="394" progId="TCLayout.ActiveDocument.1">
                  <p:embed/>
                </p:oleObj>
              </mc:Choice>
              <mc:Fallback>
                <p:oleObj name="think-cell スライド" r:id="rId4" imgW="395" imgH="39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9671" y="285982"/>
            <a:ext cx="10931106" cy="1151733"/>
          </a:xfrm>
        </p:spPr>
        <p:txBody>
          <a:bodyPr/>
          <a:lstStyle/>
          <a:p>
            <a:r>
              <a:rPr lang="en-US" noProof="0" dirty="0" smtClean="0"/>
              <a:t>Headline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 35 pt.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29671" y="1504603"/>
            <a:ext cx="10930387" cy="4875670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023336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68606468"/>
              </p:ext>
            </p:extLst>
          </p:nvPr>
        </p:nvGraphicFramePr>
        <p:xfrm>
          <a:off x="1588" y="1588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6594" name="think-cell スライド" r:id="rId5" imgW="395" imgH="394" progId="TCLayout.ActiveDocument.1">
                  <p:embed/>
                </p:oleObj>
              </mc:Choice>
              <mc:Fallback>
                <p:oleObj name="think-cell スライド" r:id="rId5" imgW="395" imgH="39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9671" y="285982"/>
            <a:ext cx="10931106" cy="1151733"/>
          </a:xfrm>
        </p:spPr>
        <p:txBody>
          <a:bodyPr/>
          <a:lstStyle/>
          <a:p>
            <a:r>
              <a:rPr lang="en-US" noProof="0" dirty="0" smtClean="0"/>
              <a:t>Headline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 35 pt.</a:t>
            </a:r>
            <a:endParaRPr lang="en-US" dirty="0"/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6595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12156049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020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1104138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Headline for Agenda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 35 pt. </a:t>
            </a:r>
            <a:br>
              <a:rPr lang="en-US" noProof="0" dirty="0" smtClean="0"/>
            </a:br>
            <a:r>
              <a:rPr lang="en-US" noProof="0" dirty="0" smtClean="0"/>
              <a:t>one or two lines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28324" y="1504602"/>
            <a:ext cx="10932180" cy="4875670"/>
          </a:xfrm>
        </p:spPr>
        <p:txBody>
          <a:bodyPr/>
          <a:lstStyle>
            <a:lvl1pPr marL="359820" indent="-359820">
              <a:lnSpc>
                <a:spcPct val="100000"/>
              </a:lnSpc>
              <a:spcBef>
                <a:spcPts val="300"/>
              </a:spcBef>
              <a:buSzPct val="100000"/>
              <a:buFont typeface="+mj-lt"/>
              <a:buAutoNum type="arabicPeriod"/>
              <a:defRPr>
                <a:solidFill>
                  <a:schemeClr val="tx1"/>
                </a:solidFill>
              </a:defRPr>
            </a:lvl1pPr>
            <a:lvl2pPr marL="359820" indent="-359820">
              <a:lnSpc>
                <a:spcPct val="100000"/>
              </a:lnSpc>
              <a:spcBef>
                <a:spcPts val="300"/>
              </a:spcBef>
              <a:buFont typeface="+mj-lt"/>
              <a:buAutoNum type="arabicPeriod"/>
              <a:defRPr>
                <a:solidFill>
                  <a:schemeClr val="tx1"/>
                </a:solidFill>
              </a:defRPr>
            </a:lvl2pPr>
            <a:lvl3pPr marL="359820" indent="-359820">
              <a:lnSpc>
                <a:spcPct val="100000"/>
              </a:lnSpc>
              <a:spcBef>
                <a:spcPts val="300"/>
              </a:spcBef>
              <a:buFont typeface="+mj-lt"/>
              <a:buAutoNum type="arabicPeriod"/>
              <a:defRPr>
                <a:solidFill>
                  <a:schemeClr val="tx1"/>
                </a:solidFill>
              </a:defRPr>
            </a:lvl3pPr>
            <a:lvl4pPr marL="359820" indent="-359820">
              <a:lnSpc>
                <a:spcPct val="100000"/>
              </a:lnSpc>
              <a:spcBef>
                <a:spcPts val="300"/>
              </a:spcBef>
              <a:buFont typeface="+mj-lt"/>
              <a:buAutoNum type="arabicPeriod"/>
              <a:defRPr>
                <a:solidFill>
                  <a:schemeClr val="tx1"/>
                </a:solidFill>
              </a:defRPr>
            </a:lvl4pPr>
            <a:lvl5pPr marL="359820" indent="-359820">
              <a:lnSpc>
                <a:spcPct val="100000"/>
              </a:lnSpc>
              <a:spcBef>
                <a:spcPts val="300"/>
              </a:spcBef>
              <a:buFont typeface="+mj-lt"/>
              <a:buAutoNum type="arabicPeriod"/>
              <a:defRPr>
                <a:solidFill>
                  <a:schemeClr val="tx1"/>
                </a:solidFill>
              </a:defRPr>
            </a:lvl5pPr>
            <a:lvl6pPr marL="359820" indent="-359820">
              <a:lnSpc>
                <a:spcPct val="100000"/>
              </a:lnSpc>
              <a:spcBef>
                <a:spcPts val="300"/>
              </a:spcBef>
              <a:buFont typeface="+mj-lt"/>
              <a:buAutoNum type="arabicPeriod"/>
              <a:defRPr>
                <a:solidFill>
                  <a:schemeClr val="tx1"/>
                </a:solidFill>
              </a:defRPr>
            </a:lvl6pPr>
            <a:lvl7pPr marL="359820" indent="-359820">
              <a:lnSpc>
                <a:spcPct val="100000"/>
              </a:lnSpc>
              <a:spcBef>
                <a:spcPts val="300"/>
              </a:spcBef>
              <a:buFont typeface="+mj-lt"/>
              <a:buAutoNum type="arabicPeriod"/>
              <a:defRPr>
                <a:solidFill>
                  <a:schemeClr val="tx1"/>
                </a:solidFill>
              </a:defRPr>
            </a:lvl7pPr>
            <a:lvl8pPr marL="359820" indent="-359820">
              <a:lnSpc>
                <a:spcPct val="100000"/>
              </a:lnSpc>
              <a:spcBef>
                <a:spcPts val="300"/>
              </a:spcBef>
              <a:buFont typeface="+mj-lt"/>
              <a:buAutoNum type="arabicPeriod"/>
              <a:defRPr>
                <a:solidFill>
                  <a:schemeClr val="tx1"/>
                </a:solidFill>
              </a:defRPr>
            </a:lvl8pPr>
            <a:lvl9pPr marL="359820" indent="-359820">
              <a:lnSpc>
                <a:spcPct val="100000"/>
              </a:lnSpc>
              <a:spcBef>
                <a:spcPts val="300"/>
              </a:spcBef>
              <a:buFont typeface="+mj-lt"/>
              <a:buAutoNum type="arabicPeriod"/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 smtClean="0"/>
              <a:t>Insert Agenda point</a:t>
            </a:r>
          </a:p>
          <a:p>
            <a:pPr lvl="1"/>
            <a:r>
              <a:rPr lang="en-US" dirty="0" smtClean="0"/>
              <a:t>Second level 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s level</a:t>
            </a:r>
          </a:p>
          <a:p>
            <a:pPr lvl="7"/>
            <a:r>
              <a:rPr lang="en-US" dirty="0" smtClean="0"/>
              <a:t>Eight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234557270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45332919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5122" name="think-cell スライド" r:id="rId4" imgW="395" imgH="394" progId="TCLayout.ActiveDocument.1">
                  <p:embed/>
                </p:oleObj>
              </mc:Choice>
              <mc:Fallback>
                <p:oleObj name="think-cell スライド" r:id="rId4" imgW="395" imgH="39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9817" y="576000"/>
            <a:ext cx="10620553" cy="385200"/>
          </a:xfrm>
        </p:spPr>
        <p:txBody>
          <a:bodyPr/>
          <a:lstStyle>
            <a:lvl1pPr>
              <a:defRPr>
                <a:solidFill>
                  <a:srgbClr val="12263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779817" y="2019600"/>
            <a:ext cx="10620553" cy="4269600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779817" y="968400"/>
            <a:ext cx="10620553" cy="385200"/>
          </a:xfrm>
        </p:spPr>
        <p:txBody>
          <a:bodyPr>
            <a:norm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US" sz="1799" b="0" i="1" dirty="0">
                <a:solidFill>
                  <a:schemeClr val="tx2"/>
                </a:solidFill>
                <a:latin typeface="Georgia" pitchFamily="18" charset="0"/>
                <a:ea typeface="ＭＳ Ｐゴシック" pitchFamily="80" charset="-128"/>
                <a:cs typeface="+mj-cs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015562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ext/ content/ Headline 2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1590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169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9E9E9E"/>
          </a:solidFill>
          <a:ln>
            <a:solidFill>
              <a:srgbClr val="9E9E9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endParaRPr lang="en-US" sz="3498" b="0" i="0" baseline="0" dirty="0" err="1" smtClean="0">
              <a:latin typeface="CorpoS" pitchFamily="2" charset="0"/>
              <a:ea typeface="+mj-ea"/>
              <a:cs typeface="+mj-cs"/>
              <a:sym typeface="CorpoS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Headline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 35 pt.</a:t>
            </a:r>
            <a:br>
              <a:rPr lang="en-US" noProof="0" dirty="0" smtClean="0"/>
            </a:br>
            <a:r>
              <a:rPr lang="en-US" noProof="0" dirty="0" smtClean="0"/>
              <a:t>in two lines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629909" y="1504602"/>
            <a:ext cx="10930594" cy="4983236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noProof="0" dirty="0" smtClean="0"/>
              <a:t>Insert content or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 24 pt. (Mark-ups in Bold) // for conclusion, summary or short highlight: Home // Paragraph// Increase Li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(Conclusion, summary or short highlight)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s level</a:t>
            </a:r>
          </a:p>
          <a:p>
            <a:pPr lvl="7"/>
            <a:r>
              <a:rPr lang="en-US" dirty="0" smtClean="0"/>
              <a:t>Eight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7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7">
                <a:latin typeface="+mn-lt"/>
              </a:defRPr>
            </a:lvl2pPr>
            <a:lvl3pPr marL="0" indent="0" algn="l">
              <a:spcBef>
                <a:spcPts val="0"/>
              </a:spcBef>
              <a:defRPr sz="1197">
                <a:latin typeface="+mn-lt"/>
              </a:defRPr>
            </a:lvl3pPr>
            <a:lvl4pPr marL="0" indent="0" algn="l">
              <a:spcBef>
                <a:spcPts val="0"/>
              </a:spcBef>
              <a:defRPr sz="1197">
                <a:latin typeface="+mn-lt"/>
              </a:defRPr>
            </a:lvl4pPr>
            <a:lvl5pPr marL="0" indent="0" algn="l">
              <a:spcBef>
                <a:spcPts val="0"/>
              </a:spcBef>
              <a:defRPr sz="1197">
                <a:latin typeface="+mn-lt"/>
              </a:defRPr>
            </a:lvl5pPr>
            <a:lvl6pPr marL="0" indent="0" algn="l">
              <a:spcBef>
                <a:spcPts val="0"/>
              </a:spcBef>
              <a:defRPr sz="1197">
                <a:latin typeface="+mn-lt"/>
              </a:defRPr>
            </a:lvl6pPr>
            <a:lvl7pPr marL="0" indent="0" algn="l">
              <a:spcBef>
                <a:spcPts val="0"/>
              </a:spcBef>
              <a:defRPr sz="1197">
                <a:latin typeface="+mn-lt"/>
              </a:defRPr>
            </a:lvl7pPr>
            <a:lvl8pPr marL="0" indent="0" algn="l">
              <a:spcBef>
                <a:spcPts val="0"/>
              </a:spcBef>
              <a:defRPr sz="1197">
                <a:latin typeface="+mn-lt"/>
              </a:defRPr>
            </a:lvl8pPr>
            <a:lvl9pPr marL="0" indent="0" algn="l">
              <a:spcBef>
                <a:spcPts val="0"/>
              </a:spcBef>
              <a:defRPr sz="1197">
                <a:latin typeface="+mn-lt"/>
              </a:defRPr>
            </a:lvl9pPr>
          </a:lstStyle>
          <a:p>
            <a:pPr algn="r" defTabSz="1087763"/>
            <a:r>
              <a:rPr lang="en-US" smtClean="0">
                <a:solidFill>
                  <a:prstClr val="black"/>
                </a:solidFill>
              </a:rPr>
              <a:t> </a:t>
            </a:r>
            <a:fld id="{52531704-8F80-415D-BD2B-6B9991AE822F}" type="slidenum">
              <a:rPr lang="en-US" smtClean="0">
                <a:solidFill>
                  <a:prstClr val="black"/>
                </a:solidFill>
              </a:rPr>
              <a:pPr algn="r" defTabSz="1087763"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46826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  <p15:guide id="3" orient="horz" pos="950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358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lowchart: Manual Input 7"/>
          <p:cNvSpPr/>
          <p:nvPr userDrawn="1"/>
        </p:nvSpPr>
        <p:spPr>
          <a:xfrm>
            <a:off x="0" y="3610066"/>
            <a:ext cx="12192000" cy="3247934"/>
          </a:xfrm>
          <a:prstGeom prst="flowChartManualInput">
            <a:avLst/>
          </a:prstGeom>
          <a:solidFill>
            <a:srgbClr val="E6E6E6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9E9E9E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99" dirty="0" err="1" smtClean="0">
              <a:solidFill>
                <a:prstClr val="white"/>
              </a:solidFill>
            </a:endParaRPr>
          </a:p>
        </p:txBody>
      </p:sp>
      <p:sp>
        <p:nvSpPr>
          <p:cNvPr id="9" name="Flowchart: Manual Input 8"/>
          <p:cNvSpPr/>
          <p:nvPr userDrawn="1"/>
        </p:nvSpPr>
        <p:spPr>
          <a:xfrm flipH="1" flipV="1">
            <a:off x="0" y="0"/>
            <a:ext cx="12192000" cy="4532850"/>
          </a:xfrm>
          <a:prstGeom prst="flowChartManualInput">
            <a:avLst/>
          </a:prstGeom>
          <a:solidFill>
            <a:srgbClr val="00566D"/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99" dirty="0" err="1" smtClean="0">
              <a:solidFill>
                <a:prstClr val="white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804" t="9756" r="6727" b="4972"/>
          <a:stretch/>
        </p:blipFill>
        <p:spPr>
          <a:xfrm>
            <a:off x="131974" y="3490768"/>
            <a:ext cx="3789529" cy="2442689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956" r="13359"/>
          <a:stretch>
            <a:fillRect/>
          </a:stretch>
        </p:blipFill>
        <p:spPr>
          <a:xfrm>
            <a:off x="9405114" y="3500651"/>
            <a:ext cx="2691445" cy="2418386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8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6741655" y="3672592"/>
            <a:ext cx="2935899" cy="2320471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40885" y="3474457"/>
            <a:ext cx="3570966" cy="2833362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10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04555" y="3766182"/>
            <a:ext cx="2312483" cy="2541637"/>
          </a:xfrm>
          <a:prstGeom prst="rect">
            <a:avLst/>
          </a:prstGeom>
        </p:spPr>
      </p:pic>
      <p:pic>
        <p:nvPicPr>
          <p:cNvPr id="17" name="Wortmarke DAIMLER" descr="Daimler_RGB_100mm.png"/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1254" y="791617"/>
            <a:ext cx="3417231" cy="462594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4648" y="613010"/>
            <a:ext cx="786654" cy="786882"/>
          </a:xfrm>
          <a:prstGeom prst="rect">
            <a:avLst/>
          </a:prstGeom>
        </p:spPr>
      </p:pic>
      <p:pic>
        <p:nvPicPr>
          <p:cNvPr id="20" name="Picture 3" descr="C:\Users\rajarrv\AppData\Local\Microsoft\Windows\Temporary Internet Files\Content.Outlook\3CY2KM7L\B-No Background FORCE LOGO.png"/>
          <p:cNvPicPr>
            <a:picLocks noChangeAspect="1" noChangeArrowheads="1"/>
          </p:cNvPicPr>
          <p:nvPr userDrawn="1"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419611" y="692628"/>
            <a:ext cx="2166326" cy="6188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itle 1"/>
          <p:cNvSpPr>
            <a:spLocks noGrp="1"/>
          </p:cNvSpPr>
          <p:nvPr>
            <p:ph type="title" hasCustomPrompt="1"/>
          </p:nvPr>
        </p:nvSpPr>
        <p:spPr>
          <a:xfrm>
            <a:off x="628326" y="2001480"/>
            <a:ext cx="10932181" cy="526176"/>
          </a:xfrm>
        </p:spPr>
        <p:txBody>
          <a:bodyPr anchor="b">
            <a:spAutoFit/>
          </a:bodyPr>
          <a:lstStyle>
            <a:lvl1pPr marL="0" indent="0" algn="l" defTabSz="1087871" rtl="0" eaLnBrk="1" latinLnBrk="0" hangingPunct="1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3598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CorpoS" pitchFamily="2" charset="0"/>
              </a:defRPr>
            </a:lvl1pPr>
          </a:lstStyle>
          <a:p>
            <a:pPr>
              <a:lnSpc>
                <a:spcPct val="95000"/>
              </a:lnSpc>
            </a:pPr>
            <a:r>
              <a:rPr lang="en-US" dirty="0" smtClean="0"/>
              <a:t>Title in </a:t>
            </a:r>
            <a:r>
              <a:rPr lang="en-US" dirty="0" err="1" smtClean="0"/>
              <a:t>CorpoS</a:t>
            </a:r>
            <a:r>
              <a:rPr lang="en-US" dirty="0" smtClean="0"/>
              <a:t> 35 </a:t>
            </a:r>
            <a:r>
              <a:rPr lang="en-US" dirty="0" err="1" smtClean="0"/>
              <a:t>pt</a:t>
            </a:r>
            <a:r>
              <a:rPr lang="en-US" dirty="0" smtClean="0"/>
              <a:t>, white, non-bold</a:t>
            </a:r>
            <a:endParaRPr lang="en-US" sz="2798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628326" y="6251051"/>
            <a:ext cx="10932181" cy="489060"/>
          </a:xfrm>
        </p:spPr>
        <p:txBody>
          <a:bodyPr/>
          <a:lstStyle>
            <a:lvl1pPr>
              <a:defRPr sz="1599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Date in 16 </a:t>
            </a:r>
            <a:r>
              <a:rPr lang="en-US" dirty="0" err="1" smtClean="0"/>
              <a:t>pt</a:t>
            </a:r>
            <a:r>
              <a:rPr lang="en-US" dirty="0" smtClean="0"/>
              <a:t>, black, non-bold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28326" y="2485504"/>
            <a:ext cx="10932181" cy="398371"/>
          </a:xfrm>
        </p:spPr>
        <p:txBody>
          <a:bodyPr/>
          <a:lstStyle>
            <a:lvl1pPr>
              <a:defRPr sz="2399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 smtClean="0"/>
              <a:t>Subtitle in </a:t>
            </a:r>
            <a:r>
              <a:rPr lang="en-US" dirty="0" err="1" smtClean="0"/>
              <a:t>CorposS</a:t>
            </a:r>
            <a:r>
              <a:rPr lang="en-US" dirty="0" smtClean="0"/>
              <a:t> 24 </a:t>
            </a:r>
            <a:r>
              <a:rPr lang="en-US" dirty="0" err="1" smtClean="0"/>
              <a:t>pt</a:t>
            </a:r>
            <a:r>
              <a:rPr lang="en-US" dirty="0" smtClean="0"/>
              <a:t>, white, non-bol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60295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with brush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Regieanweisungen"/>
          <p:cNvGrpSpPr/>
          <p:nvPr/>
        </p:nvGrpSpPr>
        <p:grpSpPr>
          <a:xfrm>
            <a:off x="-2086913" y="-467892"/>
            <a:ext cx="13647691" cy="7792196"/>
            <a:chOff x="-2088000" y="-468000"/>
            <a:chExt cx="13654799" cy="7794000"/>
          </a:xfrm>
        </p:grpSpPr>
        <p:sp>
          <p:nvSpPr>
            <p:cNvPr id="19" name="Hilfslinien"/>
            <p:cNvSpPr txBox="1"/>
            <p:nvPr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99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how guides via menu bar: View // Show // tick Guides</a:t>
              </a:r>
            </a:p>
          </p:txBody>
        </p:sp>
        <p:sp>
          <p:nvSpPr>
            <p:cNvPr id="31" name="Fußzeile"/>
            <p:cNvSpPr txBox="1"/>
            <p:nvPr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1042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099" b="0" baseline="0" dirty="0" smtClean="0">
                  <a:solidFill>
                    <a:schemeClr val="accent5"/>
                  </a:solidFill>
                  <a:latin typeface="+mn-lt"/>
                </a:rPr>
                <a:t>Adjust footer (per slide or for several/all slides) via menu bar: Insert // Text // Header &amp; Footer</a:t>
              </a:r>
            </a:p>
          </p:txBody>
        </p:sp>
        <p:grpSp>
          <p:nvGrpSpPr>
            <p:cNvPr id="33" name="Hinweise links"/>
            <p:cNvGrpSpPr/>
            <p:nvPr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34" name="Folie Wechsel/Zurücksetzen/Textebenen"/>
              <p:cNvSpPr txBox="1"/>
              <p:nvPr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Reset the slide back to its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original form 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Slides // Rese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099" b="0" baseline="0" noProof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Change the slide layout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Slides // Layou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099" b="0" baseline="0" noProof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Change the text level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via menu bar: </a:t>
                </a:r>
                <a:b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</a:b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Paragraph // Increase/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Decrease List Level</a:t>
                </a:r>
              </a:p>
            </p:txBody>
          </p:sp>
          <p:grpSp>
            <p:nvGrpSpPr>
              <p:cNvPr id="35" name="Listenebenen"/>
              <p:cNvGrpSpPr/>
              <p:nvPr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36" name="Text // Listenebene erhöhen"/>
                <p:cNvSpPr txBox="1"/>
                <p:nvPr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38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999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Increase</a:t>
                  </a:r>
                </a:p>
                <a:p>
                  <a:pPr marL="0" marR="0" lvl="0" indent="0" algn="r" defTabSz="9138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999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sp>
              <p:nvSpPr>
                <p:cNvPr id="37" name="Text // Listenebene verringern"/>
                <p:cNvSpPr txBox="1"/>
                <p:nvPr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38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999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Decrease </a:t>
                  </a:r>
                </a:p>
                <a:p>
                  <a:pPr marL="0" marR="0" lvl="0" indent="0" algn="r" defTabSz="9138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999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pic>
              <p:nvPicPr>
                <p:cNvPr id="38" name="Listenebene erhöhen"/>
                <p:cNvPicPr>
                  <a:picLocks noChangeAspect="1"/>
                </p:cNvPicPr>
                <p:nvPr/>
              </p:nvPicPr>
              <p:blipFill>
                <a:blip r:embed="rId2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39" name="Listenebene verringern"/>
                <p:cNvPicPr>
                  <a:picLocks noChangeAspect="1"/>
                </p:cNvPicPr>
                <p:nvPr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pic>
        <p:nvPicPr>
          <p:cNvPr id="32" name="Buerstung U_S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white">
          <a:xfrm>
            <a:off x="0" y="1"/>
            <a:ext cx="12190450" cy="6490342"/>
          </a:xfrm>
          <a:prstGeom prst="rect">
            <a:avLst/>
          </a:prstGeom>
        </p:spPr>
      </p:pic>
      <p:sp>
        <p:nvSpPr>
          <p:cNvPr id="20" name="Daimler AG (Wortmarke)"/>
          <p:cNvSpPr>
            <a:spLocks noChangeArrowheads="1"/>
          </p:cNvSpPr>
          <p:nvPr/>
        </p:nvSpPr>
        <p:spPr bwMode="auto">
          <a:xfrm>
            <a:off x="629672" y="6564880"/>
            <a:ext cx="2086913" cy="2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r>
              <a:rPr lang="en-GB" sz="1199" dirty="0" smtClean="0">
                <a:latin typeface="+mn-lt"/>
                <a:cs typeface="Daimler CS"/>
              </a:rPr>
              <a:t>Daimler AG</a:t>
            </a:r>
            <a:endParaRPr lang="en-GB" sz="1199" dirty="0">
              <a:latin typeface="+mn-lt"/>
              <a:cs typeface="Daimler 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8323" y="288859"/>
            <a:ext cx="10932455" cy="1148857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Headline for Agenda in CorpoS (Body) 35 pt. </a:t>
            </a:r>
            <a:br>
              <a:rPr lang="en-GB" noProof="0" dirty="0" smtClean="0"/>
            </a:br>
            <a:r>
              <a:rPr lang="en-GB" noProof="0" dirty="0" smtClean="0"/>
              <a:t>one or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7178478-C14F-4056-BC7B-D4A0322B8D6E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30117" y="1504603"/>
            <a:ext cx="10931023" cy="3386305"/>
          </a:xfrm>
          <a:custGeom>
            <a:avLst/>
            <a:gdLst>
              <a:gd name="connsiteX0" fmla="*/ 0 w 10936081"/>
              <a:gd name="connsiteY0" fmla="*/ 0 h 3384000"/>
              <a:gd name="connsiteX1" fmla="*/ 10936081 w 10936081"/>
              <a:gd name="connsiteY1" fmla="*/ 0 h 3384000"/>
              <a:gd name="connsiteX2" fmla="*/ 10936081 w 10936081"/>
              <a:gd name="connsiteY2" fmla="*/ 3384000 h 3384000"/>
              <a:gd name="connsiteX3" fmla="*/ 0 w 10936081"/>
              <a:gd name="connsiteY3" fmla="*/ 3384000 h 3384000"/>
              <a:gd name="connsiteX4" fmla="*/ 0 w 10936081"/>
              <a:gd name="connsiteY4" fmla="*/ 0 h 3384000"/>
              <a:gd name="connsiteX0" fmla="*/ 0 w 10936081"/>
              <a:gd name="connsiteY0" fmla="*/ 0 h 3387089"/>
              <a:gd name="connsiteX1" fmla="*/ 10936081 w 10936081"/>
              <a:gd name="connsiteY1" fmla="*/ 0 h 3387089"/>
              <a:gd name="connsiteX2" fmla="*/ 10936081 w 10936081"/>
              <a:gd name="connsiteY2" fmla="*/ 3384000 h 3387089"/>
              <a:gd name="connsiteX3" fmla="*/ 2006076 w 10936081"/>
              <a:gd name="connsiteY3" fmla="*/ 3387089 h 3387089"/>
              <a:gd name="connsiteX4" fmla="*/ 0 w 10936081"/>
              <a:gd name="connsiteY4" fmla="*/ 3384000 h 3387089"/>
              <a:gd name="connsiteX5" fmla="*/ 0 w 10936081"/>
              <a:gd name="connsiteY5" fmla="*/ 0 h 3387089"/>
              <a:gd name="connsiteX0" fmla="*/ 0 w 10936716"/>
              <a:gd name="connsiteY0" fmla="*/ 0 h 3387089"/>
              <a:gd name="connsiteX1" fmla="*/ 10936081 w 10936716"/>
              <a:gd name="connsiteY1" fmla="*/ 0 h 3387089"/>
              <a:gd name="connsiteX2" fmla="*/ 10936716 w 10936716"/>
              <a:gd name="connsiteY2" fmla="*/ 2556509 h 3387089"/>
              <a:gd name="connsiteX3" fmla="*/ 10936081 w 10936716"/>
              <a:gd name="connsiteY3" fmla="*/ 3384000 h 3387089"/>
              <a:gd name="connsiteX4" fmla="*/ 2006076 w 10936716"/>
              <a:gd name="connsiteY4" fmla="*/ 3387089 h 3387089"/>
              <a:gd name="connsiteX5" fmla="*/ 0 w 10936716"/>
              <a:gd name="connsiteY5" fmla="*/ 3384000 h 3387089"/>
              <a:gd name="connsiteX6" fmla="*/ 0 w 10936716"/>
              <a:gd name="connsiteY6" fmla="*/ 0 h 3387089"/>
              <a:gd name="connsiteX0" fmla="*/ 0 w 10936716"/>
              <a:gd name="connsiteY0" fmla="*/ 0 h 3387089"/>
              <a:gd name="connsiteX1" fmla="*/ 10936081 w 10936716"/>
              <a:gd name="connsiteY1" fmla="*/ 0 h 3387089"/>
              <a:gd name="connsiteX2" fmla="*/ 10936716 w 10936716"/>
              <a:gd name="connsiteY2" fmla="*/ 2556509 h 3387089"/>
              <a:gd name="connsiteX3" fmla="*/ 2006076 w 10936716"/>
              <a:gd name="connsiteY3" fmla="*/ 3387089 h 3387089"/>
              <a:gd name="connsiteX4" fmla="*/ 0 w 10936716"/>
              <a:gd name="connsiteY4" fmla="*/ 3384000 h 3387089"/>
              <a:gd name="connsiteX5" fmla="*/ 0 w 10936716"/>
              <a:gd name="connsiteY5" fmla="*/ 0 h 3387089"/>
              <a:gd name="connsiteX0" fmla="*/ 0 w 10936716"/>
              <a:gd name="connsiteY0" fmla="*/ 0 h 3387089"/>
              <a:gd name="connsiteX1" fmla="*/ 10936081 w 10936716"/>
              <a:gd name="connsiteY1" fmla="*/ 0 h 3387089"/>
              <a:gd name="connsiteX2" fmla="*/ 10936716 w 10936716"/>
              <a:gd name="connsiteY2" fmla="*/ 2556509 h 3387089"/>
              <a:gd name="connsiteX3" fmla="*/ 2006076 w 10936716"/>
              <a:gd name="connsiteY3" fmla="*/ 3387089 h 3387089"/>
              <a:gd name="connsiteX4" fmla="*/ 0 w 10936716"/>
              <a:gd name="connsiteY4" fmla="*/ 3384000 h 3387089"/>
              <a:gd name="connsiteX5" fmla="*/ 0 w 10936716"/>
              <a:gd name="connsiteY5" fmla="*/ 0 h 3387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936716" h="3387089">
                <a:moveTo>
                  <a:pt x="0" y="0"/>
                </a:moveTo>
                <a:lnTo>
                  <a:pt x="10936081" y="0"/>
                </a:lnTo>
                <a:cubicBezTo>
                  <a:pt x="10936293" y="852170"/>
                  <a:pt x="10936504" y="1704339"/>
                  <a:pt x="10936716" y="2556509"/>
                </a:cubicBezTo>
                <a:lnTo>
                  <a:pt x="2006076" y="3387089"/>
                </a:lnTo>
                <a:lnTo>
                  <a:pt x="0" y="3384000"/>
                </a:lnTo>
                <a:lnTo>
                  <a:pt x="0" y="0"/>
                </a:lnTo>
                <a:close/>
              </a:path>
            </a:pathLst>
          </a:custGeom>
        </p:spPr>
        <p:txBody>
          <a:bodyPr/>
          <a:lstStyle>
            <a:lvl1pPr marL="359820" indent="-359820">
              <a:buSzPct val="100000"/>
              <a:buFont typeface="+mj-lt"/>
              <a:buAutoNum type="arabicPeriod"/>
              <a:defRPr>
                <a:solidFill>
                  <a:schemeClr val="tx1"/>
                </a:solidFill>
              </a:defRPr>
            </a:lvl1pPr>
            <a:lvl2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2pPr>
            <a:lvl3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3pPr>
            <a:lvl4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4pPr>
            <a:lvl5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5pPr>
            <a:lvl6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6pPr>
            <a:lvl7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7pPr>
            <a:lvl8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8pPr>
            <a:lvl9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 smtClean="0"/>
              <a:t>Insert Agenda point</a:t>
            </a:r>
          </a:p>
          <a:p>
            <a:pPr lvl="1"/>
            <a:r>
              <a:rPr lang="en-GB" dirty="0" smtClean="0"/>
              <a:t>Second level 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</a:p>
          <a:p>
            <a:pPr lvl="5"/>
            <a:r>
              <a:rPr lang="en-GB" dirty="0" smtClean="0"/>
              <a:t>Sixth level</a:t>
            </a:r>
          </a:p>
          <a:p>
            <a:pPr lvl="6"/>
            <a:r>
              <a:rPr lang="en-GB" dirty="0" smtClean="0"/>
              <a:t>Sevens level</a:t>
            </a:r>
          </a:p>
          <a:p>
            <a:pPr lvl="7"/>
            <a:r>
              <a:rPr lang="en-GB" dirty="0" smtClean="0"/>
              <a:t>Eight level</a:t>
            </a:r>
          </a:p>
        </p:txBody>
      </p:sp>
    </p:spTree>
    <p:extLst>
      <p:ext uri="{BB962C8B-B14F-4D97-AF65-F5344CB8AC3E}">
        <p14:creationId xmlns:p14="http://schemas.microsoft.com/office/powerpoint/2010/main" val="258173224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948">
          <p15:clr>
            <a:srgbClr val="FBAE40"/>
          </p15:clr>
        </p15:guide>
        <p15:guide id="3" orient="horz" pos="3317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3/4 brushed without ima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Wortmarke DAIMLER" descr="Daimler_RGB_100mm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9672" y="790853"/>
            <a:ext cx="3418220" cy="462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9889403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3/4 brushed with image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170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28323" y="2045814"/>
            <a:ext cx="10932181" cy="1763324"/>
          </a:xfrm>
        </p:spPr>
        <p:txBody>
          <a:bodyPr wrap="square" anchor="t" anchorCtr="0">
            <a:noAutofit/>
          </a:bodyPr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Referent’s name: </a:t>
            </a:r>
            <a:r>
              <a:rPr lang="en-US" noProof="0" dirty="0" err="1"/>
              <a:t>CorpoS</a:t>
            </a:r>
            <a:r>
              <a:rPr lang="en-US" noProof="0" dirty="0"/>
              <a:t> </a:t>
            </a:r>
            <a:r>
              <a:rPr lang="en-US" dirty="0"/>
              <a:t>(Body) 35 pt.</a:t>
            </a:r>
            <a:br>
              <a:rPr lang="en-US" dirty="0"/>
            </a:br>
            <a:r>
              <a:rPr lang="en-US" dirty="0"/>
              <a:t>Presentation title in two or three </a:t>
            </a:r>
            <a:br>
              <a:rPr lang="en-US" dirty="0"/>
            </a:br>
            <a:r>
              <a:rPr lang="en-US" dirty="0"/>
              <a:t>lines of text, dd. </a:t>
            </a:r>
            <a:r>
              <a:rPr lang="en-US" dirty="0" err="1"/>
              <a:t>mmmm</a:t>
            </a:r>
            <a:r>
              <a:rPr lang="en-US" dirty="0"/>
              <a:t> </a:t>
            </a:r>
            <a:r>
              <a:rPr lang="en-US" dirty="0" err="1"/>
              <a:t>yyyy</a:t>
            </a:r>
            <a:endParaRPr lang="en-US" dirty="0"/>
          </a:p>
        </p:txBody>
      </p:sp>
      <p:pic>
        <p:nvPicPr>
          <p:cNvPr id="30" name="Wortmarke DAIMLER" descr="Daimler_RGB_100mm.png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9672" y="790853"/>
            <a:ext cx="3418220" cy="462728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824" y="3430580"/>
            <a:ext cx="12197647" cy="34274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22544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2/4 brushe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28323" y="5121280"/>
            <a:ext cx="10932181" cy="1025684"/>
          </a:xfrm>
        </p:spPr>
        <p:txBody>
          <a:bodyPr wrap="square" anchor="b" anchorCtr="0">
            <a:spAutoFit/>
          </a:bodyPr>
          <a:lstStyle>
            <a:lvl1pPr>
              <a:defRPr/>
            </a:lvl1pPr>
          </a:lstStyle>
          <a:p>
            <a:r>
              <a:rPr lang="en-US" dirty="0"/>
              <a:t>Referent’s name: </a:t>
            </a:r>
            <a:r>
              <a:rPr lang="en-US" noProof="0" dirty="0" err="1"/>
              <a:t>CorpoS</a:t>
            </a:r>
            <a:r>
              <a:rPr lang="en-US" noProof="0" dirty="0"/>
              <a:t> </a:t>
            </a:r>
            <a:r>
              <a:rPr lang="en-US" dirty="0"/>
              <a:t>(Body) 35 pt. Presentation title</a:t>
            </a:r>
            <a:br>
              <a:rPr lang="en-US" dirty="0"/>
            </a:br>
            <a:r>
              <a:rPr lang="en-US" dirty="0"/>
              <a:t>in two or more lines of text, dd. </a:t>
            </a:r>
            <a:r>
              <a:rPr lang="en-US" dirty="0" err="1"/>
              <a:t>mmmm</a:t>
            </a:r>
            <a:r>
              <a:rPr lang="en-US" dirty="0"/>
              <a:t> </a:t>
            </a:r>
            <a:r>
              <a:rPr lang="en-US" dirty="0" err="1"/>
              <a:t>yyyy</a:t>
            </a:r>
            <a:endParaRPr lang="en-US" dirty="0"/>
          </a:p>
        </p:txBody>
      </p:sp>
      <p:pic>
        <p:nvPicPr>
          <p:cNvPr id="28" name="Wortmarke DAIMLER" descr="Daimler_RGB_100mm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9672" y="790853"/>
            <a:ext cx="3418220" cy="462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60501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194" name="think-cell スライド" r:id="rId4" imgW="530" imgH="531" progId="TCLayout.ActiveDocument.1">
                  <p:embed/>
                </p:oleObj>
              </mc:Choice>
              <mc:Fallback>
                <p:oleObj name="think-cell スライド" r:id="rId4" imgW="530" imgH="53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9671" y="285982"/>
            <a:ext cx="10931106" cy="1151733"/>
          </a:xfrm>
        </p:spPr>
        <p:txBody>
          <a:bodyPr/>
          <a:lstStyle/>
          <a:p>
            <a:r>
              <a:rPr lang="en-US" noProof="0" dirty="0"/>
              <a:t>Headline in </a:t>
            </a:r>
            <a:r>
              <a:rPr lang="en-US" noProof="0" dirty="0" err="1"/>
              <a:t>CorpoS</a:t>
            </a:r>
            <a:r>
              <a:rPr lang="en-US" noProof="0" dirty="0"/>
              <a:t> (Body) 35 pt.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29671" y="1504603"/>
            <a:ext cx="10930387" cy="4875670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8784493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9218" name="think-cell スライド" r:id="rId4" imgW="530" imgH="531" progId="TCLayout.ActiveDocument.1">
                  <p:embed/>
                </p:oleObj>
              </mc:Choice>
              <mc:Fallback>
                <p:oleObj name="think-cell スライド" r:id="rId4" imgW="530" imgH="53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9671" y="285982"/>
            <a:ext cx="10931106" cy="1151733"/>
          </a:xfrm>
        </p:spPr>
        <p:txBody>
          <a:bodyPr/>
          <a:lstStyle/>
          <a:p>
            <a:r>
              <a:rPr lang="en-US" noProof="0" dirty="0"/>
              <a:t>Headline in </a:t>
            </a:r>
            <a:r>
              <a:rPr lang="en-US" noProof="0" dirty="0" err="1"/>
              <a:t>CorpoS</a:t>
            </a:r>
            <a:r>
              <a:rPr lang="en-US" noProof="0" dirty="0"/>
              <a:t> (Body) 35 pt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141103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4020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57565593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Headline for Agenda in </a:t>
            </a:r>
            <a:r>
              <a:rPr lang="en-US" noProof="0" dirty="0" err="1"/>
              <a:t>CorpoS</a:t>
            </a:r>
            <a:r>
              <a:rPr lang="en-US" noProof="0" dirty="0"/>
              <a:t> (Body) 35 pt. </a:t>
            </a:r>
            <a:br>
              <a:rPr lang="en-US" noProof="0" dirty="0"/>
            </a:br>
            <a:r>
              <a:rPr lang="en-US" noProof="0" dirty="0"/>
              <a:t>one or two lines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28324" y="1504602"/>
            <a:ext cx="10932180" cy="4875670"/>
          </a:xfrm>
        </p:spPr>
        <p:txBody>
          <a:bodyPr/>
          <a:lstStyle>
            <a:lvl1pPr marL="359820" indent="-359820">
              <a:lnSpc>
                <a:spcPct val="100000"/>
              </a:lnSpc>
              <a:spcBef>
                <a:spcPts val="300"/>
              </a:spcBef>
              <a:buSzPct val="100000"/>
              <a:buFont typeface="+mj-lt"/>
              <a:buAutoNum type="arabicPeriod"/>
              <a:defRPr>
                <a:solidFill>
                  <a:schemeClr val="tx1"/>
                </a:solidFill>
              </a:defRPr>
            </a:lvl1pPr>
            <a:lvl2pPr marL="359820" indent="-359820">
              <a:lnSpc>
                <a:spcPct val="100000"/>
              </a:lnSpc>
              <a:spcBef>
                <a:spcPts val="300"/>
              </a:spcBef>
              <a:buFont typeface="+mj-lt"/>
              <a:buAutoNum type="arabicPeriod"/>
              <a:defRPr>
                <a:solidFill>
                  <a:schemeClr val="tx1"/>
                </a:solidFill>
              </a:defRPr>
            </a:lvl2pPr>
            <a:lvl3pPr marL="359820" indent="-359820">
              <a:lnSpc>
                <a:spcPct val="100000"/>
              </a:lnSpc>
              <a:spcBef>
                <a:spcPts val="300"/>
              </a:spcBef>
              <a:buFont typeface="+mj-lt"/>
              <a:buAutoNum type="arabicPeriod"/>
              <a:defRPr>
                <a:solidFill>
                  <a:schemeClr val="tx1"/>
                </a:solidFill>
              </a:defRPr>
            </a:lvl3pPr>
            <a:lvl4pPr marL="359820" indent="-359820">
              <a:lnSpc>
                <a:spcPct val="100000"/>
              </a:lnSpc>
              <a:spcBef>
                <a:spcPts val="300"/>
              </a:spcBef>
              <a:buFont typeface="+mj-lt"/>
              <a:buAutoNum type="arabicPeriod"/>
              <a:defRPr>
                <a:solidFill>
                  <a:schemeClr val="tx1"/>
                </a:solidFill>
              </a:defRPr>
            </a:lvl4pPr>
            <a:lvl5pPr marL="359820" indent="-359820">
              <a:lnSpc>
                <a:spcPct val="100000"/>
              </a:lnSpc>
              <a:spcBef>
                <a:spcPts val="300"/>
              </a:spcBef>
              <a:buFont typeface="+mj-lt"/>
              <a:buAutoNum type="arabicPeriod"/>
              <a:defRPr>
                <a:solidFill>
                  <a:schemeClr val="tx1"/>
                </a:solidFill>
              </a:defRPr>
            </a:lvl5pPr>
            <a:lvl6pPr marL="359820" indent="-359820">
              <a:lnSpc>
                <a:spcPct val="100000"/>
              </a:lnSpc>
              <a:spcBef>
                <a:spcPts val="300"/>
              </a:spcBef>
              <a:buFont typeface="+mj-lt"/>
              <a:buAutoNum type="arabicPeriod"/>
              <a:defRPr>
                <a:solidFill>
                  <a:schemeClr val="tx1"/>
                </a:solidFill>
              </a:defRPr>
            </a:lvl6pPr>
            <a:lvl7pPr marL="359820" indent="-359820">
              <a:lnSpc>
                <a:spcPct val="100000"/>
              </a:lnSpc>
              <a:spcBef>
                <a:spcPts val="300"/>
              </a:spcBef>
              <a:buFont typeface="+mj-lt"/>
              <a:buAutoNum type="arabicPeriod"/>
              <a:defRPr>
                <a:solidFill>
                  <a:schemeClr val="tx1"/>
                </a:solidFill>
              </a:defRPr>
            </a:lvl7pPr>
            <a:lvl8pPr marL="359820" indent="-359820">
              <a:lnSpc>
                <a:spcPct val="100000"/>
              </a:lnSpc>
              <a:spcBef>
                <a:spcPts val="300"/>
              </a:spcBef>
              <a:buFont typeface="+mj-lt"/>
              <a:buAutoNum type="arabicPeriod"/>
              <a:defRPr>
                <a:solidFill>
                  <a:schemeClr val="tx1"/>
                </a:solidFill>
              </a:defRPr>
            </a:lvl8pPr>
            <a:lvl9pPr marL="359820" indent="-359820">
              <a:lnSpc>
                <a:spcPct val="100000"/>
              </a:lnSpc>
              <a:spcBef>
                <a:spcPts val="300"/>
              </a:spcBef>
              <a:buFont typeface="+mj-lt"/>
              <a:buAutoNum type="arabicPeriod"/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Insert Agenda point</a:t>
            </a:r>
          </a:p>
          <a:p>
            <a:pPr lvl="1"/>
            <a:r>
              <a:rPr lang="en-US" dirty="0"/>
              <a:t>Second level 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s level</a:t>
            </a:r>
          </a:p>
          <a:p>
            <a:pPr lvl="7"/>
            <a:r>
              <a:rPr lang="en-US" dirty="0"/>
              <a:t>Eight level</a:t>
            </a:r>
          </a:p>
          <a:p>
            <a:pPr lvl="8"/>
            <a:r>
              <a:rPr lang="en-US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280871079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1/3 brushed with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Buerstung U_S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white">
          <a:xfrm>
            <a:off x="0" y="1"/>
            <a:ext cx="12190450" cy="6524627"/>
          </a:xfrm>
          <a:prstGeom prst="rect">
            <a:avLst/>
          </a:prstGeom>
        </p:spPr>
      </p:pic>
      <p:sp>
        <p:nvSpPr>
          <p:cNvPr id="20" name="Daimler AG (Wortmarke)"/>
          <p:cNvSpPr>
            <a:spLocks noChangeArrowheads="1"/>
          </p:cNvSpPr>
          <p:nvPr/>
        </p:nvSpPr>
        <p:spPr bwMode="auto">
          <a:xfrm>
            <a:off x="629672" y="6564880"/>
            <a:ext cx="2086913" cy="2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r>
              <a:rPr lang="en-US" sz="1199" dirty="0">
                <a:solidFill>
                  <a:prstClr val="black"/>
                </a:solidFill>
                <a:latin typeface="CorpoS"/>
                <a:cs typeface="Daimler CS"/>
              </a:rPr>
              <a:t>Daimler AG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8323" y="288859"/>
            <a:ext cx="10932455" cy="1148857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Headline for Agenda in </a:t>
            </a:r>
            <a:r>
              <a:rPr lang="en-US" noProof="0" dirty="0" err="1"/>
              <a:t>CorpoS</a:t>
            </a:r>
            <a:r>
              <a:rPr lang="en-US" noProof="0" dirty="0"/>
              <a:t> (Body) 35 pt. </a:t>
            </a:r>
            <a:br>
              <a:rPr lang="en-US" noProof="0" dirty="0"/>
            </a:br>
            <a:r>
              <a:rPr lang="en-US" noProof="0" dirty="0"/>
              <a:t>one or two lines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30116" y="1504603"/>
            <a:ext cx="10930388" cy="3759916"/>
          </a:xfrm>
        </p:spPr>
        <p:txBody>
          <a:bodyPr/>
          <a:lstStyle>
            <a:lvl1pPr marL="359820" indent="-359820">
              <a:lnSpc>
                <a:spcPct val="100000"/>
              </a:lnSpc>
              <a:spcBef>
                <a:spcPts val="300"/>
              </a:spcBef>
              <a:buSzPct val="100000"/>
              <a:buFont typeface="+mj-lt"/>
              <a:buAutoNum type="arabicPeriod"/>
              <a:defRPr>
                <a:solidFill>
                  <a:schemeClr val="tx1"/>
                </a:solidFill>
              </a:defRPr>
            </a:lvl1pPr>
            <a:lvl2pPr marL="359820" indent="-359820">
              <a:lnSpc>
                <a:spcPct val="100000"/>
              </a:lnSpc>
              <a:spcBef>
                <a:spcPts val="300"/>
              </a:spcBef>
              <a:buFont typeface="+mj-lt"/>
              <a:buAutoNum type="arabicPeriod"/>
              <a:defRPr>
                <a:solidFill>
                  <a:schemeClr val="tx1"/>
                </a:solidFill>
              </a:defRPr>
            </a:lvl2pPr>
            <a:lvl3pPr marL="359820" indent="-359820">
              <a:lnSpc>
                <a:spcPct val="100000"/>
              </a:lnSpc>
              <a:spcBef>
                <a:spcPts val="300"/>
              </a:spcBef>
              <a:buFont typeface="+mj-lt"/>
              <a:buAutoNum type="arabicPeriod"/>
              <a:defRPr>
                <a:solidFill>
                  <a:schemeClr val="tx1"/>
                </a:solidFill>
              </a:defRPr>
            </a:lvl3pPr>
            <a:lvl4pPr marL="359820" indent="-359820">
              <a:lnSpc>
                <a:spcPct val="100000"/>
              </a:lnSpc>
              <a:spcBef>
                <a:spcPts val="300"/>
              </a:spcBef>
              <a:buFont typeface="+mj-lt"/>
              <a:buAutoNum type="arabicPeriod"/>
              <a:defRPr>
                <a:solidFill>
                  <a:schemeClr val="tx1"/>
                </a:solidFill>
              </a:defRPr>
            </a:lvl4pPr>
            <a:lvl5pPr marL="359820" indent="-359820">
              <a:lnSpc>
                <a:spcPct val="100000"/>
              </a:lnSpc>
              <a:spcBef>
                <a:spcPts val="300"/>
              </a:spcBef>
              <a:buFont typeface="+mj-lt"/>
              <a:buAutoNum type="arabicPeriod"/>
              <a:defRPr>
                <a:solidFill>
                  <a:schemeClr val="tx1"/>
                </a:solidFill>
              </a:defRPr>
            </a:lvl5pPr>
            <a:lvl6pPr marL="359820" indent="-359820">
              <a:lnSpc>
                <a:spcPct val="100000"/>
              </a:lnSpc>
              <a:spcBef>
                <a:spcPts val="300"/>
              </a:spcBef>
              <a:buFont typeface="+mj-lt"/>
              <a:buAutoNum type="arabicPeriod"/>
              <a:defRPr>
                <a:solidFill>
                  <a:schemeClr val="tx1"/>
                </a:solidFill>
              </a:defRPr>
            </a:lvl6pPr>
            <a:lvl7pPr marL="359820" indent="-359820">
              <a:lnSpc>
                <a:spcPct val="100000"/>
              </a:lnSpc>
              <a:spcBef>
                <a:spcPts val="300"/>
              </a:spcBef>
              <a:buFont typeface="+mj-lt"/>
              <a:buAutoNum type="arabicPeriod"/>
              <a:defRPr>
                <a:solidFill>
                  <a:schemeClr val="tx1"/>
                </a:solidFill>
              </a:defRPr>
            </a:lvl7pPr>
            <a:lvl8pPr marL="359820" indent="-359820">
              <a:lnSpc>
                <a:spcPct val="100000"/>
              </a:lnSpc>
              <a:spcBef>
                <a:spcPts val="300"/>
              </a:spcBef>
              <a:buFont typeface="+mj-lt"/>
              <a:buAutoNum type="arabicPeriod"/>
              <a:defRPr>
                <a:solidFill>
                  <a:schemeClr val="tx1"/>
                </a:solidFill>
              </a:defRPr>
            </a:lvl8pPr>
            <a:lvl9pPr marL="359820" indent="-359820">
              <a:lnSpc>
                <a:spcPct val="100000"/>
              </a:lnSpc>
              <a:spcBef>
                <a:spcPts val="300"/>
              </a:spcBef>
              <a:buFont typeface="+mj-lt"/>
              <a:buAutoNum type="arabicPeriod"/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Insert Agenda point</a:t>
            </a:r>
          </a:p>
          <a:p>
            <a:pPr lvl="1"/>
            <a:r>
              <a:rPr lang="en-US" dirty="0"/>
              <a:t>Second level 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s level</a:t>
            </a:r>
          </a:p>
          <a:p>
            <a:pPr lvl="7"/>
            <a:r>
              <a:rPr lang="en-US" dirty="0"/>
              <a:t>Eight level</a:t>
            </a:r>
          </a:p>
          <a:p>
            <a:pPr lvl="8"/>
            <a:r>
              <a:rPr lang="en-US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2206442972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3/4 brushed without ima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Wortmarke DAIMLER" descr="Daimler_RGB_100mm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9672" y="790853"/>
            <a:ext cx="3418220" cy="462728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84123" y="612195"/>
            <a:ext cx="786882" cy="787110"/>
          </a:xfrm>
          <a:prstGeom prst="rect">
            <a:avLst/>
          </a:prstGeom>
        </p:spPr>
      </p:pic>
      <p:pic>
        <p:nvPicPr>
          <p:cNvPr id="5" name="Picture 3" descr="C:\Users\rajarrv\AppData\Local\Microsoft\Windows\Temporary Internet Files\Content.Outlook\3CY2KM7L\B-No Background FORCE LOGO.png"/>
          <p:cNvPicPr>
            <a:picLocks noChangeAspect="1" noChangeArrowheads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739834" y="0"/>
            <a:ext cx="1452166" cy="4148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6" cstate="email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9103" y="3490785"/>
            <a:ext cx="3790626" cy="244339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7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9406071" y="3500672"/>
            <a:ext cx="2692224" cy="241908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8" cstate="email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6741842" y="3672662"/>
            <a:ext cx="2936748" cy="2321143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39913" y="3474471"/>
            <a:ext cx="3571999" cy="2834182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10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04325" y="3766280"/>
            <a:ext cx="2313152" cy="25423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044623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9671" y="285982"/>
            <a:ext cx="10931106" cy="1151733"/>
          </a:xfrm>
        </p:spPr>
        <p:txBody>
          <a:bodyPr/>
          <a:lstStyle/>
          <a:p>
            <a:r>
              <a:rPr lang="en-US" noProof="0" dirty="0" smtClean="0"/>
              <a:t>Headline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 35 pt.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29671" y="1504603"/>
            <a:ext cx="10930387" cy="4875670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857946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without brush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Headline for Agenda in CorpoS (Body) 35 pt. </a:t>
            </a:r>
            <a:br>
              <a:rPr lang="en-GB" noProof="0" dirty="0" smtClean="0"/>
            </a:br>
            <a:r>
              <a:rPr lang="en-GB" noProof="0" dirty="0" smtClean="0"/>
              <a:t>one or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7178478-C14F-4056-BC7B-D4A0322B8D6E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28324" y="1504602"/>
            <a:ext cx="10932180" cy="4875670"/>
          </a:xfrm>
        </p:spPr>
        <p:txBody>
          <a:bodyPr/>
          <a:lstStyle>
            <a:lvl1pPr marL="359820" indent="-359820">
              <a:buSzPct val="100000"/>
              <a:buFont typeface="+mj-lt"/>
              <a:buAutoNum type="arabicPeriod"/>
              <a:defRPr>
                <a:solidFill>
                  <a:schemeClr val="tx1"/>
                </a:solidFill>
              </a:defRPr>
            </a:lvl1pPr>
            <a:lvl2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2pPr>
            <a:lvl3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3pPr>
            <a:lvl4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4pPr>
            <a:lvl5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5pPr>
            <a:lvl6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6pPr>
            <a:lvl7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7pPr>
            <a:lvl8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8pPr>
            <a:lvl9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 smtClean="0"/>
              <a:t>Insert Agenda point</a:t>
            </a:r>
          </a:p>
          <a:p>
            <a:pPr lvl="1"/>
            <a:r>
              <a:rPr lang="en-GB" dirty="0" smtClean="0"/>
              <a:t>Second level 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</a:p>
          <a:p>
            <a:pPr lvl="5"/>
            <a:r>
              <a:rPr lang="en-GB" dirty="0" smtClean="0"/>
              <a:t>Sixth level</a:t>
            </a:r>
          </a:p>
          <a:p>
            <a:pPr lvl="6"/>
            <a:r>
              <a:rPr lang="en-GB" dirty="0" smtClean="0"/>
              <a:t>Sevens level</a:t>
            </a:r>
          </a:p>
          <a:p>
            <a:pPr lvl="7"/>
            <a:r>
              <a:rPr lang="en-GB" dirty="0" smtClean="0"/>
              <a:t>Eight level</a:t>
            </a:r>
          </a:p>
          <a:p>
            <a:pPr lvl="8"/>
            <a:r>
              <a:rPr lang="en-GB" dirty="0" smtClean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373481573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948">
          <p15:clr>
            <a:srgbClr val="FBAE40"/>
          </p15:clr>
        </p15:guide>
        <p15:guide id="3" orient="horz" pos="4020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9671" y="285982"/>
            <a:ext cx="10931106" cy="1151733"/>
          </a:xfrm>
        </p:spPr>
        <p:txBody>
          <a:bodyPr/>
          <a:lstStyle/>
          <a:p>
            <a:r>
              <a:rPr lang="en-US" noProof="0" dirty="0" smtClean="0"/>
              <a:t>Headline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 35 pt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006502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020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1765064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Headline for Agenda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 35 pt. </a:t>
            </a:r>
            <a:br>
              <a:rPr lang="en-US" noProof="0" dirty="0" smtClean="0"/>
            </a:br>
            <a:r>
              <a:rPr lang="en-US" noProof="0" dirty="0" smtClean="0"/>
              <a:t>one or two lines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28324" y="1504602"/>
            <a:ext cx="10932180" cy="4875670"/>
          </a:xfrm>
        </p:spPr>
        <p:txBody>
          <a:bodyPr/>
          <a:lstStyle>
            <a:lvl1pPr marL="359820" indent="-359820">
              <a:lnSpc>
                <a:spcPct val="100000"/>
              </a:lnSpc>
              <a:spcBef>
                <a:spcPts val="300"/>
              </a:spcBef>
              <a:buSzPct val="100000"/>
              <a:buFont typeface="+mj-lt"/>
              <a:buAutoNum type="arabicPeriod"/>
              <a:defRPr>
                <a:solidFill>
                  <a:schemeClr val="tx1"/>
                </a:solidFill>
              </a:defRPr>
            </a:lvl1pPr>
            <a:lvl2pPr marL="359820" indent="-359820">
              <a:lnSpc>
                <a:spcPct val="100000"/>
              </a:lnSpc>
              <a:spcBef>
                <a:spcPts val="300"/>
              </a:spcBef>
              <a:buFont typeface="+mj-lt"/>
              <a:buAutoNum type="arabicPeriod"/>
              <a:defRPr>
                <a:solidFill>
                  <a:schemeClr val="tx1"/>
                </a:solidFill>
              </a:defRPr>
            </a:lvl2pPr>
            <a:lvl3pPr marL="359820" indent="-359820">
              <a:lnSpc>
                <a:spcPct val="100000"/>
              </a:lnSpc>
              <a:spcBef>
                <a:spcPts val="300"/>
              </a:spcBef>
              <a:buFont typeface="+mj-lt"/>
              <a:buAutoNum type="arabicPeriod"/>
              <a:defRPr>
                <a:solidFill>
                  <a:schemeClr val="tx1"/>
                </a:solidFill>
              </a:defRPr>
            </a:lvl3pPr>
            <a:lvl4pPr marL="359820" indent="-359820">
              <a:lnSpc>
                <a:spcPct val="100000"/>
              </a:lnSpc>
              <a:spcBef>
                <a:spcPts val="300"/>
              </a:spcBef>
              <a:buFont typeface="+mj-lt"/>
              <a:buAutoNum type="arabicPeriod"/>
              <a:defRPr>
                <a:solidFill>
                  <a:schemeClr val="tx1"/>
                </a:solidFill>
              </a:defRPr>
            </a:lvl4pPr>
            <a:lvl5pPr marL="359820" indent="-359820">
              <a:lnSpc>
                <a:spcPct val="100000"/>
              </a:lnSpc>
              <a:spcBef>
                <a:spcPts val="300"/>
              </a:spcBef>
              <a:buFont typeface="+mj-lt"/>
              <a:buAutoNum type="arabicPeriod"/>
              <a:defRPr>
                <a:solidFill>
                  <a:schemeClr val="tx1"/>
                </a:solidFill>
              </a:defRPr>
            </a:lvl5pPr>
            <a:lvl6pPr marL="359820" indent="-359820">
              <a:lnSpc>
                <a:spcPct val="100000"/>
              </a:lnSpc>
              <a:spcBef>
                <a:spcPts val="300"/>
              </a:spcBef>
              <a:buFont typeface="+mj-lt"/>
              <a:buAutoNum type="arabicPeriod"/>
              <a:defRPr>
                <a:solidFill>
                  <a:schemeClr val="tx1"/>
                </a:solidFill>
              </a:defRPr>
            </a:lvl6pPr>
            <a:lvl7pPr marL="359820" indent="-359820">
              <a:lnSpc>
                <a:spcPct val="100000"/>
              </a:lnSpc>
              <a:spcBef>
                <a:spcPts val="300"/>
              </a:spcBef>
              <a:buFont typeface="+mj-lt"/>
              <a:buAutoNum type="arabicPeriod"/>
              <a:defRPr>
                <a:solidFill>
                  <a:schemeClr val="tx1"/>
                </a:solidFill>
              </a:defRPr>
            </a:lvl7pPr>
            <a:lvl8pPr marL="359820" indent="-359820">
              <a:lnSpc>
                <a:spcPct val="100000"/>
              </a:lnSpc>
              <a:spcBef>
                <a:spcPts val="300"/>
              </a:spcBef>
              <a:buFont typeface="+mj-lt"/>
              <a:buAutoNum type="arabicPeriod"/>
              <a:defRPr>
                <a:solidFill>
                  <a:schemeClr val="tx1"/>
                </a:solidFill>
              </a:defRPr>
            </a:lvl8pPr>
            <a:lvl9pPr marL="359820" indent="-359820">
              <a:lnSpc>
                <a:spcPct val="100000"/>
              </a:lnSpc>
              <a:spcBef>
                <a:spcPts val="300"/>
              </a:spcBef>
              <a:buFont typeface="+mj-lt"/>
              <a:buAutoNum type="arabicPeriod"/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 smtClean="0"/>
              <a:t>Insert Agenda point</a:t>
            </a:r>
          </a:p>
          <a:p>
            <a:pPr lvl="1"/>
            <a:r>
              <a:rPr lang="en-US" dirty="0" smtClean="0"/>
              <a:t>Second level 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s level</a:t>
            </a:r>
          </a:p>
          <a:p>
            <a:pPr lvl="7"/>
            <a:r>
              <a:rPr lang="en-US" dirty="0" smtClean="0"/>
              <a:t>Eight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381427087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8782781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w/ Logo">
    <p:bg>
      <p:bgPr>
        <a:blipFill dpi="0" rotWithShape="1">
          <a:blip r:embed="rId4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1266" name="think-cell スライド" r:id="rId5" imgW="360" imgH="360" progId="TCLayout.ActiveDocument.1">
                  <p:embed/>
                </p:oleObj>
              </mc:Choice>
              <mc:Fallback>
                <p:oleObj name="think-cell スライド" r:id="rId5" imgW="360" imgH="36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9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28324" y="2045814"/>
            <a:ext cx="10932181" cy="1619625"/>
          </a:xfrm>
          <a:custGeom>
            <a:avLst/>
            <a:gdLst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75 w 10937875"/>
              <a:gd name="connsiteY2" fmla="*/ 1620000 h 1620000"/>
              <a:gd name="connsiteX3" fmla="*/ 0 w 10937875"/>
              <a:gd name="connsiteY3" fmla="*/ 1620000 h 1620000"/>
              <a:gd name="connsiteX4" fmla="*/ 0 w 10937875"/>
              <a:gd name="connsiteY4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75 w 10937875"/>
              <a:gd name="connsiteY2" fmla="*/ 1620000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10937875 w 10937875"/>
              <a:gd name="connsiteY3" fmla="*/ 1620000 h 1620000"/>
              <a:gd name="connsiteX4" fmla="*/ 6569541 w 10937875"/>
              <a:gd name="connsiteY4" fmla="*/ 1619979 h 1620000"/>
              <a:gd name="connsiteX5" fmla="*/ 0 w 10937875"/>
              <a:gd name="connsiteY5" fmla="*/ 1620000 h 1620000"/>
              <a:gd name="connsiteX6" fmla="*/ 0 w 10937875"/>
              <a:gd name="connsiteY6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937875" h="1620000">
                <a:moveTo>
                  <a:pt x="0" y="0"/>
                </a:moveTo>
                <a:lnTo>
                  <a:pt x="10937875" y="0"/>
                </a:lnTo>
                <a:cubicBezTo>
                  <a:pt x="10937870" y="414317"/>
                  <a:pt x="10937865" y="828635"/>
                  <a:pt x="10937860" y="1242952"/>
                </a:cubicBezTo>
                <a:lnTo>
                  <a:pt x="6569541" y="1619979"/>
                </a:lnTo>
                <a:lnTo>
                  <a:pt x="0" y="1620000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 rIns="0" anchor="t" anchorCtr="0">
            <a:noAutofit/>
          </a:bodyPr>
          <a:lstStyle>
            <a:lvl1pPr>
              <a:defRPr baseline="0">
                <a:solidFill>
                  <a:schemeClr val="bg1"/>
                </a:solidFill>
                <a:latin typeface="CorpoS" pitchFamily="2" charset="0"/>
                <a:sym typeface="CorpoS" pitchFamily="2" charset="0"/>
              </a:defRPr>
            </a:lvl1pPr>
          </a:lstStyle>
          <a:p>
            <a:r>
              <a:rPr lang="en-US" dirty="0" smtClean="0"/>
              <a:t>Referent's name: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</a:t>
            </a:r>
            <a:r>
              <a:rPr lang="en-US" dirty="0" smtClean="0"/>
              <a:t>(Body) 35 pt.</a:t>
            </a:r>
            <a:br>
              <a:rPr lang="en-US" dirty="0" smtClean="0"/>
            </a:br>
            <a:r>
              <a:rPr lang="en-US" dirty="0" smtClean="0"/>
              <a:t>Presentation title in two or three </a:t>
            </a:r>
            <a:br>
              <a:rPr lang="en-US" dirty="0" smtClean="0"/>
            </a:br>
            <a:r>
              <a:rPr lang="en-US" dirty="0" smtClean="0"/>
              <a:t>lines of text</a:t>
            </a:r>
            <a:endParaRPr lang="en-US" dirty="0"/>
          </a:p>
        </p:txBody>
      </p:sp>
      <p:pic>
        <p:nvPicPr>
          <p:cNvPr id="30" name="Wortmarke DAIMLER" descr="Daimler_RGB_100mm.png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9672" y="790853"/>
            <a:ext cx="3418220" cy="462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6022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/ content/ Headline 2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1590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2290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Headline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 35 pt.</a:t>
            </a:r>
            <a:br>
              <a:rPr lang="en-US" noProof="0" dirty="0" smtClean="0"/>
            </a:br>
            <a:r>
              <a:rPr lang="en-US" noProof="0" dirty="0" smtClean="0"/>
              <a:t>in two lines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629909" y="1504602"/>
            <a:ext cx="10930594" cy="4983236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noProof="0" dirty="0" smtClean="0"/>
              <a:t>Insert content or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 24 pt. (Mark-ups in Bold) // for conclusion, summary or short highlight: Home // Paragraph// Increase Li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(Conclusion, summary or short highlight)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s level</a:t>
            </a:r>
          </a:p>
          <a:p>
            <a:pPr lvl="7"/>
            <a:r>
              <a:rPr lang="en-US" dirty="0" smtClean="0"/>
              <a:t>Eight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7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7">
                <a:latin typeface="+mn-lt"/>
              </a:defRPr>
            </a:lvl2pPr>
            <a:lvl3pPr marL="0" indent="0" algn="l">
              <a:spcBef>
                <a:spcPts val="0"/>
              </a:spcBef>
              <a:defRPr sz="1197">
                <a:latin typeface="+mn-lt"/>
              </a:defRPr>
            </a:lvl3pPr>
            <a:lvl4pPr marL="0" indent="0" algn="l">
              <a:spcBef>
                <a:spcPts val="0"/>
              </a:spcBef>
              <a:defRPr sz="1197">
                <a:latin typeface="+mn-lt"/>
              </a:defRPr>
            </a:lvl4pPr>
            <a:lvl5pPr marL="0" indent="0" algn="l">
              <a:spcBef>
                <a:spcPts val="0"/>
              </a:spcBef>
              <a:defRPr sz="1197">
                <a:latin typeface="+mn-lt"/>
              </a:defRPr>
            </a:lvl5pPr>
            <a:lvl6pPr marL="0" indent="0" algn="l">
              <a:spcBef>
                <a:spcPts val="0"/>
              </a:spcBef>
              <a:defRPr sz="1197">
                <a:latin typeface="+mn-lt"/>
              </a:defRPr>
            </a:lvl6pPr>
            <a:lvl7pPr marL="0" indent="0" algn="l">
              <a:spcBef>
                <a:spcPts val="0"/>
              </a:spcBef>
              <a:defRPr sz="1197">
                <a:latin typeface="+mn-lt"/>
              </a:defRPr>
            </a:lvl7pPr>
            <a:lvl8pPr marL="0" indent="0" algn="l">
              <a:spcBef>
                <a:spcPts val="0"/>
              </a:spcBef>
              <a:defRPr sz="1197">
                <a:latin typeface="+mn-lt"/>
              </a:defRPr>
            </a:lvl8pPr>
            <a:lvl9pPr marL="0" indent="0" algn="l">
              <a:spcBef>
                <a:spcPts val="0"/>
              </a:spcBef>
              <a:defRPr sz="1197">
                <a:latin typeface="+mn-lt"/>
              </a:defRPr>
            </a:lvl9pPr>
          </a:lstStyle>
          <a:p>
            <a:pPr algn="r" defTabSz="1087763"/>
            <a:r>
              <a:rPr lang="en-US" smtClean="0">
                <a:solidFill>
                  <a:prstClr val="black"/>
                </a:solidFill>
              </a:rPr>
              <a:t> </a:t>
            </a:r>
            <a:fld id="{52531704-8F80-415D-BD2B-6B9991AE822F}" type="slidenum">
              <a:rPr lang="en-US" smtClean="0">
                <a:solidFill>
                  <a:prstClr val="black"/>
                </a:solidFill>
              </a:rPr>
              <a:pPr algn="r" defTabSz="1087763"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713887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  <p15:guide id="3" orient="horz" pos="950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/ Headline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 smtClean="0"/>
              <a:t>Headline in CorpoS (Body) 35 pt.</a:t>
            </a:r>
            <a:br>
              <a:rPr lang="en-GB" noProof="0" dirty="0" smtClean="0"/>
            </a:br>
            <a:r>
              <a:rPr lang="en-GB" noProof="0" dirty="0" smtClean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2878500" y="6564880"/>
            <a:ext cx="8120970" cy="215950"/>
          </a:xfrm>
          <a:prstGeom prst="rect">
            <a:avLst/>
          </a:prstGeom>
        </p:spPr>
        <p:txBody>
          <a:bodyPr/>
          <a:lstStyle/>
          <a:p>
            <a:endParaRPr lang="en-GB" dirty="0" smtClean="0"/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 smtClean="0"/>
              <a:t> </a:t>
            </a:r>
            <a:fld id="{52531704-8F80-415D-BD2B-6B9991AE822F}" type="slidenum">
              <a:rPr lang="en-GB" smtClean="0"/>
              <a:pPr algn="r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5611701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7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3314" name="think-cell スライド" r:id="rId4" imgW="360" imgH="360" progId="TCLayout.ActiveDocument.1">
                  <p:embed/>
                </p:oleObj>
              </mc:Choice>
              <mc:Fallback>
                <p:oleObj name="think-cell スライド" r:id="rId4" imgW="360" imgH="36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9671" y="285983"/>
            <a:ext cx="10931106" cy="1151733"/>
          </a:xfrm>
        </p:spPr>
        <p:txBody>
          <a:bodyPr/>
          <a:lstStyle/>
          <a:p>
            <a:r>
              <a:rPr lang="en-US" noProof="0" dirty="0" smtClean="0"/>
              <a:t>Headline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 35 pt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079124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097">
          <p15:clr>
            <a:srgbClr val="FBAE40"/>
          </p15:clr>
        </p15:guide>
        <p15:guide id="2">
          <p15:clr>
            <a:srgbClr val="FBAE40"/>
          </p15:clr>
        </p15:guide>
        <p15:guide id="3" pos="7682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lIns="0" rIns="0"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98401" y="203184"/>
            <a:ext cx="10194925" cy="215900"/>
          </a:xfrm>
        </p:spPr>
        <p:txBody>
          <a:bodyPr anchor="b" anchorCtr="0"/>
          <a:lstStyle>
            <a:lvl1pPr>
              <a:defRPr sz="1199" b="1">
                <a:solidFill>
                  <a:srgbClr val="0091DA"/>
                </a:solidFill>
              </a:defRPr>
            </a:lvl1pPr>
          </a:lstStyle>
          <a:p>
            <a:pPr lvl="0"/>
            <a:r>
              <a:rPr lang="en-US" dirty="0" smtClean="0"/>
              <a:t>Click to edit Master super title styl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77468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lIns="0" rIns="0"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98401" y="203184"/>
            <a:ext cx="10194925" cy="215900"/>
          </a:xfrm>
        </p:spPr>
        <p:txBody>
          <a:bodyPr anchor="b" anchorCtr="0"/>
          <a:lstStyle>
            <a:lvl1pPr>
              <a:defRPr sz="1199" b="1">
                <a:solidFill>
                  <a:srgbClr val="0091DA"/>
                </a:solidFill>
              </a:defRPr>
            </a:lvl1pPr>
          </a:lstStyle>
          <a:p>
            <a:pPr lvl="0"/>
            <a:r>
              <a:rPr lang="en-US" dirty="0" smtClean="0"/>
              <a:t>Click to edit Master super title styl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53913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heme" Target="../theme/theme1.xml"/><Relationship Id="rId38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oleObject" Target="../embeddings/oleObject1.bin"/><Relationship Id="rId40" Type="http://schemas.openxmlformats.org/officeDocument/2006/relationships/image" Target="../media/image3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2.xml"/></Relationships>
</file>

<file path=ppt/slideMasters/_rels/slideMaster10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57.xml"/><Relationship Id="rId18" Type="http://schemas.openxmlformats.org/officeDocument/2006/relationships/slideLayout" Target="../slideLayouts/slideLayout162.xml"/><Relationship Id="rId26" Type="http://schemas.openxmlformats.org/officeDocument/2006/relationships/slideLayout" Target="../slideLayouts/slideLayout170.xml"/><Relationship Id="rId39" Type="http://schemas.openxmlformats.org/officeDocument/2006/relationships/slideLayout" Target="../slideLayouts/slideLayout183.xml"/><Relationship Id="rId21" Type="http://schemas.openxmlformats.org/officeDocument/2006/relationships/slideLayout" Target="../slideLayouts/slideLayout165.xml"/><Relationship Id="rId34" Type="http://schemas.openxmlformats.org/officeDocument/2006/relationships/slideLayout" Target="../slideLayouts/slideLayout178.xml"/><Relationship Id="rId42" Type="http://schemas.openxmlformats.org/officeDocument/2006/relationships/slideLayout" Target="../slideLayouts/slideLayout186.xml"/><Relationship Id="rId47" Type="http://schemas.openxmlformats.org/officeDocument/2006/relationships/slideLayout" Target="../slideLayouts/slideLayout191.xml"/><Relationship Id="rId50" Type="http://schemas.openxmlformats.org/officeDocument/2006/relationships/slideLayout" Target="../slideLayouts/slideLayout194.xml"/><Relationship Id="rId55" Type="http://schemas.openxmlformats.org/officeDocument/2006/relationships/slideLayout" Target="../slideLayouts/slideLayout199.xml"/><Relationship Id="rId63" Type="http://schemas.openxmlformats.org/officeDocument/2006/relationships/slideLayout" Target="../slideLayouts/slideLayout207.xml"/><Relationship Id="rId68" Type="http://schemas.openxmlformats.org/officeDocument/2006/relationships/slideLayout" Target="../slideLayouts/slideLayout212.xml"/><Relationship Id="rId76" Type="http://schemas.openxmlformats.org/officeDocument/2006/relationships/tags" Target="../tags/tag44.xml"/><Relationship Id="rId7" Type="http://schemas.openxmlformats.org/officeDocument/2006/relationships/slideLayout" Target="../slideLayouts/slideLayout151.xml"/><Relationship Id="rId71" Type="http://schemas.openxmlformats.org/officeDocument/2006/relationships/slideLayout" Target="../slideLayouts/slideLayout215.xml"/><Relationship Id="rId2" Type="http://schemas.openxmlformats.org/officeDocument/2006/relationships/slideLayout" Target="../slideLayouts/slideLayout146.xml"/><Relationship Id="rId16" Type="http://schemas.openxmlformats.org/officeDocument/2006/relationships/slideLayout" Target="../slideLayouts/slideLayout160.xml"/><Relationship Id="rId29" Type="http://schemas.openxmlformats.org/officeDocument/2006/relationships/slideLayout" Target="../slideLayouts/slideLayout173.xml"/><Relationship Id="rId11" Type="http://schemas.openxmlformats.org/officeDocument/2006/relationships/slideLayout" Target="../slideLayouts/slideLayout155.xml"/><Relationship Id="rId24" Type="http://schemas.openxmlformats.org/officeDocument/2006/relationships/slideLayout" Target="../slideLayouts/slideLayout168.xml"/><Relationship Id="rId32" Type="http://schemas.openxmlformats.org/officeDocument/2006/relationships/slideLayout" Target="../slideLayouts/slideLayout176.xml"/><Relationship Id="rId37" Type="http://schemas.openxmlformats.org/officeDocument/2006/relationships/slideLayout" Target="../slideLayouts/slideLayout181.xml"/><Relationship Id="rId40" Type="http://schemas.openxmlformats.org/officeDocument/2006/relationships/slideLayout" Target="../slideLayouts/slideLayout184.xml"/><Relationship Id="rId45" Type="http://schemas.openxmlformats.org/officeDocument/2006/relationships/slideLayout" Target="../slideLayouts/slideLayout189.xml"/><Relationship Id="rId53" Type="http://schemas.openxmlformats.org/officeDocument/2006/relationships/slideLayout" Target="../slideLayouts/slideLayout197.xml"/><Relationship Id="rId58" Type="http://schemas.openxmlformats.org/officeDocument/2006/relationships/slideLayout" Target="../slideLayouts/slideLayout202.xml"/><Relationship Id="rId66" Type="http://schemas.openxmlformats.org/officeDocument/2006/relationships/slideLayout" Target="../slideLayouts/slideLayout210.xml"/><Relationship Id="rId74" Type="http://schemas.openxmlformats.org/officeDocument/2006/relationships/theme" Target="../theme/theme10.xml"/><Relationship Id="rId79" Type="http://schemas.openxmlformats.org/officeDocument/2006/relationships/image" Target="../media/image29.emf"/><Relationship Id="rId5" Type="http://schemas.openxmlformats.org/officeDocument/2006/relationships/slideLayout" Target="../slideLayouts/slideLayout149.xml"/><Relationship Id="rId61" Type="http://schemas.openxmlformats.org/officeDocument/2006/relationships/slideLayout" Target="../slideLayouts/slideLayout205.xml"/><Relationship Id="rId10" Type="http://schemas.openxmlformats.org/officeDocument/2006/relationships/slideLayout" Target="../slideLayouts/slideLayout154.xml"/><Relationship Id="rId19" Type="http://schemas.openxmlformats.org/officeDocument/2006/relationships/slideLayout" Target="../slideLayouts/slideLayout163.xml"/><Relationship Id="rId31" Type="http://schemas.openxmlformats.org/officeDocument/2006/relationships/slideLayout" Target="../slideLayouts/slideLayout175.xml"/><Relationship Id="rId44" Type="http://schemas.openxmlformats.org/officeDocument/2006/relationships/slideLayout" Target="../slideLayouts/slideLayout188.xml"/><Relationship Id="rId52" Type="http://schemas.openxmlformats.org/officeDocument/2006/relationships/slideLayout" Target="../slideLayouts/slideLayout196.xml"/><Relationship Id="rId60" Type="http://schemas.openxmlformats.org/officeDocument/2006/relationships/slideLayout" Target="../slideLayouts/slideLayout204.xml"/><Relationship Id="rId65" Type="http://schemas.openxmlformats.org/officeDocument/2006/relationships/slideLayout" Target="../slideLayouts/slideLayout209.xml"/><Relationship Id="rId73" Type="http://schemas.openxmlformats.org/officeDocument/2006/relationships/slideLayout" Target="../slideLayouts/slideLayout217.xml"/><Relationship Id="rId78" Type="http://schemas.openxmlformats.org/officeDocument/2006/relationships/oleObject" Target="../embeddings/oleObject20.bin"/><Relationship Id="rId4" Type="http://schemas.openxmlformats.org/officeDocument/2006/relationships/slideLayout" Target="../slideLayouts/slideLayout148.xml"/><Relationship Id="rId9" Type="http://schemas.openxmlformats.org/officeDocument/2006/relationships/slideLayout" Target="../slideLayouts/slideLayout153.xml"/><Relationship Id="rId14" Type="http://schemas.openxmlformats.org/officeDocument/2006/relationships/slideLayout" Target="../slideLayouts/slideLayout158.xml"/><Relationship Id="rId22" Type="http://schemas.openxmlformats.org/officeDocument/2006/relationships/slideLayout" Target="../slideLayouts/slideLayout166.xml"/><Relationship Id="rId27" Type="http://schemas.openxmlformats.org/officeDocument/2006/relationships/slideLayout" Target="../slideLayouts/slideLayout171.xml"/><Relationship Id="rId30" Type="http://schemas.openxmlformats.org/officeDocument/2006/relationships/slideLayout" Target="../slideLayouts/slideLayout174.xml"/><Relationship Id="rId35" Type="http://schemas.openxmlformats.org/officeDocument/2006/relationships/slideLayout" Target="../slideLayouts/slideLayout179.xml"/><Relationship Id="rId43" Type="http://schemas.openxmlformats.org/officeDocument/2006/relationships/slideLayout" Target="../slideLayouts/slideLayout187.xml"/><Relationship Id="rId48" Type="http://schemas.openxmlformats.org/officeDocument/2006/relationships/slideLayout" Target="../slideLayouts/slideLayout192.xml"/><Relationship Id="rId56" Type="http://schemas.openxmlformats.org/officeDocument/2006/relationships/slideLayout" Target="../slideLayouts/slideLayout200.xml"/><Relationship Id="rId64" Type="http://schemas.openxmlformats.org/officeDocument/2006/relationships/slideLayout" Target="../slideLayouts/slideLayout208.xml"/><Relationship Id="rId69" Type="http://schemas.openxmlformats.org/officeDocument/2006/relationships/slideLayout" Target="../slideLayouts/slideLayout213.xml"/><Relationship Id="rId77" Type="http://schemas.openxmlformats.org/officeDocument/2006/relationships/tags" Target="../tags/tag45.xml"/><Relationship Id="rId8" Type="http://schemas.openxmlformats.org/officeDocument/2006/relationships/slideLayout" Target="../slideLayouts/slideLayout152.xml"/><Relationship Id="rId51" Type="http://schemas.openxmlformats.org/officeDocument/2006/relationships/slideLayout" Target="../slideLayouts/slideLayout195.xml"/><Relationship Id="rId72" Type="http://schemas.openxmlformats.org/officeDocument/2006/relationships/slideLayout" Target="../slideLayouts/slideLayout216.xml"/><Relationship Id="rId3" Type="http://schemas.openxmlformats.org/officeDocument/2006/relationships/slideLayout" Target="../slideLayouts/slideLayout147.xml"/><Relationship Id="rId12" Type="http://schemas.openxmlformats.org/officeDocument/2006/relationships/slideLayout" Target="../slideLayouts/slideLayout156.xml"/><Relationship Id="rId17" Type="http://schemas.openxmlformats.org/officeDocument/2006/relationships/slideLayout" Target="../slideLayouts/slideLayout161.xml"/><Relationship Id="rId25" Type="http://schemas.openxmlformats.org/officeDocument/2006/relationships/slideLayout" Target="../slideLayouts/slideLayout169.xml"/><Relationship Id="rId33" Type="http://schemas.openxmlformats.org/officeDocument/2006/relationships/slideLayout" Target="../slideLayouts/slideLayout177.xml"/><Relationship Id="rId38" Type="http://schemas.openxmlformats.org/officeDocument/2006/relationships/slideLayout" Target="../slideLayouts/slideLayout182.xml"/><Relationship Id="rId46" Type="http://schemas.openxmlformats.org/officeDocument/2006/relationships/slideLayout" Target="../slideLayouts/slideLayout190.xml"/><Relationship Id="rId59" Type="http://schemas.openxmlformats.org/officeDocument/2006/relationships/slideLayout" Target="../slideLayouts/slideLayout203.xml"/><Relationship Id="rId67" Type="http://schemas.openxmlformats.org/officeDocument/2006/relationships/slideLayout" Target="../slideLayouts/slideLayout211.xml"/><Relationship Id="rId20" Type="http://schemas.openxmlformats.org/officeDocument/2006/relationships/slideLayout" Target="../slideLayouts/slideLayout164.xml"/><Relationship Id="rId41" Type="http://schemas.openxmlformats.org/officeDocument/2006/relationships/slideLayout" Target="../slideLayouts/slideLayout185.xml"/><Relationship Id="rId54" Type="http://schemas.openxmlformats.org/officeDocument/2006/relationships/slideLayout" Target="../slideLayouts/slideLayout198.xml"/><Relationship Id="rId62" Type="http://schemas.openxmlformats.org/officeDocument/2006/relationships/slideLayout" Target="../slideLayouts/slideLayout206.xml"/><Relationship Id="rId70" Type="http://schemas.openxmlformats.org/officeDocument/2006/relationships/slideLayout" Target="../slideLayouts/slideLayout214.xml"/><Relationship Id="rId75" Type="http://schemas.openxmlformats.org/officeDocument/2006/relationships/vmlDrawing" Target="../drawings/vmlDrawing19.vml"/><Relationship Id="rId1" Type="http://schemas.openxmlformats.org/officeDocument/2006/relationships/slideLayout" Target="../slideLayouts/slideLayout145.xml"/><Relationship Id="rId6" Type="http://schemas.openxmlformats.org/officeDocument/2006/relationships/slideLayout" Target="../slideLayouts/slideLayout150.xml"/><Relationship Id="rId15" Type="http://schemas.openxmlformats.org/officeDocument/2006/relationships/slideLayout" Target="../slideLayouts/slideLayout159.xml"/><Relationship Id="rId23" Type="http://schemas.openxmlformats.org/officeDocument/2006/relationships/slideLayout" Target="../slideLayouts/slideLayout167.xml"/><Relationship Id="rId28" Type="http://schemas.openxmlformats.org/officeDocument/2006/relationships/slideLayout" Target="../slideLayouts/slideLayout172.xml"/><Relationship Id="rId36" Type="http://schemas.openxmlformats.org/officeDocument/2006/relationships/slideLayout" Target="../slideLayouts/slideLayout180.xml"/><Relationship Id="rId49" Type="http://schemas.openxmlformats.org/officeDocument/2006/relationships/slideLayout" Target="../slideLayouts/slideLayout193.xml"/><Relationship Id="rId57" Type="http://schemas.openxmlformats.org/officeDocument/2006/relationships/slideLayout" Target="../slideLayouts/slideLayout201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1.xml"/><Relationship Id="rId13" Type="http://schemas.openxmlformats.org/officeDocument/2006/relationships/oleObject" Target="../embeddings/oleObject77.bin"/><Relationship Id="rId3" Type="http://schemas.openxmlformats.org/officeDocument/2006/relationships/slideLayout" Target="../slideLayouts/slideLayout220.xml"/><Relationship Id="rId7" Type="http://schemas.openxmlformats.org/officeDocument/2006/relationships/slideLayout" Target="../slideLayouts/slideLayout224.xml"/><Relationship Id="rId12" Type="http://schemas.openxmlformats.org/officeDocument/2006/relationships/tags" Target="../tags/tag141.xml"/><Relationship Id="rId2" Type="http://schemas.openxmlformats.org/officeDocument/2006/relationships/slideLayout" Target="../slideLayouts/slideLayout219.xml"/><Relationship Id="rId1" Type="http://schemas.openxmlformats.org/officeDocument/2006/relationships/slideLayout" Target="../slideLayouts/slideLayout218.xml"/><Relationship Id="rId6" Type="http://schemas.openxmlformats.org/officeDocument/2006/relationships/slideLayout" Target="../slideLayouts/slideLayout223.xml"/><Relationship Id="rId11" Type="http://schemas.openxmlformats.org/officeDocument/2006/relationships/tags" Target="../tags/tag140.xml"/><Relationship Id="rId5" Type="http://schemas.openxmlformats.org/officeDocument/2006/relationships/slideLayout" Target="../slideLayouts/slideLayout222.xml"/><Relationship Id="rId15" Type="http://schemas.openxmlformats.org/officeDocument/2006/relationships/image" Target="../media/image25.png"/><Relationship Id="rId10" Type="http://schemas.openxmlformats.org/officeDocument/2006/relationships/tags" Target="../tags/tag139.xml"/><Relationship Id="rId4" Type="http://schemas.openxmlformats.org/officeDocument/2006/relationships/slideLayout" Target="../slideLayouts/slideLayout221.xml"/><Relationship Id="rId9" Type="http://schemas.openxmlformats.org/officeDocument/2006/relationships/vmlDrawing" Target="../drawings/vmlDrawing76.vml"/><Relationship Id="rId14" Type="http://schemas.openxmlformats.org/officeDocument/2006/relationships/image" Target="../media/image24.emf"/></Relationships>
</file>

<file path=ppt/slideMasters/_rels/slideMaster1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37.xml"/><Relationship Id="rId18" Type="http://schemas.openxmlformats.org/officeDocument/2006/relationships/slideLayout" Target="../slideLayouts/slideLayout242.xml"/><Relationship Id="rId26" Type="http://schemas.openxmlformats.org/officeDocument/2006/relationships/slideLayout" Target="../slideLayouts/slideLayout250.xml"/><Relationship Id="rId39" Type="http://schemas.openxmlformats.org/officeDocument/2006/relationships/slideLayout" Target="../slideLayouts/slideLayout263.xml"/><Relationship Id="rId21" Type="http://schemas.openxmlformats.org/officeDocument/2006/relationships/slideLayout" Target="../slideLayouts/slideLayout245.xml"/><Relationship Id="rId34" Type="http://schemas.openxmlformats.org/officeDocument/2006/relationships/slideLayout" Target="../slideLayouts/slideLayout258.xml"/><Relationship Id="rId42" Type="http://schemas.openxmlformats.org/officeDocument/2006/relationships/slideLayout" Target="../slideLayouts/slideLayout266.xml"/><Relationship Id="rId47" Type="http://schemas.openxmlformats.org/officeDocument/2006/relationships/slideLayout" Target="../slideLayouts/slideLayout271.xml"/><Relationship Id="rId50" Type="http://schemas.openxmlformats.org/officeDocument/2006/relationships/slideLayout" Target="../slideLayouts/slideLayout274.xml"/><Relationship Id="rId55" Type="http://schemas.openxmlformats.org/officeDocument/2006/relationships/slideLayout" Target="../slideLayouts/slideLayout279.xml"/><Relationship Id="rId7" Type="http://schemas.openxmlformats.org/officeDocument/2006/relationships/slideLayout" Target="../slideLayouts/slideLayout231.xml"/><Relationship Id="rId2" Type="http://schemas.openxmlformats.org/officeDocument/2006/relationships/slideLayout" Target="../slideLayouts/slideLayout226.xml"/><Relationship Id="rId16" Type="http://schemas.openxmlformats.org/officeDocument/2006/relationships/slideLayout" Target="../slideLayouts/slideLayout240.xml"/><Relationship Id="rId20" Type="http://schemas.openxmlformats.org/officeDocument/2006/relationships/slideLayout" Target="../slideLayouts/slideLayout244.xml"/><Relationship Id="rId29" Type="http://schemas.openxmlformats.org/officeDocument/2006/relationships/slideLayout" Target="../slideLayouts/slideLayout253.xml"/><Relationship Id="rId41" Type="http://schemas.openxmlformats.org/officeDocument/2006/relationships/slideLayout" Target="../slideLayouts/slideLayout265.xml"/><Relationship Id="rId54" Type="http://schemas.openxmlformats.org/officeDocument/2006/relationships/slideLayout" Target="../slideLayouts/slideLayout278.xml"/><Relationship Id="rId1" Type="http://schemas.openxmlformats.org/officeDocument/2006/relationships/slideLayout" Target="../slideLayouts/slideLayout225.xml"/><Relationship Id="rId6" Type="http://schemas.openxmlformats.org/officeDocument/2006/relationships/slideLayout" Target="../slideLayouts/slideLayout230.xml"/><Relationship Id="rId11" Type="http://schemas.openxmlformats.org/officeDocument/2006/relationships/slideLayout" Target="../slideLayouts/slideLayout235.xml"/><Relationship Id="rId24" Type="http://schemas.openxmlformats.org/officeDocument/2006/relationships/slideLayout" Target="../slideLayouts/slideLayout248.xml"/><Relationship Id="rId32" Type="http://schemas.openxmlformats.org/officeDocument/2006/relationships/slideLayout" Target="../slideLayouts/slideLayout256.xml"/><Relationship Id="rId37" Type="http://schemas.openxmlformats.org/officeDocument/2006/relationships/slideLayout" Target="../slideLayouts/slideLayout261.xml"/><Relationship Id="rId40" Type="http://schemas.openxmlformats.org/officeDocument/2006/relationships/slideLayout" Target="../slideLayouts/slideLayout264.xml"/><Relationship Id="rId45" Type="http://schemas.openxmlformats.org/officeDocument/2006/relationships/slideLayout" Target="../slideLayouts/slideLayout269.xml"/><Relationship Id="rId53" Type="http://schemas.openxmlformats.org/officeDocument/2006/relationships/slideLayout" Target="../slideLayouts/slideLayout277.xml"/><Relationship Id="rId58" Type="http://schemas.openxmlformats.org/officeDocument/2006/relationships/vmlDrawing" Target="../drawings/vmlDrawing81.vml"/><Relationship Id="rId5" Type="http://schemas.openxmlformats.org/officeDocument/2006/relationships/slideLayout" Target="../slideLayouts/slideLayout229.xml"/><Relationship Id="rId15" Type="http://schemas.openxmlformats.org/officeDocument/2006/relationships/slideLayout" Target="../slideLayouts/slideLayout239.xml"/><Relationship Id="rId23" Type="http://schemas.openxmlformats.org/officeDocument/2006/relationships/slideLayout" Target="../slideLayouts/slideLayout247.xml"/><Relationship Id="rId28" Type="http://schemas.openxmlformats.org/officeDocument/2006/relationships/slideLayout" Target="../slideLayouts/slideLayout252.xml"/><Relationship Id="rId36" Type="http://schemas.openxmlformats.org/officeDocument/2006/relationships/slideLayout" Target="../slideLayouts/slideLayout260.xml"/><Relationship Id="rId49" Type="http://schemas.openxmlformats.org/officeDocument/2006/relationships/slideLayout" Target="../slideLayouts/slideLayout273.xml"/><Relationship Id="rId57" Type="http://schemas.openxmlformats.org/officeDocument/2006/relationships/theme" Target="../theme/theme12.xml"/><Relationship Id="rId61" Type="http://schemas.openxmlformats.org/officeDocument/2006/relationships/image" Target="../media/image29.emf"/><Relationship Id="rId10" Type="http://schemas.openxmlformats.org/officeDocument/2006/relationships/slideLayout" Target="../slideLayouts/slideLayout234.xml"/><Relationship Id="rId19" Type="http://schemas.openxmlformats.org/officeDocument/2006/relationships/slideLayout" Target="../slideLayouts/slideLayout243.xml"/><Relationship Id="rId31" Type="http://schemas.openxmlformats.org/officeDocument/2006/relationships/slideLayout" Target="../slideLayouts/slideLayout255.xml"/><Relationship Id="rId44" Type="http://schemas.openxmlformats.org/officeDocument/2006/relationships/slideLayout" Target="../slideLayouts/slideLayout268.xml"/><Relationship Id="rId52" Type="http://schemas.openxmlformats.org/officeDocument/2006/relationships/slideLayout" Target="../slideLayouts/slideLayout276.xml"/><Relationship Id="rId60" Type="http://schemas.openxmlformats.org/officeDocument/2006/relationships/oleObject" Target="../embeddings/oleObject83.bin"/><Relationship Id="rId4" Type="http://schemas.openxmlformats.org/officeDocument/2006/relationships/slideLayout" Target="../slideLayouts/slideLayout228.xml"/><Relationship Id="rId9" Type="http://schemas.openxmlformats.org/officeDocument/2006/relationships/slideLayout" Target="../slideLayouts/slideLayout233.xml"/><Relationship Id="rId14" Type="http://schemas.openxmlformats.org/officeDocument/2006/relationships/slideLayout" Target="../slideLayouts/slideLayout238.xml"/><Relationship Id="rId22" Type="http://schemas.openxmlformats.org/officeDocument/2006/relationships/slideLayout" Target="../slideLayouts/slideLayout246.xml"/><Relationship Id="rId27" Type="http://schemas.openxmlformats.org/officeDocument/2006/relationships/slideLayout" Target="../slideLayouts/slideLayout251.xml"/><Relationship Id="rId30" Type="http://schemas.openxmlformats.org/officeDocument/2006/relationships/slideLayout" Target="../slideLayouts/slideLayout254.xml"/><Relationship Id="rId35" Type="http://schemas.openxmlformats.org/officeDocument/2006/relationships/slideLayout" Target="../slideLayouts/slideLayout259.xml"/><Relationship Id="rId43" Type="http://schemas.openxmlformats.org/officeDocument/2006/relationships/slideLayout" Target="../slideLayouts/slideLayout267.xml"/><Relationship Id="rId48" Type="http://schemas.openxmlformats.org/officeDocument/2006/relationships/slideLayout" Target="../slideLayouts/slideLayout272.xml"/><Relationship Id="rId56" Type="http://schemas.openxmlformats.org/officeDocument/2006/relationships/slideLayout" Target="../slideLayouts/slideLayout280.xml"/><Relationship Id="rId8" Type="http://schemas.openxmlformats.org/officeDocument/2006/relationships/slideLayout" Target="../slideLayouts/slideLayout232.xml"/><Relationship Id="rId51" Type="http://schemas.openxmlformats.org/officeDocument/2006/relationships/slideLayout" Target="../slideLayouts/slideLayout275.xml"/><Relationship Id="rId3" Type="http://schemas.openxmlformats.org/officeDocument/2006/relationships/slideLayout" Target="../slideLayouts/slideLayout227.xml"/><Relationship Id="rId12" Type="http://schemas.openxmlformats.org/officeDocument/2006/relationships/slideLayout" Target="../slideLayouts/slideLayout236.xml"/><Relationship Id="rId17" Type="http://schemas.openxmlformats.org/officeDocument/2006/relationships/slideLayout" Target="../slideLayouts/slideLayout241.xml"/><Relationship Id="rId25" Type="http://schemas.openxmlformats.org/officeDocument/2006/relationships/slideLayout" Target="../slideLayouts/slideLayout249.xml"/><Relationship Id="rId33" Type="http://schemas.openxmlformats.org/officeDocument/2006/relationships/slideLayout" Target="../slideLayouts/slideLayout257.xml"/><Relationship Id="rId38" Type="http://schemas.openxmlformats.org/officeDocument/2006/relationships/slideLayout" Target="../slideLayouts/slideLayout262.xml"/><Relationship Id="rId46" Type="http://schemas.openxmlformats.org/officeDocument/2006/relationships/slideLayout" Target="../slideLayouts/slideLayout270.xml"/><Relationship Id="rId59" Type="http://schemas.openxmlformats.org/officeDocument/2006/relationships/tags" Target="../tags/tag147.xml"/></Relationships>
</file>

<file path=ppt/slideMasters/_rels/slideMaster1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93.xml"/><Relationship Id="rId18" Type="http://schemas.openxmlformats.org/officeDocument/2006/relationships/slideLayout" Target="../slideLayouts/slideLayout298.xml"/><Relationship Id="rId26" Type="http://schemas.openxmlformats.org/officeDocument/2006/relationships/slideLayout" Target="../slideLayouts/slideLayout306.xml"/><Relationship Id="rId39" Type="http://schemas.openxmlformats.org/officeDocument/2006/relationships/slideLayout" Target="../slideLayouts/slideLayout319.xml"/><Relationship Id="rId21" Type="http://schemas.openxmlformats.org/officeDocument/2006/relationships/slideLayout" Target="../slideLayouts/slideLayout301.xml"/><Relationship Id="rId34" Type="http://schemas.openxmlformats.org/officeDocument/2006/relationships/slideLayout" Target="../slideLayouts/slideLayout314.xml"/><Relationship Id="rId42" Type="http://schemas.openxmlformats.org/officeDocument/2006/relationships/slideLayout" Target="../slideLayouts/slideLayout322.xml"/><Relationship Id="rId47" Type="http://schemas.openxmlformats.org/officeDocument/2006/relationships/slideLayout" Target="../slideLayouts/slideLayout327.xml"/><Relationship Id="rId50" Type="http://schemas.openxmlformats.org/officeDocument/2006/relationships/slideLayout" Target="../slideLayouts/slideLayout330.xml"/><Relationship Id="rId55" Type="http://schemas.openxmlformats.org/officeDocument/2006/relationships/slideLayout" Target="../slideLayouts/slideLayout335.xml"/><Relationship Id="rId7" Type="http://schemas.openxmlformats.org/officeDocument/2006/relationships/slideLayout" Target="../slideLayouts/slideLayout287.xml"/><Relationship Id="rId2" Type="http://schemas.openxmlformats.org/officeDocument/2006/relationships/slideLayout" Target="../slideLayouts/slideLayout282.xml"/><Relationship Id="rId16" Type="http://schemas.openxmlformats.org/officeDocument/2006/relationships/slideLayout" Target="../slideLayouts/slideLayout296.xml"/><Relationship Id="rId20" Type="http://schemas.openxmlformats.org/officeDocument/2006/relationships/slideLayout" Target="../slideLayouts/slideLayout300.xml"/><Relationship Id="rId29" Type="http://schemas.openxmlformats.org/officeDocument/2006/relationships/slideLayout" Target="../slideLayouts/slideLayout309.xml"/><Relationship Id="rId41" Type="http://schemas.openxmlformats.org/officeDocument/2006/relationships/slideLayout" Target="../slideLayouts/slideLayout321.xml"/><Relationship Id="rId54" Type="http://schemas.openxmlformats.org/officeDocument/2006/relationships/slideLayout" Target="../slideLayouts/slideLayout334.xml"/><Relationship Id="rId1" Type="http://schemas.openxmlformats.org/officeDocument/2006/relationships/slideLayout" Target="../slideLayouts/slideLayout281.xml"/><Relationship Id="rId6" Type="http://schemas.openxmlformats.org/officeDocument/2006/relationships/slideLayout" Target="../slideLayouts/slideLayout286.xml"/><Relationship Id="rId11" Type="http://schemas.openxmlformats.org/officeDocument/2006/relationships/slideLayout" Target="../slideLayouts/slideLayout291.xml"/><Relationship Id="rId24" Type="http://schemas.openxmlformats.org/officeDocument/2006/relationships/slideLayout" Target="../slideLayouts/slideLayout304.xml"/><Relationship Id="rId32" Type="http://schemas.openxmlformats.org/officeDocument/2006/relationships/slideLayout" Target="../slideLayouts/slideLayout312.xml"/><Relationship Id="rId37" Type="http://schemas.openxmlformats.org/officeDocument/2006/relationships/slideLayout" Target="../slideLayouts/slideLayout317.xml"/><Relationship Id="rId40" Type="http://schemas.openxmlformats.org/officeDocument/2006/relationships/slideLayout" Target="../slideLayouts/slideLayout320.xml"/><Relationship Id="rId45" Type="http://schemas.openxmlformats.org/officeDocument/2006/relationships/slideLayout" Target="../slideLayouts/slideLayout325.xml"/><Relationship Id="rId53" Type="http://schemas.openxmlformats.org/officeDocument/2006/relationships/slideLayout" Target="../slideLayouts/slideLayout333.xml"/><Relationship Id="rId58" Type="http://schemas.openxmlformats.org/officeDocument/2006/relationships/vmlDrawing" Target="../drawings/vmlDrawing138.vml"/><Relationship Id="rId5" Type="http://schemas.openxmlformats.org/officeDocument/2006/relationships/slideLayout" Target="../slideLayouts/slideLayout285.xml"/><Relationship Id="rId15" Type="http://schemas.openxmlformats.org/officeDocument/2006/relationships/slideLayout" Target="../slideLayouts/slideLayout295.xml"/><Relationship Id="rId23" Type="http://schemas.openxmlformats.org/officeDocument/2006/relationships/slideLayout" Target="../slideLayouts/slideLayout303.xml"/><Relationship Id="rId28" Type="http://schemas.openxmlformats.org/officeDocument/2006/relationships/slideLayout" Target="../slideLayouts/slideLayout308.xml"/><Relationship Id="rId36" Type="http://schemas.openxmlformats.org/officeDocument/2006/relationships/slideLayout" Target="../slideLayouts/slideLayout316.xml"/><Relationship Id="rId49" Type="http://schemas.openxmlformats.org/officeDocument/2006/relationships/slideLayout" Target="../slideLayouts/slideLayout329.xml"/><Relationship Id="rId57" Type="http://schemas.openxmlformats.org/officeDocument/2006/relationships/theme" Target="../theme/theme13.xml"/><Relationship Id="rId61" Type="http://schemas.openxmlformats.org/officeDocument/2006/relationships/image" Target="../media/image29.emf"/><Relationship Id="rId10" Type="http://schemas.openxmlformats.org/officeDocument/2006/relationships/slideLayout" Target="../slideLayouts/slideLayout290.xml"/><Relationship Id="rId19" Type="http://schemas.openxmlformats.org/officeDocument/2006/relationships/slideLayout" Target="../slideLayouts/slideLayout299.xml"/><Relationship Id="rId31" Type="http://schemas.openxmlformats.org/officeDocument/2006/relationships/slideLayout" Target="../slideLayouts/slideLayout311.xml"/><Relationship Id="rId44" Type="http://schemas.openxmlformats.org/officeDocument/2006/relationships/slideLayout" Target="../slideLayouts/slideLayout324.xml"/><Relationship Id="rId52" Type="http://schemas.openxmlformats.org/officeDocument/2006/relationships/slideLayout" Target="../slideLayouts/slideLayout332.xml"/><Relationship Id="rId60" Type="http://schemas.openxmlformats.org/officeDocument/2006/relationships/oleObject" Target="../embeddings/oleObject140.bin"/><Relationship Id="rId4" Type="http://schemas.openxmlformats.org/officeDocument/2006/relationships/slideLayout" Target="../slideLayouts/slideLayout284.xml"/><Relationship Id="rId9" Type="http://schemas.openxmlformats.org/officeDocument/2006/relationships/slideLayout" Target="../slideLayouts/slideLayout289.xml"/><Relationship Id="rId14" Type="http://schemas.openxmlformats.org/officeDocument/2006/relationships/slideLayout" Target="../slideLayouts/slideLayout294.xml"/><Relationship Id="rId22" Type="http://schemas.openxmlformats.org/officeDocument/2006/relationships/slideLayout" Target="../slideLayouts/slideLayout302.xml"/><Relationship Id="rId27" Type="http://schemas.openxmlformats.org/officeDocument/2006/relationships/slideLayout" Target="../slideLayouts/slideLayout307.xml"/><Relationship Id="rId30" Type="http://schemas.openxmlformats.org/officeDocument/2006/relationships/slideLayout" Target="../slideLayouts/slideLayout310.xml"/><Relationship Id="rId35" Type="http://schemas.openxmlformats.org/officeDocument/2006/relationships/slideLayout" Target="../slideLayouts/slideLayout315.xml"/><Relationship Id="rId43" Type="http://schemas.openxmlformats.org/officeDocument/2006/relationships/slideLayout" Target="../slideLayouts/slideLayout323.xml"/><Relationship Id="rId48" Type="http://schemas.openxmlformats.org/officeDocument/2006/relationships/slideLayout" Target="../slideLayouts/slideLayout328.xml"/><Relationship Id="rId56" Type="http://schemas.openxmlformats.org/officeDocument/2006/relationships/slideLayout" Target="../slideLayouts/slideLayout336.xml"/><Relationship Id="rId8" Type="http://schemas.openxmlformats.org/officeDocument/2006/relationships/slideLayout" Target="../slideLayouts/slideLayout288.xml"/><Relationship Id="rId51" Type="http://schemas.openxmlformats.org/officeDocument/2006/relationships/slideLayout" Target="../slideLayouts/slideLayout331.xml"/><Relationship Id="rId3" Type="http://schemas.openxmlformats.org/officeDocument/2006/relationships/slideLayout" Target="../slideLayouts/slideLayout283.xml"/><Relationship Id="rId12" Type="http://schemas.openxmlformats.org/officeDocument/2006/relationships/slideLayout" Target="../slideLayouts/slideLayout292.xml"/><Relationship Id="rId17" Type="http://schemas.openxmlformats.org/officeDocument/2006/relationships/slideLayout" Target="../slideLayouts/slideLayout297.xml"/><Relationship Id="rId25" Type="http://schemas.openxmlformats.org/officeDocument/2006/relationships/slideLayout" Target="../slideLayouts/slideLayout305.xml"/><Relationship Id="rId33" Type="http://schemas.openxmlformats.org/officeDocument/2006/relationships/slideLayout" Target="../slideLayouts/slideLayout313.xml"/><Relationship Id="rId38" Type="http://schemas.openxmlformats.org/officeDocument/2006/relationships/slideLayout" Target="../slideLayouts/slideLayout318.xml"/><Relationship Id="rId46" Type="http://schemas.openxmlformats.org/officeDocument/2006/relationships/slideLayout" Target="../slideLayouts/slideLayout326.xml"/><Relationship Id="rId59" Type="http://schemas.openxmlformats.org/officeDocument/2006/relationships/tags" Target="../tags/tag251.xml"/></Relationships>
</file>

<file path=ppt/slideMasters/_rels/slideMaster1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49.xml"/><Relationship Id="rId18" Type="http://schemas.openxmlformats.org/officeDocument/2006/relationships/slideLayout" Target="../slideLayouts/slideLayout354.xml"/><Relationship Id="rId26" Type="http://schemas.openxmlformats.org/officeDocument/2006/relationships/slideLayout" Target="../slideLayouts/slideLayout362.xml"/><Relationship Id="rId39" Type="http://schemas.openxmlformats.org/officeDocument/2006/relationships/slideLayout" Target="../slideLayouts/slideLayout375.xml"/><Relationship Id="rId21" Type="http://schemas.openxmlformats.org/officeDocument/2006/relationships/slideLayout" Target="../slideLayouts/slideLayout357.xml"/><Relationship Id="rId34" Type="http://schemas.openxmlformats.org/officeDocument/2006/relationships/slideLayout" Target="../slideLayouts/slideLayout370.xml"/><Relationship Id="rId42" Type="http://schemas.openxmlformats.org/officeDocument/2006/relationships/slideLayout" Target="../slideLayouts/slideLayout378.xml"/><Relationship Id="rId47" Type="http://schemas.openxmlformats.org/officeDocument/2006/relationships/slideLayout" Target="../slideLayouts/slideLayout383.xml"/><Relationship Id="rId50" Type="http://schemas.openxmlformats.org/officeDocument/2006/relationships/slideLayout" Target="../slideLayouts/slideLayout386.xml"/><Relationship Id="rId55" Type="http://schemas.openxmlformats.org/officeDocument/2006/relationships/slideLayout" Target="../slideLayouts/slideLayout391.xml"/><Relationship Id="rId63" Type="http://schemas.openxmlformats.org/officeDocument/2006/relationships/slideLayout" Target="../slideLayouts/slideLayout399.xml"/><Relationship Id="rId68" Type="http://schemas.openxmlformats.org/officeDocument/2006/relationships/slideLayout" Target="../slideLayouts/slideLayout404.xml"/><Relationship Id="rId76" Type="http://schemas.openxmlformats.org/officeDocument/2006/relationships/vmlDrawing" Target="../drawings/vmlDrawing195.vml"/><Relationship Id="rId7" Type="http://schemas.openxmlformats.org/officeDocument/2006/relationships/slideLayout" Target="../slideLayouts/slideLayout343.xml"/><Relationship Id="rId71" Type="http://schemas.openxmlformats.org/officeDocument/2006/relationships/slideLayout" Target="../slideLayouts/slideLayout407.xml"/><Relationship Id="rId2" Type="http://schemas.openxmlformats.org/officeDocument/2006/relationships/slideLayout" Target="../slideLayouts/slideLayout338.xml"/><Relationship Id="rId16" Type="http://schemas.openxmlformats.org/officeDocument/2006/relationships/slideLayout" Target="../slideLayouts/slideLayout352.xml"/><Relationship Id="rId29" Type="http://schemas.openxmlformats.org/officeDocument/2006/relationships/slideLayout" Target="../slideLayouts/slideLayout365.xml"/><Relationship Id="rId11" Type="http://schemas.openxmlformats.org/officeDocument/2006/relationships/slideLayout" Target="../slideLayouts/slideLayout347.xml"/><Relationship Id="rId24" Type="http://schemas.openxmlformats.org/officeDocument/2006/relationships/slideLayout" Target="../slideLayouts/slideLayout360.xml"/><Relationship Id="rId32" Type="http://schemas.openxmlformats.org/officeDocument/2006/relationships/slideLayout" Target="../slideLayouts/slideLayout368.xml"/><Relationship Id="rId37" Type="http://schemas.openxmlformats.org/officeDocument/2006/relationships/slideLayout" Target="../slideLayouts/slideLayout373.xml"/><Relationship Id="rId40" Type="http://schemas.openxmlformats.org/officeDocument/2006/relationships/slideLayout" Target="../slideLayouts/slideLayout376.xml"/><Relationship Id="rId45" Type="http://schemas.openxmlformats.org/officeDocument/2006/relationships/slideLayout" Target="../slideLayouts/slideLayout381.xml"/><Relationship Id="rId53" Type="http://schemas.openxmlformats.org/officeDocument/2006/relationships/slideLayout" Target="../slideLayouts/slideLayout389.xml"/><Relationship Id="rId58" Type="http://schemas.openxmlformats.org/officeDocument/2006/relationships/slideLayout" Target="../slideLayouts/slideLayout394.xml"/><Relationship Id="rId66" Type="http://schemas.openxmlformats.org/officeDocument/2006/relationships/slideLayout" Target="../slideLayouts/slideLayout402.xml"/><Relationship Id="rId74" Type="http://schemas.openxmlformats.org/officeDocument/2006/relationships/slideLayout" Target="../slideLayouts/slideLayout410.xml"/><Relationship Id="rId79" Type="http://schemas.openxmlformats.org/officeDocument/2006/relationships/oleObject" Target="../embeddings/oleObject197.bin"/><Relationship Id="rId5" Type="http://schemas.openxmlformats.org/officeDocument/2006/relationships/slideLayout" Target="../slideLayouts/slideLayout341.xml"/><Relationship Id="rId61" Type="http://schemas.openxmlformats.org/officeDocument/2006/relationships/slideLayout" Target="../slideLayouts/slideLayout397.xml"/><Relationship Id="rId10" Type="http://schemas.openxmlformats.org/officeDocument/2006/relationships/slideLayout" Target="../slideLayouts/slideLayout346.xml"/><Relationship Id="rId19" Type="http://schemas.openxmlformats.org/officeDocument/2006/relationships/slideLayout" Target="../slideLayouts/slideLayout355.xml"/><Relationship Id="rId31" Type="http://schemas.openxmlformats.org/officeDocument/2006/relationships/slideLayout" Target="../slideLayouts/slideLayout367.xml"/><Relationship Id="rId44" Type="http://schemas.openxmlformats.org/officeDocument/2006/relationships/slideLayout" Target="../slideLayouts/slideLayout380.xml"/><Relationship Id="rId52" Type="http://schemas.openxmlformats.org/officeDocument/2006/relationships/slideLayout" Target="../slideLayouts/slideLayout388.xml"/><Relationship Id="rId60" Type="http://schemas.openxmlformats.org/officeDocument/2006/relationships/slideLayout" Target="../slideLayouts/slideLayout396.xml"/><Relationship Id="rId65" Type="http://schemas.openxmlformats.org/officeDocument/2006/relationships/slideLayout" Target="../slideLayouts/slideLayout401.xml"/><Relationship Id="rId73" Type="http://schemas.openxmlformats.org/officeDocument/2006/relationships/slideLayout" Target="../slideLayouts/slideLayout409.xml"/><Relationship Id="rId78" Type="http://schemas.openxmlformats.org/officeDocument/2006/relationships/tags" Target="../tags/tag356.xml"/><Relationship Id="rId4" Type="http://schemas.openxmlformats.org/officeDocument/2006/relationships/slideLayout" Target="../slideLayouts/slideLayout340.xml"/><Relationship Id="rId9" Type="http://schemas.openxmlformats.org/officeDocument/2006/relationships/slideLayout" Target="../slideLayouts/slideLayout345.xml"/><Relationship Id="rId14" Type="http://schemas.openxmlformats.org/officeDocument/2006/relationships/slideLayout" Target="../slideLayouts/slideLayout350.xml"/><Relationship Id="rId22" Type="http://schemas.openxmlformats.org/officeDocument/2006/relationships/slideLayout" Target="../slideLayouts/slideLayout358.xml"/><Relationship Id="rId27" Type="http://schemas.openxmlformats.org/officeDocument/2006/relationships/slideLayout" Target="../slideLayouts/slideLayout363.xml"/><Relationship Id="rId30" Type="http://schemas.openxmlformats.org/officeDocument/2006/relationships/slideLayout" Target="../slideLayouts/slideLayout366.xml"/><Relationship Id="rId35" Type="http://schemas.openxmlformats.org/officeDocument/2006/relationships/slideLayout" Target="../slideLayouts/slideLayout371.xml"/><Relationship Id="rId43" Type="http://schemas.openxmlformats.org/officeDocument/2006/relationships/slideLayout" Target="../slideLayouts/slideLayout379.xml"/><Relationship Id="rId48" Type="http://schemas.openxmlformats.org/officeDocument/2006/relationships/slideLayout" Target="../slideLayouts/slideLayout384.xml"/><Relationship Id="rId56" Type="http://schemas.openxmlformats.org/officeDocument/2006/relationships/slideLayout" Target="../slideLayouts/slideLayout392.xml"/><Relationship Id="rId64" Type="http://schemas.openxmlformats.org/officeDocument/2006/relationships/slideLayout" Target="../slideLayouts/slideLayout400.xml"/><Relationship Id="rId69" Type="http://schemas.openxmlformats.org/officeDocument/2006/relationships/slideLayout" Target="../slideLayouts/slideLayout405.xml"/><Relationship Id="rId77" Type="http://schemas.openxmlformats.org/officeDocument/2006/relationships/tags" Target="../tags/tag355.xml"/><Relationship Id="rId8" Type="http://schemas.openxmlformats.org/officeDocument/2006/relationships/slideLayout" Target="../slideLayouts/slideLayout344.xml"/><Relationship Id="rId51" Type="http://schemas.openxmlformats.org/officeDocument/2006/relationships/slideLayout" Target="../slideLayouts/slideLayout387.xml"/><Relationship Id="rId72" Type="http://schemas.openxmlformats.org/officeDocument/2006/relationships/slideLayout" Target="../slideLayouts/slideLayout408.xml"/><Relationship Id="rId80" Type="http://schemas.openxmlformats.org/officeDocument/2006/relationships/image" Target="../media/image29.emf"/><Relationship Id="rId3" Type="http://schemas.openxmlformats.org/officeDocument/2006/relationships/slideLayout" Target="../slideLayouts/slideLayout339.xml"/><Relationship Id="rId12" Type="http://schemas.openxmlformats.org/officeDocument/2006/relationships/slideLayout" Target="../slideLayouts/slideLayout348.xml"/><Relationship Id="rId17" Type="http://schemas.openxmlformats.org/officeDocument/2006/relationships/slideLayout" Target="../slideLayouts/slideLayout353.xml"/><Relationship Id="rId25" Type="http://schemas.openxmlformats.org/officeDocument/2006/relationships/slideLayout" Target="../slideLayouts/slideLayout361.xml"/><Relationship Id="rId33" Type="http://schemas.openxmlformats.org/officeDocument/2006/relationships/slideLayout" Target="../slideLayouts/slideLayout369.xml"/><Relationship Id="rId38" Type="http://schemas.openxmlformats.org/officeDocument/2006/relationships/slideLayout" Target="../slideLayouts/slideLayout374.xml"/><Relationship Id="rId46" Type="http://schemas.openxmlformats.org/officeDocument/2006/relationships/slideLayout" Target="../slideLayouts/slideLayout382.xml"/><Relationship Id="rId59" Type="http://schemas.openxmlformats.org/officeDocument/2006/relationships/slideLayout" Target="../slideLayouts/slideLayout395.xml"/><Relationship Id="rId67" Type="http://schemas.openxmlformats.org/officeDocument/2006/relationships/slideLayout" Target="../slideLayouts/slideLayout403.xml"/><Relationship Id="rId20" Type="http://schemas.openxmlformats.org/officeDocument/2006/relationships/slideLayout" Target="../slideLayouts/slideLayout356.xml"/><Relationship Id="rId41" Type="http://schemas.openxmlformats.org/officeDocument/2006/relationships/slideLayout" Target="../slideLayouts/slideLayout377.xml"/><Relationship Id="rId54" Type="http://schemas.openxmlformats.org/officeDocument/2006/relationships/slideLayout" Target="../slideLayouts/slideLayout390.xml"/><Relationship Id="rId62" Type="http://schemas.openxmlformats.org/officeDocument/2006/relationships/slideLayout" Target="../slideLayouts/slideLayout398.xml"/><Relationship Id="rId70" Type="http://schemas.openxmlformats.org/officeDocument/2006/relationships/slideLayout" Target="../slideLayouts/slideLayout406.xml"/><Relationship Id="rId75" Type="http://schemas.openxmlformats.org/officeDocument/2006/relationships/theme" Target="../theme/theme14.xml"/><Relationship Id="rId1" Type="http://schemas.openxmlformats.org/officeDocument/2006/relationships/slideLayout" Target="../slideLayouts/slideLayout337.xml"/><Relationship Id="rId6" Type="http://schemas.openxmlformats.org/officeDocument/2006/relationships/slideLayout" Target="../slideLayouts/slideLayout342.xml"/><Relationship Id="rId15" Type="http://schemas.openxmlformats.org/officeDocument/2006/relationships/slideLayout" Target="../slideLayouts/slideLayout351.xml"/><Relationship Id="rId23" Type="http://schemas.openxmlformats.org/officeDocument/2006/relationships/slideLayout" Target="../slideLayouts/slideLayout359.xml"/><Relationship Id="rId28" Type="http://schemas.openxmlformats.org/officeDocument/2006/relationships/slideLayout" Target="../slideLayouts/slideLayout364.xml"/><Relationship Id="rId36" Type="http://schemas.openxmlformats.org/officeDocument/2006/relationships/slideLayout" Target="../slideLayouts/slideLayout372.xml"/><Relationship Id="rId49" Type="http://schemas.openxmlformats.org/officeDocument/2006/relationships/slideLayout" Target="../slideLayouts/slideLayout385.xml"/><Relationship Id="rId57" Type="http://schemas.openxmlformats.org/officeDocument/2006/relationships/slideLayout" Target="../slideLayouts/slideLayout393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8.xml"/><Relationship Id="rId13" Type="http://schemas.openxmlformats.org/officeDocument/2006/relationships/tags" Target="../tags/tag454.xml"/><Relationship Id="rId3" Type="http://schemas.openxmlformats.org/officeDocument/2006/relationships/slideLayout" Target="../slideLayouts/slideLayout413.xml"/><Relationship Id="rId7" Type="http://schemas.openxmlformats.org/officeDocument/2006/relationships/slideLayout" Target="../slideLayouts/slideLayout417.xml"/><Relationship Id="rId12" Type="http://schemas.openxmlformats.org/officeDocument/2006/relationships/tags" Target="../tags/tag453.xml"/><Relationship Id="rId2" Type="http://schemas.openxmlformats.org/officeDocument/2006/relationships/slideLayout" Target="../slideLayouts/slideLayout412.xml"/><Relationship Id="rId16" Type="http://schemas.openxmlformats.org/officeDocument/2006/relationships/image" Target="../media/image25.png"/><Relationship Id="rId1" Type="http://schemas.openxmlformats.org/officeDocument/2006/relationships/slideLayout" Target="../slideLayouts/slideLayout411.xml"/><Relationship Id="rId6" Type="http://schemas.openxmlformats.org/officeDocument/2006/relationships/slideLayout" Target="../slideLayouts/slideLayout416.xml"/><Relationship Id="rId11" Type="http://schemas.openxmlformats.org/officeDocument/2006/relationships/tags" Target="../tags/tag452.xml"/><Relationship Id="rId5" Type="http://schemas.openxmlformats.org/officeDocument/2006/relationships/slideLayout" Target="../slideLayouts/slideLayout415.xml"/><Relationship Id="rId15" Type="http://schemas.openxmlformats.org/officeDocument/2006/relationships/image" Target="../media/image24.emf"/><Relationship Id="rId10" Type="http://schemas.openxmlformats.org/officeDocument/2006/relationships/vmlDrawing" Target="../drawings/vmlDrawing253.vml"/><Relationship Id="rId4" Type="http://schemas.openxmlformats.org/officeDocument/2006/relationships/slideLayout" Target="../slideLayouts/slideLayout414.xml"/><Relationship Id="rId9" Type="http://schemas.openxmlformats.org/officeDocument/2006/relationships/theme" Target="../theme/theme15.xml"/><Relationship Id="rId14" Type="http://schemas.openxmlformats.org/officeDocument/2006/relationships/oleObject" Target="../embeddings/oleObject255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slideLayout" Target="../slideLayouts/slideLayout45.xml"/><Relationship Id="rId18" Type="http://schemas.openxmlformats.org/officeDocument/2006/relationships/slideLayout" Target="../slideLayouts/slideLayout50.xml"/><Relationship Id="rId26" Type="http://schemas.openxmlformats.org/officeDocument/2006/relationships/slideLayout" Target="../slideLayouts/slideLayout58.xml"/><Relationship Id="rId39" Type="http://schemas.openxmlformats.org/officeDocument/2006/relationships/image" Target="../media/image18.emf"/><Relationship Id="rId3" Type="http://schemas.openxmlformats.org/officeDocument/2006/relationships/slideLayout" Target="../slideLayouts/slideLayout35.xml"/><Relationship Id="rId21" Type="http://schemas.openxmlformats.org/officeDocument/2006/relationships/slideLayout" Target="../slideLayouts/slideLayout53.xml"/><Relationship Id="rId34" Type="http://schemas.openxmlformats.org/officeDocument/2006/relationships/slideLayout" Target="../slideLayouts/slideLayout66.xml"/><Relationship Id="rId7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44.xml"/><Relationship Id="rId17" Type="http://schemas.openxmlformats.org/officeDocument/2006/relationships/slideLayout" Target="../slideLayouts/slideLayout49.xml"/><Relationship Id="rId25" Type="http://schemas.openxmlformats.org/officeDocument/2006/relationships/slideLayout" Target="../slideLayouts/slideLayout57.xml"/><Relationship Id="rId33" Type="http://schemas.openxmlformats.org/officeDocument/2006/relationships/slideLayout" Target="../slideLayouts/slideLayout65.xml"/><Relationship Id="rId38" Type="http://schemas.openxmlformats.org/officeDocument/2006/relationships/oleObject" Target="../embeddings/oleObject2.bin"/><Relationship Id="rId2" Type="http://schemas.openxmlformats.org/officeDocument/2006/relationships/slideLayout" Target="../slideLayouts/slideLayout34.xml"/><Relationship Id="rId16" Type="http://schemas.openxmlformats.org/officeDocument/2006/relationships/slideLayout" Target="../slideLayouts/slideLayout48.xml"/><Relationship Id="rId20" Type="http://schemas.openxmlformats.org/officeDocument/2006/relationships/slideLayout" Target="../slideLayouts/slideLayout52.xml"/><Relationship Id="rId29" Type="http://schemas.openxmlformats.org/officeDocument/2006/relationships/slideLayout" Target="../slideLayouts/slideLayout61.xml"/><Relationship Id="rId41" Type="http://schemas.openxmlformats.org/officeDocument/2006/relationships/image" Target="../media/image3.png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24" Type="http://schemas.openxmlformats.org/officeDocument/2006/relationships/slideLayout" Target="../slideLayouts/slideLayout56.xml"/><Relationship Id="rId32" Type="http://schemas.openxmlformats.org/officeDocument/2006/relationships/slideLayout" Target="../slideLayouts/slideLayout64.xml"/><Relationship Id="rId37" Type="http://schemas.openxmlformats.org/officeDocument/2006/relationships/tags" Target="../tags/tag4.xml"/><Relationship Id="rId40" Type="http://schemas.openxmlformats.org/officeDocument/2006/relationships/image" Target="../media/image2.png"/><Relationship Id="rId5" Type="http://schemas.openxmlformats.org/officeDocument/2006/relationships/slideLayout" Target="../slideLayouts/slideLayout37.xml"/><Relationship Id="rId15" Type="http://schemas.openxmlformats.org/officeDocument/2006/relationships/slideLayout" Target="../slideLayouts/slideLayout47.xml"/><Relationship Id="rId23" Type="http://schemas.openxmlformats.org/officeDocument/2006/relationships/slideLayout" Target="../slideLayouts/slideLayout55.xml"/><Relationship Id="rId28" Type="http://schemas.openxmlformats.org/officeDocument/2006/relationships/slideLayout" Target="../slideLayouts/slideLayout60.xml"/><Relationship Id="rId36" Type="http://schemas.openxmlformats.org/officeDocument/2006/relationships/vmlDrawing" Target="../drawings/vmlDrawing2.vml"/><Relationship Id="rId10" Type="http://schemas.openxmlformats.org/officeDocument/2006/relationships/slideLayout" Target="../slideLayouts/slideLayout42.xml"/><Relationship Id="rId19" Type="http://schemas.openxmlformats.org/officeDocument/2006/relationships/slideLayout" Target="../slideLayouts/slideLayout51.xml"/><Relationship Id="rId31" Type="http://schemas.openxmlformats.org/officeDocument/2006/relationships/slideLayout" Target="../slideLayouts/slideLayout63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slideLayout" Target="../slideLayouts/slideLayout46.xml"/><Relationship Id="rId22" Type="http://schemas.openxmlformats.org/officeDocument/2006/relationships/slideLayout" Target="../slideLayouts/slideLayout54.xml"/><Relationship Id="rId27" Type="http://schemas.openxmlformats.org/officeDocument/2006/relationships/slideLayout" Target="../slideLayouts/slideLayout59.xml"/><Relationship Id="rId30" Type="http://schemas.openxmlformats.org/officeDocument/2006/relationships/slideLayout" Target="../slideLayouts/slideLayout62.xml"/><Relationship Id="rId35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9.xml"/><Relationship Id="rId2" Type="http://schemas.openxmlformats.org/officeDocument/2006/relationships/slideLayout" Target="../slideLayouts/slideLayout68.xml"/><Relationship Id="rId1" Type="http://schemas.openxmlformats.org/officeDocument/2006/relationships/slideLayout" Target="../slideLayouts/slideLayout67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71.xml"/><Relationship Id="rId4" Type="http://schemas.openxmlformats.org/officeDocument/2006/relationships/slideLayout" Target="../slideLayouts/slideLayout70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9.xml"/><Relationship Id="rId13" Type="http://schemas.openxmlformats.org/officeDocument/2006/relationships/tags" Target="../tags/tag7.xml"/><Relationship Id="rId3" Type="http://schemas.openxmlformats.org/officeDocument/2006/relationships/slideLayout" Target="../slideLayouts/slideLayout74.xml"/><Relationship Id="rId7" Type="http://schemas.openxmlformats.org/officeDocument/2006/relationships/slideLayout" Target="../slideLayouts/slideLayout78.xml"/><Relationship Id="rId12" Type="http://schemas.openxmlformats.org/officeDocument/2006/relationships/tags" Target="../tags/tag6.xml"/><Relationship Id="rId2" Type="http://schemas.openxmlformats.org/officeDocument/2006/relationships/slideLayout" Target="../slideLayouts/slideLayout73.xml"/><Relationship Id="rId16" Type="http://schemas.openxmlformats.org/officeDocument/2006/relationships/image" Target="../media/image25.png"/><Relationship Id="rId1" Type="http://schemas.openxmlformats.org/officeDocument/2006/relationships/slideLayout" Target="../slideLayouts/slideLayout72.xml"/><Relationship Id="rId6" Type="http://schemas.openxmlformats.org/officeDocument/2006/relationships/slideLayout" Target="../slideLayouts/slideLayout77.xml"/><Relationship Id="rId11" Type="http://schemas.openxmlformats.org/officeDocument/2006/relationships/tags" Target="../tags/tag5.xml"/><Relationship Id="rId5" Type="http://schemas.openxmlformats.org/officeDocument/2006/relationships/slideLayout" Target="../slideLayouts/slideLayout76.xml"/><Relationship Id="rId15" Type="http://schemas.openxmlformats.org/officeDocument/2006/relationships/image" Target="../media/image24.emf"/><Relationship Id="rId10" Type="http://schemas.openxmlformats.org/officeDocument/2006/relationships/vmlDrawing" Target="../drawings/vmlDrawing3.vml"/><Relationship Id="rId4" Type="http://schemas.openxmlformats.org/officeDocument/2006/relationships/slideLayout" Target="../slideLayouts/slideLayout75.xml"/><Relationship Id="rId9" Type="http://schemas.openxmlformats.org/officeDocument/2006/relationships/theme" Target="../theme/theme4.xml"/><Relationship Id="rId14" Type="http://schemas.openxmlformats.org/officeDocument/2006/relationships/oleObject" Target="../embeddings/oleObject3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7.xml"/><Relationship Id="rId13" Type="http://schemas.openxmlformats.org/officeDocument/2006/relationships/image" Target="../media/image24.emf"/><Relationship Id="rId3" Type="http://schemas.openxmlformats.org/officeDocument/2006/relationships/slideLayout" Target="../slideLayouts/slideLayout82.xml"/><Relationship Id="rId7" Type="http://schemas.openxmlformats.org/officeDocument/2006/relationships/slideLayout" Target="../slideLayouts/slideLayout86.xml"/><Relationship Id="rId12" Type="http://schemas.openxmlformats.org/officeDocument/2006/relationships/oleObject" Target="../embeddings/oleObject10.bin"/><Relationship Id="rId2" Type="http://schemas.openxmlformats.org/officeDocument/2006/relationships/slideLayout" Target="../slideLayouts/slideLayout81.xml"/><Relationship Id="rId1" Type="http://schemas.openxmlformats.org/officeDocument/2006/relationships/slideLayout" Target="../slideLayouts/slideLayout80.xml"/><Relationship Id="rId6" Type="http://schemas.openxmlformats.org/officeDocument/2006/relationships/slideLayout" Target="../slideLayouts/slideLayout85.xml"/><Relationship Id="rId11" Type="http://schemas.openxmlformats.org/officeDocument/2006/relationships/tags" Target="../tags/tag15.xml"/><Relationship Id="rId5" Type="http://schemas.openxmlformats.org/officeDocument/2006/relationships/slideLayout" Target="../slideLayouts/slideLayout84.xml"/><Relationship Id="rId10" Type="http://schemas.openxmlformats.org/officeDocument/2006/relationships/vmlDrawing" Target="../drawings/vmlDrawing9.vml"/><Relationship Id="rId4" Type="http://schemas.openxmlformats.org/officeDocument/2006/relationships/slideLayout" Target="../slideLayouts/slideLayout83.xml"/><Relationship Id="rId9" Type="http://schemas.openxmlformats.org/officeDocument/2006/relationships/theme" Target="../theme/theme5.xml"/><Relationship Id="rId14" Type="http://schemas.openxmlformats.org/officeDocument/2006/relationships/image" Target="../media/image25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5.xml"/><Relationship Id="rId13" Type="http://schemas.openxmlformats.org/officeDocument/2006/relationships/theme" Target="../theme/theme6.xml"/><Relationship Id="rId18" Type="http://schemas.openxmlformats.org/officeDocument/2006/relationships/image" Target="../media/image25.png"/><Relationship Id="rId3" Type="http://schemas.openxmlformats.org/officeDocument/2006/relationships/slideLayout" Target="../slideLayouts/slideLayout90.xml"/><Relationship Id="rId7" Type="http://schemas.openxmlformats.org/officeDocument/2006/relationships/slideLayout" Target="../slideLayouts/slideLayout94.xml"/><Relationship Id="rId12" Type="http://schemas.openxmlformats.org/officeDocument/2006/relationships/slideLayout" Target="../slideLayouts/slideLayout99.xml"/><Relationship Id="rId17" Type="http://schemas.openxmlformats.org/officeDocument/2006/relationships/image" Target="../media/image24.emf"/><Relationship Id="rId2" Type="http://schemas.openxmlformats.org/officeDocument/2006/relationships/slideLayout" Target="../slideLayouts/slideLayout89.xml"/><Relationship Id="rId16" Type="http://schemas.openxmlformats.org/officeDocument/2006/relationships/oleObject" Target="../embeddings/oleObject14.bin"/><Relationship Id="rId1" Type="http://schemas.openxmlformats.org/officeDocument/2006/relationships/slideLayout" Target="../slideLayouts/slideLayout88.xml"/><Relationship Id="rId6" Type="http://schemas.openxmlformats.org/officeDocument/2006/relationships/slideLayout" Target="../slideLayouts/slideLayout93.xml"/><Relationship Id="rId11" Type="http://schemas.openxmlformats.org/officeDocument/2006/relationships/slideLayout" Target="../slideLayouts/slideLayout98.xml"/><Relationship Id="rId5" Type="http://schemas.openxmlformats.org/officeDocument/2006/relationships/slideLayout" Target="../slideLayouts/slideLayout92.xml"/><Relationship Id="rId15" Type="http://schemas.openxmlformats.org/officeDocument/2006/relationships/tags" Target="../tags/tag19.xml"/><Relationship Id="rId10" Type="http://schemas.openxmlformats.org/officeDocument/2006/relationships/slideLayout" Target="../slideLayouts/slideLayout97.xml"/><Relationship Id="rId4" Type="http://schemas.openxmlformats.org/officeDocument/2006/relationships/slideLayout" Target="../slideLayouts/slideLayout91.xml"/><Relationship Id="rId9" Type="http://schemas.openxmlformats.org/officeDocument/2006/relationships/slideLayout" Target="../slideLayouts/slideLayout96.xml"/><Relationship Id="rId14" Type="http://schemas.openxmlformats.org/officeDocument/2006/relationships/vmlDrawing" Target="../drawings/vmlDrawing13.v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7.xml"/><Relationship Id="rId13" Type="http://schemas.openxmlformats.org/officeDocument/2006/relationships/slideLayout" Target="../slideLayouts/slideLayout112.xml"/><Relationship Id="rId18" Type="http://schemas.openxmlformats.org/officeDocument/2006/relationships/tags" Target="../tags/tag23.xml"/><Relationship Id="rId3" Type="http://schemas.openxmlformats.org/officeDocument/2006/relationships/slideLayout" Target="../slideLayouts/slideLayout102.xml"/><Relationship Id="rId21" Type="http://schemas.openxmlformats.org/officeDocument/2006/relationships/tags" Target="../tags/tag26.xml"/><Relationship Id="rId7" Type="http://schemas.openxmlformats.org/officeDocument/2006/relationships/slideLayout" Target="../slideLayouts/slideLayout106.xml"/><Relationship Id="rId12" Type="http://schemas.openxmlformats.org/officeDocument/2006/relationships/slideLayout" Target="../slideLayouts/slideLayout111.xml"/><Relationship Id="rId17" Type="http://schemas.openxmlformats.org/officeDocument/2006/relationships/vmlDrawing" Target="../drawings/vmlDrawing17.vml"/><Relationship Id="rId25" Type="http://schemas.openxmlformats.org/officeDocument/2006/relationships/image" Target="../media/image51.png"/><Relationship Id="rId2" Type="http://schemas.openxmlformats.org/officeDocument/2006/relationships/slideLayout" Target="../slideLayouts/slideLayout101.xml"/><Relationship Id="rId16" Type="http://schemas.openxmlformats.org/officeDocument/2006/relationships/theme" Target="../theme/theme7.xml"/><Relationship Id="rId20" Type="http://schemas.openxmlformats.org/officeDocument/2006/relationships/tags" Target="../tags/tag25.xml"/><Relationship Id="rId1" Type="http://schemas.openxmlformats.org/officeDocument/2006/relationships/slideLayout" Target="../slideLayouts/slideLayout100.xml"/><Relationship Id="rId6" Type="http://schemas.openxmlformats.org/officeDocument/2006/relationships/slideLayout" Target="../slideLayouts/slideLayout105.xml"/><Relationship Id="rId11" Type="http://schemas.openxmlformats.org/officeDocument/2006/relationships/slideLayout" Target="../slideLayouts/slideLayout110.xml"/><Relationship Id="rId24" Type="http://schemas.openxmlformats.org/officeDocument/2006/relationships/oleObject" Target="../embeddings/oleObject18.bin"/><Relationship Id="rId5" Type="http://schemas.openxmlformats.org/officeDocument/2006/relationships/slideLayout" Target="../slideLayouts/slideLayout104.xml"/><Relationship Id="rId15" Type="http://schemas.openxmlformats.org/officeDocument/2006/relationships/slideLayout" Target="../slideLayouts/slideLayout114.xml"/><Relationship Id="rId23" Type="http://schemas.openxmlformats.org/officeDocument/2006/relationships/tags" Target="../tags/tag28.xml"/><Relationship Id="rId10" Type="http://schemas.openxmlformats.org/officeDocument/2006/relationships/slideLayout" Target="../slideLayouts/slideLayout109.xml"/><Relationship Id="rId19" Type="http://schemas.openxmlformats.org/officeDocument/2006/relationships/tags" Target="../tags/tag24.xml"/><Relationship Id="rId4" Type="http://schemas.openxmlformats.org/officeDocument/2006/relationships/slideLayout" Target="../slideLayouts/slideLayout103.xml"/><Relationship Id="rId9" Type="http://schemas.openxmlformats.org/officeDocument/2006/relationships/slideLayout" Target="../slideLayouts/slideLayout108.xml"/><Relationship Id="rId14" Type="http://schemas.openxmlformats.org/officeDocument/2006/relationships/slideLayout" Target="../slideLayouts/slideLayout113.xml"/><Relationship Id="rId22" Type="http://schemas.openxmlformats.org/officeDocument/2006/relationships/tags" Target="../tags/tag2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2.xml"/><Relationship Id="rId3" Type="http://schemas.openxmlformats.org/officeDocument/2006/relationships/slideLayout" Target="../slideLayouts/slideLayout117.xml"/><Relationship Id="rId7" Type="http://schemas.openxmlformats.org/officeDocument/2006/relationships/slideLayout" Target="../slideLayouts/slideLayout121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116.xml"/><Relationship Id="rId1" Type="http://schemas.openxmlformats.org/officeDocument/2006/relationships/slideLayout" Target="../slideLayouts/slideLayout115.xml"/><Relationship Id="rId6" Type="http://schemas.openxmlformats.org/officeDocument/2006/relationships/slideLayout" Target="../slideLayouts/slideLayout120.xml"/><Relationship Id="rId11" Type="http://schemas.openxmlformats.org/officeDocument/2006/relationships/slideLayout" Target="../slideLayouts/slideLayout125.xml"/><Relationship Id="rId5" Type="http://schemas.openxmlformats.org/officeDocument/2006/relationships/slideLayout" Target="../slideLayouts/slideLayout119.xml"/><Relationship Id="rId10" Type="http://schemas.openxmlformats.org/officeDocument/2006/relationships/slideLayout" Target="../slideLayouts/slideLayout124.xml"/><Relationship Id="rId4" Type="http://schemas.openxmlformats.org/officeDocument/2006/relationships/slideLayout" Target="../slideLayouts/slideLayout118.xml"/><Relationship Id="rId9" Type="http://schemas.openxmlformats.org/officeDocument/2006/relationships/slideLayout" Target="../slideLayouts/slideLayout123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3.xml"/><Relationship Id="rId13" Type="http://schemas.openxmlformats.org/officeDocument/2006/relationships/slideLayout" Target="../slideLayouts/slideLayout138.xml"/><Relationship Id="rId18" Type="http://schemas.openxmlformats.org/officeDocument/2006/relationships/slideLayout" Target="../slideLayouts/slideLayout143.xml"/><Relationship Id="rId3" Type="http://schemas.openxmlformats.org/officeDocument/2006/relationships/slideLayout" Target="../slideLayouts/slideLayout128.xml"/><Relationship Id="rId7" Type="http://schemas.openxmlformats.org/officeDocument/2006/relationships/slideLayout" Target="../slideLayouts/slideLayout132.xml"/><Relationship Id="rId12" Type="http://schemas.openxmlformats.org/officeDocument/2006/relationships/slideLayout" Target="../slideLayouts/slideLayout137.xml"/><Relationship Id="rId17" Type="http://schemas.openxmlformats.org/officeDocument/2006/relationships/slideLayout" Target="../slideLayouts/slideLayout142.xml"/><Relationship Id="rId2" Type="http://schemas.openxmlformats.org/officeDocument/2006/relationships/slideLayout" Target="../slideLayouts/slideLayout127.xml"/><Relationship Id="rId16" Type="http://schemas.openxmlformats.org/officeDocument/2006/relationships/slideLayout" Target="../slideLayouts/slideLayout141.xml"/><Relationship Id="rId20" Type="http://schemas.openxmlformats.org/officeDocument/2006/relationships/theme" Target="../theme/theme9.xml"/><Relationship Id="rId1" Type="http://schemas.openxmlformats.org/officeDocument/2006/relationships/slideLayout" Target="../slideLayouts/slideLayout126.xml"/><Relationship Id="rId6" Type="http://schemas.openxmlformats.org/officeDocument/2006/relationships/slideLayout" Target="../slideLayouts/slideLayout131.xml"/><Relationship Id="rId11" Type="http://schemas.openxmlformats.org/officeDocument/2006/relationships/slideLayout" Target="../slideLayouts/slideLayout136.xml"/><Relationship Id="rId5" Type="http://schemas.openxmlformats.org/officeDocument/2006/relationships/slideLayout" Target="../slideLayouts/slideLayout130.xml"/><Relationship Id="rId15" Type="http://schemas.openxmlformats.org/officeDocument/2006/relationships/slideLayout" Target="../slideLayouts/slideLayout140.xml"/><Relationship Id="rId10" Type="http://schemas.openxmlformats.org/officeDocument/2006/relationships/slideLayout" Target="../slideLayouts/slideLayout135.xml"/><Relationship Id="rId19" Type="http://schemas.openxmlformats.org/officeDocument/2006/relationships/slideLayout" Target="../slideLayouts/slideLayout144.xml"/><Relationship Id="rId4" Type="http://schemas.openxmlformats.org/officeDocument/2006/relationships/slideLayout" Target="../slideLayouts/slideLayout129.xml"/><Relationship Id="rId9" Type="http://schemas.openxmlformats.org/officeDocument/2006/relationships/slideLayout" Target="../slideLayouts/slideLayout134.xml"/><Relationship Id="rId14" Type="http://schemas.openxmlformats.org/officeDocument/2006/relationships/slideLayout" Target="../slideLayouts/slideLayout13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2983420701"/>
              </p:ext>
            </p:extLst>
          </p:nvPr>
        </p:nvGraphicFramePr>
        <p:xfrm>
          <a:off x="1588" y="1588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1038" name="think-cell スライド" r:id="rId37" imgW="270" imgH="270" progId="TCLayout.ActiveDocument.1">
                  <p:embed/>
                </p:oleObj>
              </mc:Choice>
              <mc:Fallback>
                <p:oleObj name="think-cell スライド" r:id="rId37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 userDrawn="1">
            <p:custDataLst>
              <p:tags r:id="rId3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ts val="3998"/>
              </a:lnSpc>
              <a:spcBef>
                <a:spcPct val="0"/>
              </a:spcBef>
              <a:spcAft>
                <a:spcPct val="0"/>
              </a:spcAft>
            </a:pPr>
            <a:endParaRPr lang="en-GB" sz="3498" b="0" i="0" baseline="0" dirty="0">
              <a:latin typeface="CorpoS" pitchFamily="2" charset="0"/>
              <a:ea typeface="+mj-ea"/>
              <a:cs typeface="+mj-cs"/>
              <a:sym typeface="CorpoS" pitchFamily="2" charset="0"/>
            </a:endParaRPr>
          </a:p>
        </p:txBody>
      </p:sp>
      <p:grpSp>
        <p:nvGrpSpPr>
          <p:cNvPr id="37" name="Regieanweisungen"/>
          <p:cNvGrpSpPr/>
          <p:nvPr/>
        </p:nvGrpSpPr>
        <p:grpSpPr>
          <a:xfrm>
            <a:off x="-2086913" y="-467892"/>
            <a:ext cx="13647691" cy="7792196"/>
            <a:chOff x="-2088000" y="-468000"/>
            <a:chExt cx="13654799" cy="7794000"/>
          </a:xfrm>
        </p:grpSpPr>
        <p:sp>
          <p:nvSpPr>
            <p:cNvPr id="31" name="Hilfslinien"/>
            <p:cNvSpPr txBox="1"/>
            <p:nvPr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99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how guides via menu bar: View // Show // tick Guides</a:t>
              </a:r>
            </a:p>
          </p:txBody>
        </p:sp>
        <p:sp>
          <p:nvSpPr>
            <p:cNvPr id="28" name="Fußzeile"/>
            <p:cNvSpPr txBox="1"/>
            <p:nvPr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1042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099" b="0" baseline="0" dirty="0" smtClean="0">
                  <a:solidFill>
                    <a:schemeClr val="accent5"/>
                  </a:solidFill>
                  <a:latin typeface="+mn-lt"/>
                </a:rPr>
                <a:t>Adjust footer (per slide or for several/all slides) via menu bar: Insert // Text // Header &amp; Footer</a:t>
              </a:r>
            </a:p>
          </p:txBody>
        </p:sp>
        <p:grpSp>
          <p:nvGrpSpPr>
            <p:cNvPr id="36" name="Hinweise links"/>
            <p:cNvGrpSpPr/>
            <p:nvPr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13" name="Folie Wechsel/Zurücksetzen/Textebenen"/>
              <p:cNvSpPr txBox="1"/>
              <p:nvPr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Reset the slide back to its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original form 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Slides // Rese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099" b="0" baseline="0" noProof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Change the slide layout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Slides // Layou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099" b="0" baseline="0" noProof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Change the text level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via menu bar: </a:t>
                </a:r>
                <a:b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</a:b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Paragraph // Increase/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Decrease List Level</a:t>
                </a:r>
              </a:p>
            </p:txBody>
          </p:sp>
          <p:grpSp>
            <p:nvGrpSpPr>
              <p:cNvPr id="35" name="Listenebenen"/>
              <p:cNvGrpSpPr/>
              <p:nvPr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22" name="Text // Listenebene erhöhen"/>
                <p:cNvSpPr txBox="1"/>
                <p:nvPr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38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999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Increase</a:t>
                  </a:r>
                </a:p>
                <a:p>
                  <a:pPr marL="0" marR="0" lvl="0" indent="0" algn="r" defTabSz="9138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999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sp>
              <p:nvSpPr>
                <p:cNvPr id="23" name="Text // Listenebene verringern"/>
                <p:cNvSpPr txBox="1"/>
                <p:nvPr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38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999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Decrease </a:t>
                  </a:r>
                </a:p>
                <a:p>
                  <a:pPr marL="0" marR="0" lvl="0" indent="0" algn="r" defTabSz="9138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999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pic>
              <p:nvPicPr>
                <p:cNvPr id="7" name="Listenebene erhöhen"/>
                <p:cNvPicPr>
                  <a:picLocks noChangeAspect="1"/>
                </p:cNvPicPr>
                <p:nvPr/>
              </p:nvPicPr>
              <p:blipFill>
                <a:blip r:embed="rId39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34" name="Listenebene verringern"/>
                <p:cNvPicPr>
                  <a:picLocks noChangeAspect="1"/>
                </p:cNvPicPr>
                <p:nvPr/>
              </p:nvPicPr>
              <p:blipFill>
                <a:blip r:embed="rId40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18" name="Daimler AG (Wortmarke)"/>
          <p:cNvSpPr>
            <a:spLocks noChangeArrowheads="1"/>
          </p:cNvSpPr>
          <p:nvPr/>
        </p:nvSpPr>
        <p:spPr bwMode="auto">
          <a:xfrm>
            <a:off x="629672" y="6564880"/>
            <a:ext cx="2086913" cy="2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r>
              <a:rPr lang="en-GB" sz="1199" dirty="0" smtClean="0">
                <a:latin typeface="+mn-lt"/>
                <a:cs typeface="Daimler CS"/>
              </a:rPr>
              <a:t>Daimler AG</a:t>
            </a:r>
            <a:endParaRPr lang="en-GB" sz="1199" dirty="0">
              <a:latin typeface="+mn-lt"/>
              <a:cs typeface="Daimler CS"/>
            </a:endParaRPr>
          </a:p>
        </p:txBody>
      </p:sp>
      <p:cxnSp>
        <p:nvCxnSpPr>
          <p:cNvPr id="14" name="Footerline"/>
          <p:cNvCxnSpPr/>
          <p:nvPr/>
        </p:nvCxnSpPr>
        <p:spPr bwMode="auto">
          <a:xfrm>
            <a:off x="629671" y="6487838"/>
            <a:ext cx="10931107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30117" y="1504603"/>
            <a:ext cx="10930387" cy="487567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GB" dirty="0" smtClean="0"/>
              <a:t>Insert text in </a:t>
            </a:r>
            <a:r>
              <a:rPr lang="en-GB" noProof="0" dirty="0" smtClean="0"/>
              <a:t>CorpoS (Body) 24 pt. (Mark-ups in Bold) </a:t>
            </a:r>
            <a:r>
              <a:rPr lang="en-GB" dirty="0" smtClean="0"/>
              <a:t>// for conclusion</a:t>
            </a:r>
            <a:r>
              <a:rPr lang="en-GB" noProof="0" dirty="0" smtClean="0"/>
              <a:t>, summary or short highlight</a:t>
            </a:r>
            <a:r>
              <a:rPr lang="en-GB" dirty="0" smtClean="0"/>
              <a:t>: Home // Paragraph// Increase List Level</a:t>
            </a:r>
          </a:p>
          <a:p>
            <a:pPr lvl="1"/>
            <a:r>
              <a:rPr lang="en-GB" dirty="0" smtClean="0"/>
              <a:t>Second level (Conclusion, summary or short highlight)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</a:p>
          <a:p>
            <a:pPr lvl="5"/>
            <a:r>
              <a:rPr lang="en-GB" dirty="0" smtClean="0"/>
              <a:t>Sixth level</a:t>
            </a:r>
          </a:p>
          <a:p>
            <a:pPr lvl="6"/>
            <a:r>
              <a:rPr lang="en-GB" dirty="0" smtClean="0"/>
              <a:t>Sevens level</a:t>
            </a:r>
          </a:p>
          <a:p>
            <a:pPr lvl="7"/>
            <a:r>
              <a:rPr lang="en-GB" dirty="0" smtClean="0"/>
              <a:t>Eight level</a:t>
            </a:r>
          </a:p>
          <a:p>
            <a:pPr lvl="8"/>
            <a:r>
              <a:rPr lang="en-GB" dirty="0" smtClean="0"/>
              <a:t>Ninth level</a:t>
            </a: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28324" y="285982"/>
            <a:ext cx="10932454" cy="11517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 dirty="0" smtClean="0"/>
              <a:t>Headline in CorpoS (Body) 35 pt.</a:t>
            </a:r>
            <a:br>
              <a:rPr lang="en-GB" noProof="0" dirty="0" smtClean="0"/>
            </a:br>
            <a:r>
              <a:rPr lang="en-GB" noProof="0" dirty="0" smtClean="0"/>
              <a:t>in two line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78500" y="6564880"/>
            <a:ext cx="8120970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r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199">
                <a:latin typeface="+mn-lt"/>
              </a:defRPr>
            </a:lvl2pPr>
            <a:lvl3pPr marL="0" indent="0" algn="r">
              <a:spcBef>
                <a:spcPts val="0"/>
              </a:spcBef>
              <a:defRPr sz="1199">
                <a:latin typeface="+mn-lt"/>
              </a:defRPr>
            </a:lvl3pPr>
            <a:lvl4pPr marL="0" indent="0" algn="r">
              <a:spcBef>
                <a:spcPts val="0"/>
              </a:spcBef>
              <a:defRPr sz="1199">
                <a:latin typeface="+mn-lt"/>
              </a:defRPr>
            </a:lvl4pPr>
            <a:lvl5pPr marL="0" indent="0" algn="r">
              <a:spcBef>
                <a:spcPts val="0"/>
              </a:spcBef>
              <a:defRPr sz="1199">
                <a:latin typeface="+mn-lt"/>
              </a:defRPr>
            </a:lvl5pPr>
            <a:lvl6pPr marL="0" indent="0" algn="r">
              <a:spcBef>
                <a:spcPts val="0"/>
              </a:spcBef>
              <a:defRPr sz="1199">
                <a:latin typeface="+mn-lt"/>
              </a:defRPr>
            </a:lvl6pPr>
            <a:lvl7pPr marL="0" indent="0" algn="r">
              <a:spcBef>
                <a:spcPts val="0"/>
              </a:spcBef>
              <a:defRPr sz="1199">
                <a:latin typeface="+mn-lt"/>
              </a:defRPr>
            </a:lvl7pPr>
            <a:lvl8pPr marL="0" indent="0" algn="r">
              <a:spcBef>
                <a:spcPts val="0"/>
              </a:spcBef>
              <a:defRPr sz="1199">
                <a:latin typeface="+mn-lt"/>
              </a:defRPr>
            </a:lvl8pPr>
            <a:lvl9pPr marL="0" indent="0" algn="r">
              <a:spcBef>
                <a:spcPts val="0"/>
              </a:spcBef>
              <a:defRPr sz="1199">
                <a:latin typeface="+mn-lt"/>
              </a:defRPr>
            </a:lvl9pPr>
          </a:lstStyle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1155196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fld id="{E7178478-C14F-4056-BC7B-D4A0322B8D6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88791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735" r:id="rId32"/>
  </p:sldLayoutIdLst>
  <p:timing>
    <p:tnLst>
      <p:par>
        <p:cTn id="1" dur="indefinite" restart="never" nodeType="tmRoot"/>
      </p:par>
    </p:tnLst>
  </p:timing>
  <p:txStyles>
    <p:titleStyle>
      <a:lvl1pPr marL="0" indent="0" algn="l" defTabSz="1088415" rtl="0" eaLnBrk="1" latinLnBrk="0" hangingPunct="1">
        <a:lnSpc>
          <a:spcPts val="3998"/>
        </a:lnSpc>
        <a:spcBef>
          <a:spcPts val="0"/>
        </a:spcBef>
        <a:buFont typeface="Arial" panose="020B0604020202020204" pitchFamily="34" charset="0"/>
        <a:buNone/>
        <a:defRPr kumimoji="1" sz="3498" kern="1200" baseline="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237481" indent="-237481" algn="l" defTabSz="1088415" rtl="0" eaLnBrk="1" latinLnBrk="0" hangingPunct="1">
        <a:lnSpc>
          <a:spcPts val="3198"/>
        </a:lnSpc>
        <a:spcBef>
          <a:spcPts val="0"/>
        </a:spcBef>
        <a:buSzPct val="80000"/>
        <a:buFont typeface="Arial" panose="020B0604020202020204" pitchFamily="34" charset="0"/>
        <a:buChar char="•"/>
        <a:defRPr kumimoji="1" sz="2399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kumimoji="1" sz="2399" kern="1200">
          <a:solidFill>
            <a:schemeClr val="accent2"/>
          </a:solidFill>
          <a:latin typeface="+mn-lt"/>
          <a:ea typeface="+mn-ea"/>
          <a:cs typeface="+mn-cs"/>
        </a:defRPr>
      </a:lvl2pPr>
      <a:lvl3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kumimoji="1" sz="2399" kern="1200">
          <a:solidFill>
            <a:schemeClr val="accent2"/>
          </a:solidFill>
          <a:latin typeface="+mn-lt"/>
          <a:ea typeface="+mn-ea"/>
          <a:cs typeface="+mn-cs"/>
        </a:defRPr>
      </a:lvl3pPr>
      <a:lvl4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kumimoji="1" sz="2399" kern="1200">
          <a:solidFill>
            <a:schemeClr val="accent2"/>
          </a:solidFill>
          <a:latin typeface="+mn-lt"/>
          <a:ea typeface="+mn-ea"/>
          <a:cs typeface="+mn-cs"/>
        </a:defRPr>
      </a:lvl4pPr>
      <a:lvl5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kumimoji="1" sz="2399" kern="1200">
          <a:solidFill>
            <a:schemeClr val="accent2"/>
          </a:solidFill>
          <a:latin typeface="+mn-lt"/>
          <a:ea typeface="+mn-ea"/>
          <a:cs typeface="+mn-cs"/>
        </a:defRPr>
      </a:lvl5pPr>
      <a:lvl6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kumimoji="1" sz="2399" kern="1200">
          <a:solidFill>
            <a:schemeClr val="accent2"/>
          </a:solidFill>
          <a:latin typeface="+mn-lt"/>
          <a:ea typeface="+mn-ea"/>
          <a:cs typeface="+mn-cs"/>
        </a:defRPr>
      </a:lvl6pPr>
      <a:lvl7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kumimoji="1" sz="2399" kern="1200">
          <a:solidFill>
            <a:schemeClr val="accent2"/>
          </a:solidFill>
          <a:latin typeface="+mn-lt"/>
          <a:ea typeface="+mn-ea"/>
          <a:cs typeface="+mn-cs"/>
        </a:defRPr>
      </a:lvl7pPr>
      <a:lvl8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kumimoji="1" sz="2399" kern="1200">
          <a:solidFill>
            <a:schemeClr val="accent2"/>
          </a:solidFill>
          <a:latin typeface="+mn-lt"/>
          <a:ea typeface="+mn-ea"/>
          <a:cs typeface="+mn-cs"/>
        </a:defRPr>
      </a:lvl8pPr>
      <a:lvl9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kumimoji="1" sz="2399" kern="1200">
          <a:solidFill>
            <a:schemeClr val="accent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15" rtl="0" eaLnBrk="1" latinLnBrk="0" hangingPunct="1">
        <a:defRPr kumimoji="1" sz="2099" kern="1200">
          <a:solidFill>
            <a:schemeClr val="tx1"/>
          </a:solidFill>
          <a:latin typeface="+mn-lt"/>
          <a:ea typeface="+mn-ea"/>
          <a:cs typeface="+mn-cs"/>
        </a:defRPr>
      </a:lvl1pPr>
      <a:lvl2pPr marL="544207" algn="l" defTabSz="1088415" rtl="0" eaLnBrk="1" latinLnBrk="0" hangingPunct="1">
        <a:defRPr kumimoji="1" sz="2099" kern="1200">
          <a:solidFill>
            <a:schemeClr val="tx1"/>
          </a:solidFill>
          <a:latin typeface="+mn-lt"/>
          <a:ea typeface="+mn-ea"/>
          <a:cs typeface="+mn-cs"/>
        </a:defRPr>
      </a:lvl2pPr>
      <a:lvl3pPr marL="1088415" algn="l" defTabSz="1088415" rtl="0" eaLnBrk="1" latinLnBrk="0" hangingPunct="1">
        <a:defRPr kumimoji="1" sz="2099" kern="1200">
          <a:solidFill>
            <a:schemeClr val="tx1"/>
          </a:solidFill>
          <a:latin typeface="+mn-lt"/>
          <a:ea typeface="+mn-ea"/>
          <a:cs typeface="+mn-cs"/>
        </a:defRPr>
      </a:lvl3pPr>
      <a:lvl4pPr marL="1632621" algn="l" defTabSz="1088415" rtl="0" eaLnBrk="1" latinLnBrk="0" hangingPunct="1">
        <a:defRPr kumimoji="1" sz="2099" kern="1200">
          <a:solidFill>
            <a:schemeClr val="tx1"/>
          </a:solidFill>
          <a:latin typeface="+mn-lt"/>
          <a:ea typeface="+mn-ea"/>
          <a:cs typeface="+mn-cs"/>
        </a:defRPr>
      </a:lvl4pPr>
      <a:lvl5pPr marL="2176829" algn="l" defTabSz="1088415" rtl="0" eaLnBrk="1" latinLnBrk="0" hangingPunct="1">
        <a:defRPr kumimoji="1" sz="2099" kern="1200">
          <a:solidFill>
            <a:schemeClr val="tx1"/>
          </a:solidFill>
          <a:latin typeface="+mn-lt"/>
          <a:ea typeface="+mn-ea"/>
          <a:cs typeface="+mn-cs"/>
        </a:defRPr>
      </a:lvl5pPr>
      <a:lvl6pPr marL="2721036" algn="l" defTabSz="1088415" rtl="0" eaLnBrk="1" latinLnBrk="0" hangingPunct="1">
        <a:defRPr kumimoji="1" sz="2099" kern="1200">
          <a:solidFill>
            <a:schemeClr val="tx1"/>
          </a:solidFill>
          <a:latin typeface="+mn-lt"/>
          <a:ea typeface="+mn-ea"/>
          <a:cs typeface="+mn-cs"/>
        </a:defRPr>
      </a:lvl6pPr>
      <a:lvl7pPr marL="3265244" algn="l" defTabSz="1088415" rtl="0" eaLnBrk="1" latinLnBrk="0" hangingPunct="1">
        <a:defRPr kumimoji="1" sz="2099" kern="1200">
          <a:solidFill>
            <a:schemeClr val="tx1"/>
          </a:solidFill>
          <a:latin typeface="+mn-lt"/>
          <a:ea typeface="+mn-ea"/>
          <a:cs typeface="+mn-cs"/>
        </a:defRPr>
      </a:lvl7pPr>
      <a:lvl8pPr marL="3809450" algn="l" defTabSz="1088415" rtl="0" eaLnBrk="1" latinLnBrk="0" hangingPunct="1">
        <a:defRPr kumimoji="1" sz="2099" kern="1200">
          <a:solidFill>
            <a:schemeClr val="tx1"/>
          </a:solidFill>
          <a:latin typeface="+mn-lt"/>
          <a:ea typeface="+mn-ea"/>
          <a:cs typeface="+mn-cs"/>
        </a:defRPr>
      </a:lvl8pPr>
      <a:lvl9pPr marL="4353658" algn="l" defTabSz="1088415" rtl="0" eaLnBrk="1" latinLnBrk="0" hangingPunct="1">
        <a:defRPr kumimoji="1" sz="20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96">
          <p15:clr>
            <a:srgbClr val="F26B43"/>
          </p15:clr>
        </p15:guide>
        <p15:guide id="2" pos="7286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6"/>
            </p:custDataLst>
            <p:extLst>
              <p:ext uri="{D42A27DB-BD31-4B8C-83A1-F6EECF244321}">
                <p14:modId xmlns:p14="http://schemas.microsoft.com/office/powerpoint/2010/main" val="2048405768"/>
              </p:ext>
            </p:extLst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384" name="think-cell スライド" r:id="rId78" imgW="270" imgH="270" progId="TCLayout.ActiveDocument.1">
                  <p:embed/>
                </p:oleObj>
              </mc:Choice>
              <mc:Fallback>
                <p:oleObj name="think-cell スライド" r:id="rId78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9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正方形/長方形 2" hidden="1"/>
          <p:cNvSpPr/>
          <p:nvPr userDrawn="1">
            <p:custDataLst>
              <p:tags r:id="rId7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kumimoji="1" lang="en-US" altLang="ja-JP" sz="2398" b="0" i="0" baseline="0" dirty="0" err="1" smtClean="0">
              <a:solidFill>
                <a:schemeClr val="bg1"/>
              </a:solidFill>
              <a:latin typeface="CorpoS" pitchFamily="2" charset="0"/>
              <a:ea typeface="+mj-ea"/>
              <a:cs typeface="+mj-cs"/>
              <a:sym typeface="CorpoS" pitchFamily="2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2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000000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000000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51106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9" r:id="rId1"/>
    <p:sldLayoutId id="2147483820" r:id="rId2"/>
    <p:sldLayoutId id="2147483821" r:id="rId3"/>
    <p:sldLayoutId id="2147483822" r:id="rId4"/>
    <p:sldLayoutId id="2147483823" r:id="rId5"/>
    <p:sldLayoutId id="2147483824" r:id="rId6"/>
    <p:sldLayoutId id="2147483825" r:id="rId7"/>
    <p:sldLayoutId id="2147483826" r:id="rId8"/>
    <p:sldLayoutId id="2147483827" r:id="rId9"/>
    <p:sldLayoutId id="2147483828" r:id="rId10"/>
    <p:sldLayoutId id="2147483829" r:id="rId11"/>
    <p:sldLayoutId id="2147483830" r:id="rId12"/>
    <p:sldLayoutId id="2147483831" r:id="rId13"/>
    <p:sldLayoutId id="2147483832" r:id="rId14"/>
    <p:sldLayoutId id="2147483833" r:id="rId15"/>
    <p:sldLayoutId id="2147483834" r:id="rId16"/>
    <p:sldLayoutId id="2147483835" r:id="rId17"/>
    <p:sldLayoutId id="2147483836" r:id="rId18"/>
    <p:sldLayoutId id="2147483837" r:id="rId19"/>
    <p:sldLayoutId id="2147483838" r:id="rId20"/>
    <p:sldLayoutId id="2147483839" r:id="rId21"/>
    <p:sldLayoutId id="2147483840" r:id="rId22"/>
    <p:sldLayoutId id="2147483841" r:id="rId23"/>
    <p:sldLayoutId id="2147483842" r:id="rId24"/>
    <p:sldLayoutId id="2147483843" r:id="rId25"/>
    <p:sldLayoutId id="2147483844" r:id="rId26"/>
    <p:sldLayoutId id="2147483845" r:id="rId27"/>
    <p:sldLayoutId id="2147483846" r:id="rId28"/>
    <p:sldLayoutId id="2147483847" r:id="rId29"/>
    <p:sldLayoutId id="2147483848" r:id="rId30"/>
    <p:sldLayoutId id="2147483849" r:id="rId31"/>
    <p:sldLayoutId id="2147483850" r:id="rId32"/>
    <p:sldLayoutId id="2147483851" r:id="rId33"/>
    <p:sldLayoutId id="2147483852" r:id="rId34"/>
    <p:sldLayoutId id="2147483853" r:id="rId35"/>
    <p:sldLayoutId id="2147483854" r:id="rId36"/>
    <p:sldLayoutId id="2147483855" r:id="rId37"/>
    <p:sldLayoutId id="2147483856" r:id="rId38"/>
    <p:sldLayoutId id="2147483857" r:id="rId39"/>
    <p:sldLayoutId id="2147483858" r:id="rId40"/>
    <p:sldLayoutId id="2147483859" r:id="rId41"/>
    <p:sldLayoutId id="2147483860" r:id="rId42"/>
    <p:sldLayoutId id="2147483861" r:id="rId43"/>
    <p:sldLayoutId id="2147483862" r:id="rId44"/>
    <p:sldLayoutId id="2147483863" r:id="rId45"/>
    <p:sldLayoutId id="2147483864" r:id="rId46"/>
    <p:sldLayoutId id="2147483865" r:id="rId47"/>
    <p:sldLayoutId id="2147483866" r:id="rId48"/>
    <p:sldLayoutId id="2147483867" r:id="rId49"/>
    <p:sldLayoutId id="2147483868" r:id="rId50"/>
    <p:sldLayoutId id="2147483869" r:id="rId51"/>
    <p:sldLayoutId id="2147483870" r:id="rId52"/>
    <p:sldLayoutId id="2147483871" r:id="rId53"/>
    <p:sldLayoutId id="2147483872" r:id="rId54"/>
    <p:sldLayoutId id="2147483873" r:id="rId55"/>
    <p:sldLayoutId id="2147483874" r:id="rId56"/>
    <p:sldLayoutId id="2147483875" r:id="rId57"/>
    <p:sldLayoutId id="2147483876" r:id="rId58"/>
    <p:sldLayoutId id="2147483877" r:id="rId59"/>
    <p:sldLayoutId id="2147483878" r:id="rId60"/>
    <p:sldLayoutId id="2147483879" r:id="rId61"/>
    <p:sldLayoutId id="2147483880" r:id="rId62"/>
    <p:sldLayoutId id="2147483881" r:id="rId63"/>
    <p:sldLayoutId id="2147483882" r:id="rId64"/>
    <p:sldLayoutId id="2147483883" r:id="rId65"/>
    <p:sldLayoutId id="2147483884" r:id="rId66"/>
    <p:sldLayoutId id="2147483885" r:id="rId67"/>
    <p:sldLayoutId id="2147483886" r:id="rId68"/>
    <p:sldLayoutId id="2147483887" r:id="rId69"/>
    <p:sldLayoutId id="2147483888" r:id="rId70"/>
    <p:sldLayoutId id="2147483889" r:id="rId71"/>
    <p:sldLayoutId id="2147483890" r:id="rId72"/>
    <p:sldLayoutId id="2147483891" r:id="rId73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  <p:txStyles>
    <p:titleStyle>
      <a:lvl1pPr algn="l" defTabSz="913486" rtl="0" eaLnBrk="1" latinLnBrk="0" hangingPunct="1">
        <a:lnSpc>
          <a:spcPct val="90000"/>
        </a:lnSpc>
        <a:spcBef>
          <a:spcPct val="0"/>
        </a:spcBef>
        <a:buNone/>
        <a:defRPr sz="2398" kern="1200">
          <a:solidFill>
            <a:schemeClr val="tx2"/>
          </a:solidFill>
          <a:latin typeface="+mj-lt"/>
          <a:ea typeface="+mj-ea"/>
          <a:cs typeface="+mj-cs"/>
          <a:sym typeface="CorpoS" pitchFamily="2" charset="0"/>
        </a:defRPr>
      </a:lvl1pPr>
    </p:titleStyle>
    <p:bodyStyle>
      <a:lvl1pPr marL="0" indent="0" algn="l" defTabSz="913486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198" kern="1200">
          <a:solidFill>
            <a:schemeClr val="tx1"/>
          </a:solidFill>
          <a:latin typeface="+mn-lt"/>
          <a:ea typeface="+mn-ea"/>
          <a:cs typeface="+mn-cs"/>
          <a:sym typeface="CorpoS" pitchFamily="2" charset="0"/>
        </a:defRPr>
      </a:lvl1pPr>
      <a:lvl2pPr marL="284116" indent="-172628" algn="l" defTabSz="913486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198" kern="1200">
          <a:solidFill>
            <a:schemeClr val="tx1"/>
          </a:solidFill>
          <a:latin typeface="+mn-lt"/>
          <a:ea typeface="+mn-ea"/>
          <a:cs typeface="+mn-cs"/>
          <a:sym typeface="CorpoS" pitchFamily="2" charset="0"/>
        </a:defRPr>
      </a:lvl2pPr>
      <a:lvl3pPr marL="510689" indent="-165434" algn="l" defTabSz="913486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198" kern="1200">
          <a:solidFill>
            <a:schemeClr val="tx1"/>
          </a:solidFill>
          <a:latin typeface="+mn-lt"/>
          <a:ea typeface="+mn-ea"/>
          <a:cs typeface="+mn-cs"/>
          <a:sym typeface="CorpoS" pitchFamily="2" charset="0"/>
        </a:defRPr>
      </a:lvl3pPr>
      <a:lvl4pPr marL="0" indent="0" algn="l" defTabSz="913486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598" kern="1200">
          <a:solidFill>
            <a:schemeClr val="tx2"/>
          </a:solidFill>
          <a:latin typeface="+mn-lt"/>
          <a:ea typeface="+mn-ea"/>
          <a:cs typeface="+mn-cs"/>
          <a:sym typeface="CorpoS" pitchFamily="2" charset="0"/>
        </a:defRPr>
      </a:lvl4pPr>
      <a:lvl5pPr marL="0" indent="0" algn="l" defTabSz="913486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598" b="1" kern="1200" smtClean="0">
          <a:solidFill>
            <a:schemeClr val="tx1"/>
          </a:solidFill>
          <a:latin typeface="+mn-lt"/>
          <a:ea typeface="+mn-ea"/>
          <a:cs typeface="+mn-cs"/>
          <a:sym typeface="CorpoS" pitchFamily="2" charset="0"/>
        </a:defRPr>
      </a:lvl5pPr>
      <a:lvl6pPr marL="269605" indent="-152248" algn="l" defTabSz="913486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598" kern="1200" smtClean="0">
          <a:solidFill>
            <a:schemeClr val="tx1"/>
          </a:solidFill>
          <a:latin typeface="+mn-lt"/>
          <a:ea typeface="+mn-ea"/>
          <a:cs typeface="+mn-cs"/>
          <a:sym typeface="CorpoS" pitchFamily="2" charset="0"/>
        </a:defRPr>
      </a:lvl6pPr>
      <a:lvl7pPr marL="0" indent="0" algn="l" defTabSz="913486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396" kern="1200" baseline="0" smtClean="0">
          <a:solidFill>
            <a:schemeClr val="tx1"/>
          </a:solidFill>
          <a:latin typeface="+mn-lt"/>
          <a:ea typeface="+mn-ea"/>
          <a:cs typeface="+mn-cs"/>
          <a:sym typeface="CorpoS" pitchFamily="2" charset="0"/>
        </a:defRPr>
      </a:lvl7pPr>
      <a:lvl8pPr marL="0" indent="0" algn="l" defTabSz="913486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394" kern="1200" baseline="0" smtClean="0">
          <a:solidFill>
            <a:schemeClr val="tx2"/>
          </a:solidFill>
          <a:latin typeface="+mn-lt"/>
          <a:ea typeface="+mn-ea"/>
          <a:cs typeface="+mn-cs"/>
          <a:sym typeface="CorpoS" pitchFamily="2" charset="0"/>
        </a:defRPr>
      </a:lvl8pPr>
      <a:lvl9pPr marL="0" indent="0" algn="l" defTabSz="913486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398" kern="1200" baseline="0" dirty="0">
          <a:solidFill>
            <a:schemeClr val="tx2"/>
          </a:solidFill>
          <a:latin typeface="+mn-lt"/>
          <a:ea typeface="+mn-ea"/>
          <a:cs typeface="+mn-cs"/>
          <a:sym typeface="CorpoS" pitchFamily="2" charset="0"/>
        </a:defRPr>
      </a:lvl9pPr>
    </p:bodyStyle>
    <p:otherStyle>
      <a:defPPr>
        <a:defRPr lang="en-US"/>
      </a:defPPr>
      <a:lvl1pPr marL="0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1pPr>
      <a:lvl2pPr marL="456743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2pPr>
      <a:lvl3pPr marL="913486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3pPr>
      <a:lvl4pPr marL="1370229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4pPr>
      <a:lvl5pPr marL="1826972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5pPr>
      <a:lvl6pPr marL="2283715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6pPr>
      <a:lvl7pPr marL="2740457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7pPr>
      <a:lvl8pPr marL="3197201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8pPr>
      <a:lvl9pPr marL="3653943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92">
          <p15:clr>
            <a:srgbClr val="F26B43"/>
          </p15:clr>
        </p15:guide>
        <p15:guide id="4" orient="horz" pos="3883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0"/>
            </p:custDataLst>
            <p:extLst/>
          </p:nvPr>
        </p:nvGraphicFramePr>
        <p:xfrm>
          <a:off x="1588" y="1588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106" name="think-cell スライド" r:id="rId13" imgW="270" imgH="270" progId="TCLayout.ActiveDocument.1">
                  <p:embed/>
                </p:oleObj>
              </mc:Choice>
              <mc:Fallback>
                <p:oleObj name="think-cell スライド" r:id="rId13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9E9E9E"/>
          </a:solidFill>
          <a:ln>
            <a:solidFill>
              <a:srgbClr val="9E9E9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endParaRPr lang="en-US" sz="3498" b="0" i="0" baseline="0" dirty="0" err="1" smtClean="0">
              <a:latin typeface="CorpoS" pitchFamily="2" charset="0"/>
              <a:ea typeface="+mj-ea"/>
              <a:cs typeface="+mj-cs"/>
              <a:sym typeface="CorpoS" pitchFamily="2" charset="0"/>
            </a:endParaRPr>
          </a:p>
        </p:txBody>
      </p:sp>
      <p:sp>
        <p:nvSpPr>
          <p:cNvPr id="18" name="Daimler AG (Wortmarke)"/>
          <p:cNvSpPr>
            <a:spLocks noChangeArrowheads="1"/>
          </p:cNvSpPr>
          <p:nvPr/>
        </p:nvSpPr>
        <p:spPr bwMode="auto">
          <a:xfrm>
            <a:off x="629672" y="6564880"/>
            <a:ext cx="2086913" cy="2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r>
              <a:rPr lang="en-US" sz="1199" dirty="0" smtClean="0">
                <a:latin typeface="+mn-lt"/>
                <a:cs typeface="Daimler CS"/>
              </a:rPr>
              <a:t>Daimler AG</a:t>
            </a:r>
            <a:endParaRPr lang="en-US" sz="1199" dirty="0">
              <a:latin typeface="+mn-lt"/>
              <a:cs typeface="Daimler CS"/>
            </a:endParaRPr>
          </a:p>
        </p:txBody>
      </p:sp>
      <p:cxnSp>
        <p:nvCxnSpPr>
          <p:cNvPr id="14" name="Footerline"/>
          <p:cNvCxnSpPr/>
          <p:nvPr/>
        </p:nvCxnSpPr>
        <p:spPr bwMode="auto">
          <a:xfrm>
            <a:off x="629671" y="6487838"/>
            <a:ext cx="10931107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30117" y="1504603"/>
            <a:ext cx="10930387" cy="487567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 24 pt. (Mark-ups in Bold)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dirty="0" smtClean="0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28324" y="285982"/>
            <a:ext cx="10932454" cy="11517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 smtClean="0"/>
              <a:t>Headline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 35 pt.</a:t>
            </a:r>
            <a:br>
              <a:rPr lang="en-US" noProof="0" dirty="0" smtClean="0"/>
            </a:br>
            <a:r>
              <a:rPr lang="en-US" noProof="0" dirty="0" smtClean="0"/>
              <a:t>in two lines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11056718" y="6564880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10" name="Picture 3" descr="C:\Users\rajarrv\AppData\Local\Microsoft\Windows\Temporary Internet Files\Content.Outlook\3CY2KM7L\B-No Background FORCE LOGO.png"/>
          <p:cNvPicPr>
            <a:picLocks noChangeAspect="1" noChangeArrowheads="1"/>
          </p:cNvPicPr>
          <p:nvPr/>
        </p:nvPicPr>
        <p:blipFill rotWithShape="1"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739834" y="0"/>
            <a:ext cx="1452166" cy="4148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 hidden="1"/>
          <p:cNvSpPr/>
          <p:nvPr userDrawn="1">
            <p:custDataLst>
              <p:tags r:id="rId1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9E9E9E"/>
          </a:solidFill>
          <a:ln>
            <a:solidFill>
              <a:srgbClr val="9E9E9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endParaRPr lang="en-US" sz="3498" b="0" i="0" baseline="0" dirty="0" err="1" smtClean="0">
              <a:latin typeface="CorpoS" pitchFamily="2" charset="0"/>
              <a:ea typeface="+mj-ea"/>
              <a:cs typeface="+mj-cs"/>
              <a:sym typeface="CorpoS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049033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4" r:id="rId1"/>
    <p:sldLayoutId id="2147483895" r:id="rId2"/>
    <p:sldLayoutId id="2147483896" r:id="rId3"/>
    <p:sldLayoutId id="2147483897" r:id="rId4"/>
    <p:sldLayoutId id="2147483898" r:id="rId5"/>
    <p:sldLayoutId id="2147483899" r:id="rId6"/>
    <p:sldLayoutId id="2147483901" r:id="rId7"/>
  </p:sldLayoutIdLst>
  <p:timing>
    <p:tnLst>
      <p:par>
        <p:cTn id="1" dur="indefinite" restart="never" nodeType="tmRoot"/>
      </p:par>
    </p:tnLst>
  </p:timing>
  <p:txStyles>
    <p:titleStyle>
      <a:lvl1pPr marL="0" indent="0" algn="l" defTabSz="1088415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3498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088415" rtl="0" eaLnBrk="1" latinLnBrk="0" hangingPunct="1">
        <a:lnSpc>
          <a:spcPct val="100000"/>
        </a:lnSpc>
        <a:spcBef>
          <a:spcPts val="300"/>
        </a:spcBef>
        <a:buSzPct val="80000"/>
        <a:buFontTx/>
        <a:buNone/>
        <a:defRPr sz="2399" kern="1200">
          <a:solidFill>
            <a:schemeClr val="tx1"/>
          </a:solidFill>
          <a:latin typeface="+mn-lt"/>
          <a:ea typeface="+mn-ea"/>
          <a:cs typeface="+mn-cs"/>
        </a:defRPr>
      </a:lvl1pPr>
      <a:lvl2pPr marL="251874" indent="-251874" algn="l" defTabSz="1088415" rtl="0" eaLnBrk="1" latinLnBrk="0" hangingPunct="1">
        <a:lnSpc>
          <a:spcPct val="100000"/>
        </a:lnSpc>
        <a:spcBef>
          <a:spcPts val="300"/>
        </a:spcBef>
        <a:buFont typeface="Arial" panose="020B0604020202020204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575712" indent="-251874" algn="l" defTabSz="1088415" rtl="0" eaLnBrk="1" latinLnBrk="0" hangingPunct="1">
        <a:lnSpc>
          <a:spcPct val="100000"/>
        </a:lnSpc>
        <a:spcBef>
          <a:spcPts val="300"/>
        </a:spcBef>
        <a:buClr>
          <a:schemeClr val="tx1"/>
        </a:buClr>
        <a:buFont typeface="Symbol" panose="05050102010706020507" pitchFamily="18" charset="2"/>
        <a:buChar char="-"/>
        <a:defRPr sz="2399" kern="1200">
          <a:solidFill>
            <a:schemeClr val="tx1"/>
          </a:solidFill>
          <a:latin typeface="+mn-lt"/>
          <a:ea typeface="+mn-ea"/>
          <a:cs typeface="+mn-cs"/>
        </a:defRPr>
      </a:lvl3pPr>
      <a:lvl4pPr marL="899550" indent="-251874" algn="l" defTabSz="1088415" rtl="0" eaLnBrk="1" latinLnBrk="0" hangingPunct="1">
        <a:lnSpc>
          <a:spcPct val="100000"/>
        </a:lnSpc>
        <a:spcBef>
          <a:spcPts val="300"/>
        </a:spcBef>
        <a:buFont typeface="Symbol" panose="05050102010706020507" pitchFamily="18" charset="2"/>
        <a:buChar char="-"/>
        <a:defRPr sz="2399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223388" indent="-251874" algn="l" defTabSz="1088415" rtl="0" eaLnBrk="1" latinLnBrk="0" hangingPunct="1">
        <a:lnSpc>
          <a:spcPct val="100000"/>
        </a:lnSpc>
        <a:spcBef>
          <a:spcPts val="300"/>
        </a:spcBef>
        <a:buFont typeface="Symbol" panose="05050102010706020507" pitchFamily="18" charset="2"/>
        <a:buChar char="-"/>
        <a:defRPr sz="2399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1007496" indent="-251874" algn="l" defTabSz="1088415" rtl="0" eaLnBrk="1" latinLnBrk="0" hangingPunct="1">
        <a:lnSpc>
          <a:spcPts val="3198"/>
        </a:lnSpc>
        <a:spcBef>
          <a:spcPts val="0"/>
        </a:spcBef>
        <a:buFont typeface="Symbol" panose="05050102010706020507" pitchFamily="18" charset="2"/>
        <a:buChar char="-"/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sz="2399" kern="1200">
          <a:solidFill>
            <a:schemeClr val="accent2"/>
          </a:solidFill>
          <a:latin typeface="+mn-lt"/>
          <a:ea typeface="+mn-ea"/>
          <a:cs typeface="+mn-cs"/>
        </a:defRPr>
      </a:lvl7pPr>
      <a:lvl8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sz="2399" kern="1200">
          <a:solidFill>
            <a:schemeClr val="accent2"/>
          </a:solidFill>
          <a:latin typeface="+mn-lt"/>
          <a:ea typeface="+mn-ea"/>
          <a:cs typeface="+mn-cs"/>
        </a:defRPr>
      </a:lvl8pPr>
      <a:lvl9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sz="2399" kern="1200">
          <a:solidFill>
            <a:schemeClr val="accent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1pPr>
      <a:lvl2pPr marL="544207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2pPr>
      <a:lvl3pPr marL="1088415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3pPr>
      <a:lvl4pPr marL="1632621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4pPr>
      <a:lvl5pPr marL="2176829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5pPr>
      <a:lvl6pPr marL="2721036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6pPr>
      <a:lvl7pPr marL="3265244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7pPr>
      <a:lvl8pPr marL="3809450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8pPr>
      <a:lvl9pPr marL="4353658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59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329" name="think-cell スライド" r:id="rId60" imgW="270" imgH="270" progId="TCLayout.ActiveDocument.1">
                  <p:embed/>
                </p:oleObj>
              </mc:Choice>
              <mc:Fallback>
                <p:oleObj name="think-cell スライド" r:id="rId6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1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2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432652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3" r:id="rId1"/>
    <p:sldLayoutId id="2147483904" r:id="rId2"/>
    <p:sldLayoutId id="2147483905" r:id="rId3"/>
    <p:sldLayoutId id="2147483906" r:id="rId4"/>
    <p:sldLayoutId id="2147483907" r:id="rId5"/>
    <p:sldLayoutId id="2147483908" r:id="rId6"/>
    <p:sldLayoutId id="2147483909" r:id="rId7"/>
    <p:sldLayoutId id="2147483910" r:id="rId8"/>
    <p:sldLayoutId id="2147483911" r:id="rId9"/>
    <p:sldLayoutId id="2147483912" r:id="rId10"/>
    <p:sldLayoutId id="2147483913" r:id="rId11"/>
    <p:sldLayoutId id="2147483914" r:id="rId12"/>
    <p:sldLayoutId id="2147483915" r:id="rId13"/>
    <p:sldLayoutId id="2147483916" r:id="rId14"/>
    <p:sldLayoutId id="2147483917" r:id="rId15"/>
    <p:sldLayoutId id="2147483918" r:id="rId16"/>
    <p:sldLayoutId id="2147483919" r:id="rId17"/>
    <p:sldLayoutId id="2147483920" r:id="rId18"/>
    <p:sldLayoutId id="2147483921" r:id="rId19"/>
    <p:sldLayoutId id="2147483922" r:id="rId20"/>
    <p:sldLayoutId id="2147483923" r:id="rId21"/>
    <p:sldLayoutId id="2147483924" r:id="rId22"/>
    <p:sldLayoutId id="2147483925" r:id="rId23"/>
    <p:sldLayoutId id="2147483926" r:id="rId24"/>
    <p:sldLayoutId id="2147483927" r:id="rId25"/>
    <p:sldLayoutId id="2147483928" r:id="rId26"/>
    <p:sldLayoutId id="2147483929" r:id="rId27"/>
    <p:sldLayoutId id="2147483930" r:id="rId28"/>
    <p:sldLayoutId id="2147483931" r:id="rId29"/>
    <p:sldLayoutId id="2147483932" r:id="rId30"/>
    <p:sldLayoutId id="2147483933" r:id="rId31"/>
    <p:sldLayoutId id="2147483934" r:id="rId32"/>
    <p:sldLayoutId id="2147483935" r:id="rId33"/>
    <p:sldLayoutId id="2147483936" r:id="rId34"/>
    <p:sldLayoutId id="2147483937" r:id="rId35"/>
    <p:sldLayoutId id="2147483938" r:id="rId36"/>
    <p:sldLayoutId id="2147483939" r:id="rId37"/>
    <p:sldLayoutId id="2147483940" r:id="rId38"/>
    <p:sldLayoutId id="2147483941" r:id="rId39"/>
    <p:sldLayoutId id="2147483942" r:id="rId40"/>
    <p:sldLayoutId id="2147483943" r:id="rId41"/>
    <p:sldLayoutId id="2147483944" r:id="rId42"/>
    <p:sldLayoutId id="2147483945" r:id="rId43"/>
    <p:sldLayoutId id="2147483946" r:id="rId44"/>
    <p:sldLayoutId id="2147483947" r:id="rId45"/>
    <p:sldLayoutId id="2147483948" r:id="rId46"/>
    <p:sldLayoutId id="2147483949" r:id="rId47"/>
    <p:sldLayoutId id="2147483950" r:id="rId48"/>
    <p:sldLayoutId id="2147483951" r:id="rId49"/>
    <p:sldLayoutId id="2147483952" r:id="rId50"/>
    <p:sldLayoutId id="2147483953" r:id="rId51"/>
    <p:sldLayoutId id="2147483954" r:id="rId52"/>
    <p:sldLayoutId id="2147483955" r:id="rId53"/>
    <p:sldLayoutId id="2147483956" r:id="rId54"/>
    <p:sldLayoutId id="2147483957" r:id="rId55"/>
    <p:sldLayoutId id="2147483958" r:id="rId5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  <p:txStyles>
    <p:titleStyle>
      <a:lvl1pPr algn="l" defTabSz="913486" rtl="0" eaLnBrk="1" latinLnBrk="0" hangingPunct="1">
        <a:lnSpc>
          <a:spcPct val="90000"/>
        </a:lnSpc>
        <a:spcBef>
          <a:spcPct val="0"/>
        </a:spcBef>
        <a:buNone/>
        <a:defRPr sz="2398" kern="1200">
          <a:solidFill>
            <a:schemeClr val="tx2"/>
          </a:solidFill>
          <a:latin typeface="+mj-lt"/>
          <a:ea typeface="+mj-ea"/>
          <a:cs typeface="+mj-cs"/>
          <a:sym typeface="CorpoS" pitchFamily="2" charset="0"/>
        </a:defRPr>
      </a:lvl1pPr>
    </p:titleStyle>
    <p:bodyStyle>
      <a:lvl1pPr marL="0" indent="0" algn="l" defTabSz="913486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198" kern="1200">
          <a:solidFill>
            <a:schemeClr val="tx1"/>
          </a:solidFill>
          <a:latin typeface="+mn-lt"/>
          <a:ea typeface="+mn-ea"/>
          <a:cs typeface="+mn-cs"/>
          <a:sym typeface="CorpoS" pitchFamily="2" charset="0"/>
        </a:defRPr>
      </a:lvl1pPr>
      <a:lvl2pPr marL="284116" indent="-172628" algn="l" defTabSz="913486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198" kern="1200">
          <a:solidFill>
            <a:schemeClr val="tx1"/>
          </a:solidFill>
          <a:latin typeface="+mn-lt"/>
          <a:ea typeface="+mn-ea"/>
          <a:cs typeface="+mn-cs"/>
          <a:sym typeface="CorpoS" pitchFamily="2" charset="0"/>
        </a:defRPr>
      </a:lvl2pPr>
      <a:lvl3pPr marL="510689" indent="-165434" algn="l" defTabSz="913486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198" kern="1200">
          <a:solidFill>
            <a:schemeClr val="tx1"/>
          </a:solidFill>
          <a:latin typeface="+mn-lt"/>
          <a:ea typeface="+mn-ea"/>
          <a:cs typeface="+mn-cs"/>
          <a:sym typeface="CorpoS" pitchFamily="2" charset="0"/>
        </a:defRPr>
      </a:lvl3pPr>
      <a:lvl4pPr marL="0" indent="0" algn="l" defTabSz="913486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598" kern="1200">
          <a:solidFill>
            <a:schemeClr val="tx2"/>
          </a:solidFill>
          <a:latin typeface="+mn-lt"/>
          <a:ea typeface="+mn-ea"/>
          <a:cs typeface="+mn-cs"/>
          <a:sym typeface="CorpoS" pitchFamily="2" charset="0"/>
        </a:defRPr>
      </a:lvl4pPr>
      <a:lvl5pPr marL="0" indent="0" algn="l" defTabSz="913486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598" b="1" kern="1200" smtClean="0">
          <a:solidFill>
            <a:schemeClr val="tx1"/>
          </a:solidFill>
          <a:latin typeface="+mn-lt"/>
          <a:ea typeface="+mn-ea"/>
          <a:cs typeface="+mn-cs"/>
          <a:sym typeface="CorpoS" pitchFamily="2" charset="0"/>
        </a:defRPr>
      </a:lvl5pPr>
      <a:lvl6pPr marL="269605" indent="-152248" algn="l" defTabSz="913486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598" kern="1200" smtClean="0">
          <a:solidFill>
            <a:schemeClr val="tx1"/>
          </a:solidFill>
          <a:latin typeface="+mn-lt"/>
          <a:ea typeface="+mn-ea"/>
          <a:cs typeface="+mn-cs"/>
          <a:sym typeface="CorpoS" pitchFamily="2" charset="0"/>
        </a:defRPr>
      </a:lvl6pPr>
      <a:lvl7pPr marL="0" indent="0" algn="l" defTabSz="913486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396" kern="1200" baseline="0" smtClean="0">
          <a:solidFill>
            <a:schemeClr val="tx1"/>
          </a:solidFill>
          <a:latin typeface="+mn-lt"/>
          <a:ea typeface="+mn-ea"/>
          <a:cs typeface="+mn-cs"/>
          <a:sym typeface="CorpoS" pitchFamily="2" charset="0"/>
        </a:defRPr>
      </a:lvl7pPr>
      <a:lvl8pPr marL="0" indent="0" algn="l" defTabSz="913486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394" kern="1200" baseline="0" smtClean="0">
          <a:solidFill>
            <a:schemeClr val="tx2"/>
          </a:solidFill>
          <a:latin typeface="+mn-lt"/>
          <a:ea typeface="+mn-ea"/>
          <a:cs typeface="+mn-cs"/>
          <a:sym typeface="CorpoS" pitchFamily="2" charset="0"/>
        </a:defRPr>
      </a:lvl8pPr>
      <a:lvl9pPr marL="0" indent="0" algn="l" defTabSz="913486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398" kern="1200" baseline="0" dirty="0">
          <a:solidFill>
            <a:schemeClr val="tx2"/>
          </a:solidFill>
          <a:latin typeface="+mn-lt"/>
          <a:ea typeface="+mn-ea"/>
          <a:cs typeface="+mn-cs"/>
          <a:sym typeface="CorpoS" pitchFamily="2" charset="0"/>
        </a:defRPr>
      </a:lvl9pPr>
    </p:bodyStyle>
    <p:otherStyle>
      <a:defPPr>
        <a:defRPr lang="en-US"/>
      </a:defPPr>
      <a:lvl1pPr marL="0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1pPr>
      <a:lvl2pPr marL="456743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2pPr>
      <a:lvl3pPr marL="913486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3pPr>
      <a:lvl4pPr marL="1370229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4pPr>
      <a:lvl5pPr marL="1826972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5pPr>
      <a:lvl6pPr marL="2283715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6pPr>
      <a:lvl7pPr marL="2740457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7pPr>
      <a:lvl8pPr marL="3197201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8pPr>
      <a:lvl9pPr marL="3653943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92">
          <p15:clr>
            <a:srgbClr val="F26B43"/>
          </p15:clr>
        </p15:guide>
        <p15:guide id="4" orient="horz" pos="3883">
          <p15:clr>
            <a:srgbClr val="F26B43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59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734" name="think-cell スライド" r:id="rId60" imgW="270" imgH="270" progId="TCLayout.ActiveDocument.1">
                  <p:embed/>
                </p:oleObj>
              </mc:Choice>
              <mc:Fallback>
                <p:oleObj name="think-cell スライド" r:id="rId6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1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2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741713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0" r:id="rId1"/>
    <p:sldLayoutId id="2147483961" r:id="rId2"/>
    <p:sldLayoutId id="2147483962" r:id="rId3"/>
    <p:sldLayoutId id="2147483963" r:id="rId4"/>
    <p:sldLayoutId id="2147483964" r:id="rId5"/>
    <p:sldLayoutId id="2147483965" r:id="rId6"/>
    <p:sldLayoutId id="2147483966" r:id="rId7"/>
    <p:sldLayoutId id="2147483967" r:id="rId8"/>
    <p:sldLayoutId id="2147483968" r:id="rId9"/>
    <p:sldLayoutId id="2147483969" r:id="rId10"/>
    <p:sldLayoutId id="2147483970" r:id="rId11"/>
    <p:sldLayoutId id="2147483971" r:id="rId12"/>
    <p:sldLayoutId id="2147483972" r:id="rId13"/>
    <p:sldLayoutId id="2147483973" r:id="rId14"/>
    <p:sldLayoutId id="2147483974" r:id="rId15"/>
    <p:sldLayoutId id="2147483975" r:id="rId16"/>
    <p:sldLayoutId id="2147483976" r:id="rId17"/>
    <p:sldLayoutId id="2147483977" r:id="rId18"/>
    <p:sldLayoutId id="2147483978" r:id="rId19"/>
    <p:sldLayoutId id="2147483979" r:id="rId20"/>
    <p:sldLayoutId id="2147483980" r:id="rId21"/>
    <p:sldLayoutId id="2147483981" r:id="rId22"/>
    <p:sldLayoutId id="2147483982" r:id="rId23"/>
    <p:sldLayoutId id="2147483983" r:id="rId24"/>
    <p:sldLayoutId id="2147483984" r:id="rId25"/>
    <p:sldLayoutId id="2147483985" r:id="rId26"/>
    <p:sldLayoutId id="2147483986" r:id="rId27"/>
    <p:sldLayoutId id="2147483987" r:id="rId28"/>
    <p:sldLayoutId id="2147483988" r:id="rId29"/>
    <p:sldLayoutId id="2147483989" r:id="rId30"/>
    <p:sldLayoutId id="2147483990" r:id="rId31"/>
    <p:sldLayoutId id="2147483991" r:id="rId32"/>
    <p:sldLayoutId id="2147483992" r:id="rId33"/>
    <p:sldLayoutId id="2147483993" r:id="rId34"/>
    <p:sldLayoutId id="2147483994" r:id="rId35"/>
    <p:sldLayoutId id="2147483995" r:id="rId36"/>
    <p:sldLayoutId id="2147483996" r:id="rId37"/>
    <p:sldLayoutId id="2147483997" r:id="rId38"/>
    <p:sldLayoutId id="2147483998" r:id="rId39"/>
    <p:sldLayoutId id="2147483999" r:id="rId40"/>
    <p:sldLayoutId id="2147484000" r:id="rId41"/>
    <p:sldLayoutId id="2147484001" r:id="rId42"/>
    <p:sldLayoutId id="2147484002" r:id="rId43"/>
    <p:sldLayoutId id="2147484003" r:id="rId44"/>
    <p:sldLayoutId id="2147484004" r:id="rId45"/>
    <p:sldLayoutId id="2147484005" r:id="rId46"/>
    <p:sldLayoutId id="2147484006" r:id="rId47"/>
    <p:sldLayoutId id="2147484007" r:id="rId48"/>
    <p:sldLayoutId id="2147484008" r:id="rId49"/>
    <p:sldLayoutId id="2147484009" r:id="rId50"/>
    <p:sldLayoutId id="2147484010" r:id="rId51"/>
    <p:sldLayoutId id="2147484011" r:id="rId52"/>
    <p:sldLayoutId id="2147484012" r:id="rId53"/>
    <p:sldLayoutId id="2147484013" r:id="rId54"/>
    <p:sldLayoutId id="2147484014" r:id="rId55"/>
    <p:sldLayoutId id="2147484015" r:id="rId5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  <p:txStyles>
    <p:titleStyle>
      <a:lvl1pPr algn="l" defTabSz="913486" rtl="0" eaLnBrk="1" latinLnBrk="0" hangingPunct="1">
        <a:lnSpc>
          <a:spcPct val="90000"/>
        </a:lnSpc>
        <a:spcBef>
          <a:spcPct val="0"/>
        </a:spcBef>
        <a:buNone/>
        <a:defRPr kumimoji="1" sz="2398" kern="1200">
          <a:solidFill>
            <a:schemeClr val="tx2"/>
          </a:solidFill>
          <a:latin typeface="+mj-lt"/>
          <a:ea typeface="+mj-ea"/>
          <a:cs typeface="+mj-cs"/>
          <a:sym typeface="CorpoS" pitchFamily="2" charset="0"/>
        </a:defRPr>
      </a:lvl1pPr>
    </p:titleStyle>
    <p:bodyStyle>
      <a:lvl1pPr marL="0" indent="0" algn="l" defTabSz="913486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kumimoji="1" lang="en-US" sz="1198" kern="1200">
          <a:solidFill>
            <a:schemeClr val="tx1"/>
          </a:solidFill>
          <a:latin typeface="+mn-lt"/>
          <a:ea typeface="+mn-ea"/>
          <a:cs typeface="+mn-cs"/>
          <a:sym typeface="CorpoS" pitchFamily="2" charset="0"/>
        </a:defRPr>
      </a:lvl1pPr>
      <a:lvl2pPr marL="284116" indent="-172628" algn="l" defTabSz="913486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kumimoji="1" lang="en-US" sz="1198" kern="1200">
          <a:solidFill>
            <a:schemeClr val="tx1"/>
          </a:solidFill>
          <a:latin typeface="+mn-lt"/>
          <a:ea typeface="+mn-ea"/>
          <a:cs typeface="+mn-cs"/>
          <a:sym typeface="CorpoS" pitchFamily="2" charset="0"/>
        </a:defRPr>
      </a:lvl2pPr>
      <a:lvl3pPr marL="510689" indent="-165434" algn="l" defTabSz="913486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kumimoji="1" lang="en-US" sz="1198" kern="1200">
          <a:solidFill>
            <a:schemeClr val="tx1"/>
          </a:solidFill>
          <a:latin typeface="+mn-lt"/>
          <a:ea typeface="+mn-ea"/>
          <a:cs typeface="+mn-cs"/>
          <a:sym typeface="CorpoS" pitchFamily="2" charset="0"/>
        </a:defRPr>
      </a:lvl3pPr>
      <a:lvl4pPr marL="0" indent="0" algn="l" defTabSz="913486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kumimoji="1" lang="en-US" sz="1598" kern="1200">
          <a:solidFill>
            <a:schemeClr val="tx2"/>
          </a:solidFill>
          <a:latin typeface="+mn-lt"/>
          <a:ea typeface="+mn-ea"/>
          <a:cs typeface="+mn-cs"/>
          <a:sym typeface="CorpoS" pitchFamily="2" charset="0"/>
        </a:defRPr>
      </a:lvl4pPr>
      <a:lvl5pPr marL="0" indent="0" algn="l" defTabSz="913486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kumimoji="1" lang="en-US" sz="1598" b="1" kern="1200" smtClean="0">
          <a:solidFill>
            <a:schemeClr val="tx1"/>
          </a:solidFill>
          <a:latin typeface="+mn-lt"/>
          <a:ea typeface="+mn-ea"/>
          <a:cs typeface="+mn-cs"/>
          <a:sym typeface="CorpoS" pitchFamily="2" charset="0"/>
        </a:defRPr>
      </a:lvl5pPr>
      <a:lvl6pPr marL="269605" indent="-152248" algn="l" defTabSz="913486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kumimoji="1" lang="en-US" sz="1598" kern="1200" smtClean="0">
          <a:solidFill>
            <a:schemeClr val="tx1"/>
          </a:solidFill>
          <a:latin typeface="+mn-lt"/>
          <a:ea typeface="+mn-ea"/>
          <a:cs typeface="+mn-cs"/>
          <a:sym typeface="CorpoS" pitchFamily="2" charset="0"/>
        </a:defRPr>
      </a:lvl6pPr>
      <a:lvl7pPr marL="0" indent="0" algn="l" defTabSz="913486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kumimoji="1" lang="en-US" sz="4396" kern="1200" baseline="0" smtClean="0">
          <a:solidFill>
            <a:schemeClr val="tx1"/>
          </a:solidFill>
          <a:latin typeface="+mn-lt"/>
          <a:ea typeface="+mn-ea"/>
          <a:cs typeface="+mn-cs"/>
          <a:sym typeface="CorpoS" pitchFamily="2" charset="0"/>
        </a:defRPr>
      </a:lvl7pPr>
      <a:lvl8pPr marL="0" indent="0" algn="l" defTabSz="913486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kumimoji="1" lang="en-US" sz="5394" kern="1200" baseline="0" smtClean="0">
          <a:solidFill>
            <a:schemeClr val="tx2"/>
          </a:solidFill>
          <a:latin typeface="+mn-lt"/>
          <a:ea typeface="+mn-ea"/>
          <a:cs typeface="+mn-cs"/>
          <a:sym typeface="CorpoS" pitchFamily="2" charset="0"/>
        </a:defRPr>
      </a:lvl8pPr>
      <a:lvl9pPr marL="0" indent="0" algn="l" defTabSz="913486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kumimoji="1" lang="en-US" sz="2398" kern="1200" baseline="0" dirty="0">
          <a:solidFill>
            <a:schemeClr val="tx2"/>
          </a:solidFill>
          <a:latin typeface="+mn-lt"/>
          <a:ea typeface="+mn-ea"/>
          <a:cs typeface="+mn-cs"/>
          <a:sym typeface="CorpoS" pitchFamily="2" charset="0"/>
        </a:defRPr>
      </a:lvl9pPr>
    </p:bodyStyle>
    <p:otherStyle>
      <a:defPPr>
        <a:defRPr lang="en-US"/>
      </a:defPPr>
      <a:lvl1pPr marL="0" algn="l" defTabSz="913486" rtl="0" eaLnBrk="1" latinLnBrk="0" hangingPunct="1">
        <a:defRPr kumimoji="1" sz="1798" kern="1200">
          <a:solidFill>
            <a:schemeClr val="tx1"/>
          </a:solidFill>
          <a:latin typeface="+mn-lt"/>
          <a:ea typeface="+mn-ea"/>
          <a:cs typeface="+mn-cs"/>
        </a:defRPr>
      </a:lvl1pPr>
      <a:lvl2pPr marL="456743" algn="l" defTabSz="913486" rtl="0" eaLnBrk="1" latinLnBrk="0" hangingPunct="1">
        <a:defRPr kumimoji="1" sz="1798" kern="1200">
          <a:solidFill>
            <a:schemeClr val="tx1"/>
          </a:solidFill>
          <a:latin typeface="+mn-lt"/>
          <a:ea typeface="+mn-ea"/>
          <a:cs typeface="+mn-cs"/>
        </a:defRPr>
      </a:lvl2pPr>
      <a:lvl3pPr marL="913486" algn="l" defTabSz="913486" rtl="0" eaLnBrk="1" latinLnBrk="0" hangingPunct="1">
        <a:defRPr kumimoji="1" sz="1798" kern="1200">
          <a:solidFill>
            <a:schemeClr val="tx1"/>
          </a:solidFill>
          <a:latin typeface="+mn-lt"/>
          <a:ea typeface="+mn-ea"/>
          <a:cs typeface="+mn-cs"/>
        </a:defRPr>
      </a:lvl3pPr>
      <a:lvl4pPr marL="1370229" algn="l" defTabSz="913486" rtl="0" eaLnBrk="1" latinLnBrk="0" hangingPunct="1">
        <a:defRPr kumimoji="1" sz="1798" kern="1200">
          <a:solidFill>
            <a:schemeClr val="tx1"/>
          </a:solidFill>
          <a:latin typeface="+mn-lt"/>
          <a:ea typeface="+mn-ea"/>
          <a:cs typeface="+mn-cs"/>
        </a:defRPr>
      </a:lvl4pPr>
      <a:lvl5pPr marL="1826972" algn="l" defTabSz="913486" rtl="0" eaLnBrk="1" latinLnBrk="0" hangingPunct="1">
        <a:defRPr kumimoji="1" sz="1798" kern="1200">
          <a:solidFill>
            <a:schemeClr val="tx1"/>
          </a:solidFill>
          <a:latin typeface="+mn-lt"/>
          <a:ea typeface="+mn-ea"/>
          <a:cs typeface="+mn-cs"/>
        </a:defRPr>
      </a:lvl5pPr>
      <a:lvl6pPr marL="2283715" algn="l" defTabSz="913486" rtl="0" eaLnBrk="1" latinLnBrk="0" hangingPunct="1">
        <a:defRPr kumimoji="1" sz="1798" kern="1200">
          <a:solidFill>
            <a:schemeClr val="tx1"/>
          </a:solidFill>
          <a:latin typeface="+mn-lt"/>
          <a:ea typeface="+mn-ea"/>
          <a:cs typeface="+mn-cs"/>
        </a:defRPr>
      </a:lvl6pPr>
      <a:lvl7pPr marL="2740457" algn="l" defTabSz="913486" rtl="0" eaLnBrk="1" latinLnBrk="0" hangingPunct="1">
        <a:defRPr kumimoji="1" sz="1798" kern="1200">
          <a:solidFill>
            <a:schemeClr val="tx1"/>
          </a:solidFill>
          <a:latin typeface="+mn-lt"/>
          <a:ea typeface="+mn-ea"/>
          <a:cs typeface="+mn-cs"/>
        </a:defRPr>
      </a:lvl7pPr>
      <a:lvl8pPr marL="3197201" algn="l" defTabSz="913486" rtl="0" eaLnBrk="1" latinLnBrk="0" hangingPunct="1">
        <a:defRPr kumimoji="1" sz="1798" kern="1200">
          <a:solidFill>
            <a:schemeClr val="tx1"/>
          </a:solidFill>
          <a:latin typeface="+mn-lt"/>
          <a:ea typeface="+mn-ea"/>
          <a:cs typeface="+mn-cs"/>
        </a:defRPr>
      </a:lvl8pPr>
      <a:lvl9pPr marL="3653943" algn="l" defTabSz="913486" rtl="0" eaLnBrk="1" latinLnBrk="0" hangingPunct="1">
        <a:defRPr kumimoji="1" sz="17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92">
          <p15:clr>
            <a:srgbClr val="F26B43"/>
          </p15:clr>
        </p15:guide>
        <p15:guide id="4" orient="horz" pos="3883">
          <p15:clr>
            <a:srgbClr val="F26B43"/>
          </p15:clr>
        </p15:guide>
      </p15:sldGuideLst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7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351" name="think-cell スライド" r:id="rId79" imgW="270" imgH="270" progId="TCLayout.ActiveDocument.1">
                  <p:embed/>
                </p:oleObj>
              </mc:Choice>
              <mc:Fallback>
                <p:oleObj name="think-cell スライド" r:id="rId79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0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正方形/長方形 2" hidden="1"/>
          <p:cNvSpPr/>
          <p:nvPr userDrawn="1">
            <p:custDataLst>
              <p:tags r:id="rId7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kumimoji="1" lang="en-US" altLang="ja-JP" sz="2398" b="0" i="0" baseline="0" dirty="0" err="1" smtClean="0">
              <a:solidFill>
                <a:schemeClr val="bg1"/>
              </a:solidFill>
              <a:latin typeface="CorpoS" pitchFamily="2" charset="0"/>
              <a:ea typeface="+mj-ea"/>
              <a:cs typeface="+mj-cs"/>
              <a:sym typeface="CorpoS" pitchFamily="2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2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000000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000000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61107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7" r:id="rId1"/>
    <p:sldLayoutId id="2147484018" r:id="rId2"/>
    <p:sldLayoutId id="2147484019" r:id="rId3"/>
    <p:sldLayoutId id="2147484020" r:id="rId4"/>
    <p:sldLayoutId id="2147484021" r:id="rId5"/>
    <p:sldLayoutId id="2147484022" r:id="rId6"/>
    <p:sldLayoutId id="2147484023" r:id="rId7"/>
    <p:sldLayoutId id="2147484024" r:id="rId8"/>
    <p:sldLayoutId id="2147484025" r:id="rId9"/>
    <p:sldLayoutId id="2147484026" r:id="rId10"/>
    <p:sldLayoutId id="2147484027" r:id="rId11"/>
    <p:sldLayoutId id="2147484028" r:id="rId12"/>
    <p:sldLayoutId id="2147484029" r:id="rId13"/>
    <p:sldLayoutId id="2147484030" r:id="rId14"/>
    <p:sldLayoutId id="2147484031" r:id="rId15"/>
    <p:sldLayoutId id="2147484032" r:id="rId16"/>
    <p:sldLayoutId id="2147484033" r:id="rId17"/>
    <p:sldLayoutId id="2147484034" r:id="rId18"/>
    <p:sldLayoutId id="2147484035" r:id="rId19"/>
    <p:sldLayoutId id="2147484036" r:id="rId20"/>
    <p:sldLayoutId id="2147484037" r:id="rId21"/>
    <p:sldLayoutId id="2147484038" r:id="rId22"/>
    <p:sldLayoutId id="2147484039" r:id="rId23"/>
    <p:sldLayoutId id="2147484040" r:id="rId24"/>
    <p:sldLayoutId id="2147484041" r:id="rId25"/>
    <p:sldLayoutId id="2147484042" r:id="rId26"/>
    <p:sldLayoutId id="2147484043" r:id="rId27"/>
    <p:sldLayoutId id="2147484044" r:id="rId28"/>
    <p:sldLayoutId id="2147484045" r:id="rId29"/>
    <p:sldLayoutId id="2147484046" r:id="rId30"/>
    <p:sldLayoutId id="2147484047" r:id="rId31"/>
    <p:sldLayoutId id="2147484048" r:id="rId32"/>
    <p:sldLayoutId id="2147484049" r:id="rId33"/>
    <p:sldLayoutId id="2147484050" r:id="rId34"/>
    <p:sldLayoutId id="2147484051" r:id="rId35"/>
    <p:sldLayoutId id="2147484052" r:id="rId36"/>
    <p:sldLayoutId id="2147484053" r:id="rId37"/>
    <p:sldLayoutId id="2147484054" r:id="rId38"/>
    <p:sldLayoutId id="2147484055" r:id="rId39"/>
    <p:sldLayoutId id="2147484056" r:id="rId40"/>
    <p:sldLayoutId id="2147484057" r:id="rId41"/>
    <p:sldLayoutId id="2147484058" r:id="rId42"/>
    <p:sldLayoutId id="2147484059" r:id="rId43"/>
    <p:sldLayoutId id="2147484060" r:id="rId44"/>
    <p:sldLayoutId id="2147484061" r:id="rId45"/>
    <p:sldLayoutId id="2147484062" r:id="rId46"/>
    <p:sldLayoutId id="2147484063" r:id="rId47"/>
    <p:sldLayoutId id="2147484064" r:id="rId48"/>
    <p:sldLayoutId id="2147484065" r:id="rId49"/>
    <p:sldLayoutId id="2147484066" r:id="rId50"/>
    <p:sldLayoutId id="2147484067" r:id="rId51"/>
    <p:sldLayoutId id="2147484068" r:id="rId52"/>
    <p:sldLayoutId id="2147484069" r:id="rId53"/>
    <p:sldLayoutId id="2147484070" r:id="rId54"/>
    <p:sldLayoutId id="2147484071" r:id="rId55"/>
    <p:sldLayoutId id="2147484072" r:id="rId56"/>
    <p:sldLayoutId id="2147484073" r:id="rId57"/>
    <p:sldLayoutId id="2147484074" r:id="rId58"/>
    <p:sldLayoutId id="2147484075" r:id="rId59"/>
    <p:sldLayoutId id="2147484076" r:id="rId60"/>
    <p:sldLayoutId id="2147484077" r:id="rId61"/>
    <p:sldLayoutId id="2147484078" r:id="rId62"/>
    <p:sldLayoutId id="2147484079" r:id="rId63"/>
    <p:sldLayoutId id="2147484080" r:id="rId64"/>
    <p:sldLayoutId id="2147484081" r:id="rId65"/>
    <p:sldLayoutId id="2147484082" r:id="rId66"/>
    <p:sldLayoutId id="2147484083" r:id="rId67"/>
    <p:sldLayoutId id="2147484084" r:id="rId68"/>
    <p:sldLayoutId id="2147484085" r:id="rId69"/>
    <p:sldLayoutId id="2147484086" r:id="rId70"/>
    <p:sldLayoutId id="2147484087" r:id="rId71"/>
    <p:sldLayoutId id="2147484088" r:id="rId72"/>
    <p:sldLayoutId id="2147484089" r:id="rId73"/>
    <p:sldLayoutId id="2147484090" r:id="rId74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  <p:txStyles>
    <p:titleStyle>
      <a:lvl1pPr algn="l" defTabSz="913486" rtl="0" eaLnBrk="1" latinLnBrk="0" hangingPunct="1">
        <a:lnSpc>
          <a:spcPct val="90000"/>
        </a:lnSpc>
        <a:spcBef>
          <a:spcPct val="0"/>
        </a:spcBef>
        <a:buNone/>
        <a:defRPr sz="2398" kern="1200">
          <a:solidFill>
            <a:schemeClr val="tx2"/>
          </a:solidFill>
          <a:latin typeface="+mj-lt"/>
          <a:ea typeface="+mj-ea"/>
          <a:cs typeface="+mj-cs"/>
          <a:sym typeface="CorpoS" pitchFamily="2" charset="0"/>
        </a:defRPr>
      </a:lvl1pPr>
    </p:titleStyle>
    <p:bodyStyle>
      <a:lvl1pPr marL="0" indent="0" algn="l" defTabSz="913486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198" kern="1200">
          <a:solidFill>
            <a:schemeClr val="tx1"/>
          </a:solidFill>
          <a:latin typeface="+mn-lt"/>
          <a:ea typeface="+mn-ea"/>
          <a:cs typeface="+mn-cs"/>
          <a:sym typeface="CorpoS" pitchFamily="2" charset="0"/>
        </a:defRPr>
      </a:lvl1pPr>
      <a:lvl2pPr marL="284116" indent="-172628" algn="l" defTabSz="913486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198" kern="1200">
          <a:solidFill>
            <a:schemeClr val="tx1"/>
          </a:solidFill>
          <a:latin typeface="+mn-lt"/>
          <a:ea typeface="+mn-ea"/>
          <a:cs typeface="+mn-cs"/>
          <a:sym typeface="CorpoS" pitchFamily="2" charset="0"/>
        </a:defRPr>
      </a:lvl2pPr>
      <a:lvl3pPr marL="510689" indent="-165434" algn="l" defTabSz="913486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198" kern="1200">
          <a:solidFill>
            <a:schemeClr val="tx1"/>
          </a:solidFill>
          <a:latin typeface="+mn-lt"/>
          <a:ea typeface="+mn-ea"/>
          <a:cs typeface="+mn-cs"/>
          <a:sym typeface="CorpoS" pitchFamily="2" charset="0"/>
        </a:defRPr>
      </a:lvl3pPr>
      <a:lvl4pPr marL="0" indent="0" algn="l" defTabSz="913486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598" kern="1200">
          <a:solidFill>
            <a:schemeClr val="tx2"/>
          </a:solidFill>
          <a:latin typeface="+mn-lt"/>
          <a:ea typeface="+mn-ea"/>
          <a:cs typeface="+mn-cs"/>
          <a:sym typeface="CorpoS" pitchFamily="2" charset="0"/>
        </a:defRPr>
      </a:lvl4pPr>
      <a:lvl5pPr marL="0" indent="0" algn="l" defTabSz="913486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598" b="1" kern="1200" smtClean="0">
          <a:solidFill>
            <a:schemeClr val="tx1"/>
          </a:solidFill>
          <a:latin typeface="+mn-lt"/>
          <a:ea typeface="+mn-ea"/>
          <a:cs typeface="+mn-cs"/>
          <a:sym typeface="CorpoS" pitchFamily="2" charset="0"/>
        </a:defRPr>
      </a:lvl5pPr>
      <a:lvl6pPr marL="269605" indent="-152248" algn="l" defTabSz="913486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598" kern="1200" smtClean="0">
          <a:solidFill>
            <a:schemeClr val="tx1"/>
          </a:solidFill>
          <a:latin typeface="+mn-lt"/>
          <a:ea typeface="+mn-ea"/>
          <a:cs typeface="+mn-cs"/>
          <a:sym typeface="CorpoS" pitchFamily="2" charset="0"/>
        </a:defRPr>
      </a:lvl6pPr>
      <a:lvl7pPr marL="0" indent="0" algn="l" defTabSz="913486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396" kern="1200" baseline="0" smtClean="0">
          <a:solidFill>
            <a:schemeClr val="tx1"/>
          </a:solidFill>
          <a:latin typeface="+mn-lt"/>
          <a:ea typeface="+mn-ea"/>
          <a:cs typeface="+mn-cs"/>
          <a:sym typeface="CorpoS" pitchFamily="2" charset="0"/>
        </a:defRPr>
      </a:lvl7pPr>
      <a:lvl8pPr marL="0" indent="0" algn="l" defTabSz="913486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394" kern="1200" baseline="0" smtClean="0">
          <a:solidFill>
            <a:schemeClr val="tx2"/>
          </a:solidFill>
          <a:latin typeface="+mn-lt"/>
          <a:ea typeface="+mn-ea"/>
          <a:cs typeface="+mn-cs"/>
          <a:sym typeface="CorpoS" pitchFamily="2" charset="0"/>
        </a:defRPr>
      </a:lvl8pPr>
      <a:lvl9pPr marL="0" indent="0" algn="l" defTabSz="913486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398" kern="1200" baseline="0" dirty="0">
          <a:solidFill>
            <a:schemeClr val="tx2"/>
          </a:solidFill>
          <a:latin typeface="+mn-lt"/>
          <a:ea typeface="+mn-ea"/>
          <a:cs typeface="+mn-cs"/>
          <a:sym typeface="CorpoS" pitchFamily="2" charset="0"/>
        </a:defRPr>
      </a:lvl9pPr>
    </p:bodyStyle>
    <p:otherStyle>
      <a:defPPr>
        <a:defRPr lang="en-US"/>
      </a:defPPr>
      <a:lvl1pPr marL="0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1pPr>
      <a:lvl2pPr marL="456743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2pPr>
      <a:lvl3pPr marL="913486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3pPr>
      <a:lvl4pPr marL="1370229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4pPr>
      <a:lvl5pPr marL="1826972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5pPr>
      <a:lvl6pPr marL="2283715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6pPr>
      <a:lvl7pPr marL="2740457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7pPr>
      <a:lvl8pPr marL="3197201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8pPr>
      <a:lvl9pPr marL="3653943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92">
          <p15:clr>
            <a:srgbClr val="F26B43"/>
          </p15:clr>
        </p15:guide>
        <p15:guide id="4" orient="horz" pos="3883">
          <p15:clr>
            <a:srgbClr val="F26B43"/>
          </p15:clr>
        </p15:guide>
      </p15:sldGuideLst>
    </p:ext>
  </p:extLst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1"/>
            </p:custDataLst>
            <p:extLst/>
          </p:nvPr>
        </p:nvGraphicFramePr>
        <p:xfrm>
          <a:off x="1588" y="1588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766" name="think-cell スライド" r:id="rId14" imgW="270" imgH="270" progId="TCLayout.ActiveDocument.1">
                  <p:embed/>
                </p:oleObj>
              </mc:Choice>
              <mc:Fallback>
                <p:oleObj name="think-cell スライド" r:id="rId1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1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9E9E9E"/>
          </a:solidFill>
          <a:ln>
            <a:solidFill>
              <a:srgbClr val="9E9E9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endParaRPr lang="en-US" sz="3498" b="0" i="0" baseline="0" dirty="0" err="1" smtClean="0">
              <a:latin typeface="CorpoS" pitchFamily="2" charset="0"/>
              <a:ea typeface="+mj-ea"/>
              <a:cs typeface="+mj-cs"/>
              <a:sym typeface="CorpoS" pitchFamily="2" charset="0"/>
            </a:endParaRPr>
          </a:p>
        </p:txBody>
      </p:sp>
      <p:sp>
        <p:nvSpPr>
          <p:cNvPr id="18" name="Daimler AG (Wortmarke)"/>
          <p:cNvSpPr>
            <a:spLocks noChangeArrowheads="1"/>
          </p:cNvSpPr>
          <p:nvPr/>
        </p:nvSpPr>
        <p:spPr bwMode="auto">
          <a:xfrm>
            <a:off x="629672" y="6564880"/>
            <a:ext cx="2086913" cy="2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r>
              <a:rPr lang="en-US" sz="1199" dirty="0" smtClean="0">
                <a:latin typeface="+mn-lt"/>
                <a:cs typeface="Daimler CS"/>
              </a:rPr>
              <a:t>Daimler AG</a:t>
            </a:r>
            <a:endParaRPr lang="en-US" sz="1199" dirty="0">
              <a:latin typeface="+mn-lt"/>
              <a:cs typeface="Daimler CS"/>
            </a:endParaRPr>
          </a:p>
        </p:txBody>
      </p:sp>
      <p:cxnSp>
        <p:nvCxnSpPr>
          <p:cNvPr id="14" name="Footerline"/>
          <p:cNvCxnSpPr/>
          <p:nvPr/>
        </p:nvCxnSpPr>
        <p:spPr bwMode="auto">
          <a:xfrm>
            <a:off x="629671" y="6487838"/>
            <a:ext cx="10931107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30117" y="1504603"/>
            <a:ext cx="10930387" cy="487567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 24 pt. (Mark-ups in Bold)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dirty="0" smtClean="0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28324" y="285982"/>
            <a:ext cx="10932454" cy="11517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 smtClean="0"/>
              <a:t>Headline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 35 pt.</a:t>
            </a:r>
            <a:br>
              <a:rPr lang="en-US" noProof="0" dirty="0" smtClean="0"/>
            </a:br>
            <a:r>
              <a:rPr lang="en-US" noProof="0" dirty="0" smtClean="0"/>
              <a:t>in two lines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11056718" y="6564880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10" name="Picture 3" descr="C:\Users\rajarrv\AppData\Local\Microsoft\Windows\Temporary Internet Files\Content.Outlook\3CY2KM7L\B-No Background FORCE LOGO.png"/>
          <p:cNvPicPr>
            <a:picLocks noChangeAspect="1" noChangeArrowheads="1"/>
          </p:cNvPicPr>
          <p:nvPr/>
        </p:nvPicPr>
        <p:blipFill rotWithShape="1"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739834" y="0"/>
            <a:ext cx="1452166" cy="4148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 hidden="1"/>
          <p:cNvSpPr/>
          <p:nvPr userDrawn="1">
            <p:custDataLst>
              <p:tags r:id="rId1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9E9E9E"/>
          </a:solidFill>
          <a:ln>
            <a:solidFill>
              <a:srgbClr val="9E9E9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endParaRPr lang="en-US" sz="3498" b="0" i="0" baseline="0" dirty="0" err="1" smtClean="0">
              <a:latin typeface="CorpoS" pitchFamily="2" charset="0"/>
              <a:ea typeface="+mj-ea"/>
              <a:cs typeface="+mj-cs"/>
              <a:sym typeface="CorpoS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1085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3" r:id="rId1"/>
    <p:sldLayoutId id="2147484094" r:id="rId2"/>
    <p:sldLayoutId id="2147484095" r:id="rId3"/>
    <p:sldLayoutId id="2147484096" r:id="rId4"/>
    <p:sldLayoutId id="2147484097" r:id="rId5"/>
    <p:sldLayoutId id="2147484098" r:id="rId6"/>
    <p:sldLayoutId id="2147484099" r:id="rId7"/>
    <p:sldLayoutId id="2147484100" r:id="rId8"/>
  </p:sldLayoutIdLst>
  <p:timing>
    <p:tnLst>
      <p:par>
        <p:cTn id="1" dur="indefinite" restart="never" nodeType="tmRoot"/>
      </p:par>
    </p:tnLst>
  </p:timing>
  <p:txStyles>
    <p:titleStyle>
      <a:lvl1pPr marL="0" indent="0" algn="l" defTabSz="1088415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3498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088415" rtl="0" eaLnBrk="1" latinLnBrk="0" hangingPunct="1">
        <a:lnSpc>
          <a:spcPct val="100000"/>
        </a:lnSpc>
        <a:spcBef>
          <a:spcPts val="300"/>
        </a:spcBef>
        <a:buSzPct val="80000"/>
        <a:buFontTx/>
        <a:buNone/>
        <a:defRPr sz="2399" kern="1200">
          <a:solidFill>
            <a:schemeClr val="tx1"/>
          </a:solidFill>
          <a:latin typeface="+mn-lt"/>
          <a:ea typeface="+mn-ea"/>
          <a:cs typeface="+mn-cs"/>
        </a:defRPr>
      </a:lvl1pPr>
      <a:lvl2pPr marL="251874" indent="-251874" algn="l" defTabSz="1088415" rtl="0" eaLnBrk="1" latinLnBrk="0" hangingPunct="1">
        <a:lnSpc>
          <a:spcPct val="100000"/>
        </a:lnSpc>
        <a:spcBef>
          <a:spcPts val="300"/>
        </a:spcBef>
        <a:buFont typeface="Arial" panose="020B0604020202020204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575712" indent="-251874" algn="l" defTabSz="1088415" rtl="0" eaLnBrk="1" latinLnBrk="0" hangingPunct="1">
        <a:lnSpc>
          <a:spcPct val="100000"/>
        </a:lnSpc>
        <a:spcBef>
          <a:spcPts val="300"/>
        </a:spcBef>
        <a:buClr>
          <a:schemeClr val="tx1"/>
        </a:buClr>
        <a:buFont typeface="Symbol" panose="05050102010706020507" pitchFamily="18" charset="2"/>
        <a:buChar char="-"/>
        <a:defRPr sz="2399" kern="1200">
          <a:solidFill>
            <a:schemeClr val="tx1"/>
          </a:solidFill>
          <a:latin typeface="+mn-lt"/>
          <a:ea typeface="+mn-ea"/>
          <a:cs typeface="+mn-cs"/>
        </a:defRPr>
      </a:lvl3pPr>
      <a:lvl4pPr marL="899550" indent="-251874" algn="l" defTabSz="1088415" rtl="0" eaLnBrk="1" latinLnBrk="0" hangingPunct="1">
        <a:lnSpc>
          <a:spcPct val="100000"/>
        </a:lnSpc>
        <a:spcBef>
          <a:spcPts val="300"/>
        </a:spcBef>
        <a:buFont typeface="Symbol" panose="05050102010706020507" pitchFamily="18" charset="2"/>
        <a:buChar char="-"/>
        <a:defRPr sz="2399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223388" indent="-251874" algn="l" defTabSz="1088415" rtl="0" eaLnBrk="1" latinLnBrk="0" hangingPunct="1">
        <a:lnSpc>
          <a:spcPct val="100000"/>
        </a:lnSpc>
        <a:spcBef>
          <a:spcPts val="300"/>
        </a:spcBef>
        <a:buFont typeface="Symbol" panose="05050102010706020507" pitchFamily="18" charset="2"/>
        <a:buChar char="-"/>
        <a:defRPr sz="2399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1007496" indent="-251874" algn="l" defTabSz="1088415" rtl="0" eaLnBrk="1" latinLnBrk="0" hangingPunct="1">
        <a:lnSpc>
          <a:spcPts val="3198"/>
        </a:lnSpc>
        <a:spcBef>
          <a:spcPts val="0"/>
        </a:spcBef>
        <a:buFont typeface="Symbol" panose="05050102010706020507" pitchFamily="18" charset="2"/>
        <a:buChar char="-"/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sz="2399" kern="1200">
          <a:solidFill>
            <a:schemeClr val="accent2"/>
          </a:solidFill>
          <a:latin typeface="+mn-lt"/>
          <a:ea typeface="+mn-ea"/>
          <a:cs typeface="+mn-cs"/>
        </a:defRPr>
      </a:lvl7pPr>
      <a:lvl8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sz="2399" kern="1200">
          <a:solidFill>
            <a:schemeClr val="accent2"/>
          </a:solidFill>
          <a:latin typeface="+mn-lt"/>
          <a:ea typeface="+mn-ea"/>
          <a:cs typeface="+mn-cs"/>
        </a:defRPr>
      </a:lvl8pPr>
      <a:lvl9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sz="2399" kern="1200">
          <a:solidFill>
            <a:schemeClr val="accent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1pPr>
      <a:lvl2pPr marL="544207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2pPr>
      <a:lvl3pPr marL="1088415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3pPr>
      <a:lvl4pPr marL="1632621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4pPr>
      <a:lvl5pPr marL="2176829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5pPr>
      <a:lvl6pPr marL="2721036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6pPr>
      <a:lvl7pPr marL="3265244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7pPr>
      <a:lvl8pPr marL="3809450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8pPr>
      <a:lvl9pPr marL="4353658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37"/>
            </p:custDataLst>
            <p:extLst/>
          </p:nvPr>
        </p:nvGraphicFramePr>
        <p:xfrm>
          <a:off x="1588" y="1588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2062" name="think-cell スライド" r:id="rId38" imgW="270" imgH="270" progId="TCLayout.ActiveDocument.1">
                  <p:embed/>
                </p:oleObj>
              </mc:Choice>
              <mc:Fallback>
                <p:oleObj name="think-cell スライド" r:id="rId38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7" name="Regieanweisungen"/>
          <p:cNvGrpSpPr/>
          <p:nvPr/>
        </p:nvGrpSpPr>
        <p:grpSpPr>
          <a:xfrm>
            <a:off x="-2086913" y="-467892"/>
            <a:ext cx="13647691" cy="7792196"/>
            <a:chOff x="-2088000" y="-468000"/>
            <a:chExt cx="13654799" cy="7794000"/>
          </a:xfrm>
        </p:grpSpPr>
        <p:sp>
          <p:nvSpPr>
            <p:cNvPr id="31" name="Hilfslinien"/>
            <p:cNvSpPr txBox="1"/>
            <p:nvPr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1042388">
                <a:defRPr/>
              </a:pPr>
              <a:r>
                <a:rPr lang="en-GB" sz="1099" dirty="0">
                  <a:solidFill>
                    <a:srgbClr val="444444"/>
                  </a:solidFill>
                </a:rPr>
                <a:t>Show guides via menu bar: View // Show // tick Guides</a:t>
              </a:r>
            </a:p>
          </p:txBody>
        </p:sp>
        <p:sp>
          <p:nvSpPr>
            <p:cNvPr id="28" name="Fußzeile"/>
            <p:cNvSpPr txBox="1"/>
            <p:nvPr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 defTabSz="1042388">
                <a:defRPr/>
              </a:pPr>
              <a:r>
                <a:rPr lang="en-GB" sz="1099" dirty="0">
                  <a:solidFill>
                    <a:srgbClr val="444444"/>
                  </a:solidFill>
                </a:rPr>
                <a:t>Adjust footer (per slide or for several/all slides) via menu bar: Insert // Text // Header &amp; Footer</a:t>
              </a:r>
            </a:p>
          </p:txBody>
        </p:sp>
        <p:grpSp>
          <p:nvGrpSpPr>
            <p:cNvPr id="36" name="Hinweise links"/>
            <p:cNvGrpSpPr/>
            <p:nvPr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13" name="Folie Wechsel/Zurücksetzen/Textebenen"/>
              <p:cNvSpPr txBox="1"/>
              <p:nvPr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Reset the slide back to its </a:t>
                </a: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original form via menu bar:</a:t>
                </a: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Home // Slides // Reset</a:t>
                </a:r>
              </a:p>
              <a:p>
                <a:pPr algn="r"/>
                <a:endParaRPr lang="en-GB" sz="1099" dirty="0">
                  <a:solidFill>
                    <a:srgbClr val="444444"/>
                  </a:solidFill>
                </a:endParaRP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Change the slide layout </a:t>
                </a: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via menu bar:</a:t>
                </a: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Home // Slides // Layout</a:t>
                </a:r>
              </a:p>
              <a:p>
                <a:pPr algn="r"/>
                <a:endParaRPr lang="en-GB" sz="1099" dirty="0">
                  <a:solidFill>
                    <a:srgbClr val="444444"/>
                  </a:solidFill>
                </a:endParaRP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Change the text level</a:t>
                </a: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via menu bar: </a:t>
                </a:r>
                <a:br>
                  <a:rPr lang="en-GB" sz="1099" dirty="0">
                    <a:solidFill>
                      <a:srgbClr val="444444"/>
                    </a:solidFill>
                  </a:rPr>
                </a:br>
                <a:r>
                  <a:rPr lang="en-GB" sz="1099" dirty="0">
                    <a:solidFill>
                      <a:srgbClr val="444444"/>
                    </a:solidFill>
                  </a:rPr>
                  <a:t>Home // Paragraph // Increase/</a:t>
                </a:r>
              </a:p>
              <a:p>
                <a:pPr algn="r"/>
                <a:r>
                  <a:rPr lang="en-GB" sz="1099" dirty="0">
                    <a:solidFill>
                      <a:srgbClr val="444444"/>
                    </a:solidFill>
                  </a:rPr>
                  <a:t>Decrease List Level</a:t>
                </a:r>
              </a:p>
            </p:txBody>
          </p:sp>
          <p:grpSp>
            <p:nvGrpSpPr>
              <p:cNvPr id="35" name="Listenebenen"/>
              <p:cNvGrpSpPr/>
              <p:nvPr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22" name="Text // Listenebene erhöhen"/>
                <p:cNvSpPr txBox="1"/>
                <p:nvPr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r">
                    <a:defRPr/>
                  </a:pPr>
                  <a:r>
                    <a:rPr lang="en-GB" sz="999" dirty="0">
                      <a:solidFill>
                        <a:srgbClr val="444444"/>
                      </a:solidFill>
                    </a:rPr>
                    <a:t>Increase</a:t>
                  </a:r>
                </a:p>
                <a:p>
                  <a:pPr algn="r">
                    <a:defRPr/>
                  </a:pPr>
                  <a:r>
                    <a:rPr lang="en-GB" sz="999" dirty="0">
                      <a:solidFill>
                        <a:srgbClr val="444444"/>
                      </a:solidFill>
                    </a:rPr>
                    <a:t>List Level</a:t>
                  </a:r>
                </a:p>
              </p:txBody>
            </p:sp>
            <p:sp>
              <p:nvSpPr>
                <p:cNvPr id="23" name="Text // Listenebene verringern"/>
                <p:cNvSpPr txBox="1"/>
                <p:nvPr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r">
                    <a:defRPr/>
                  </a:pPr>
                  <a:r>
                    <a:rPr lang="en-GB" sz="999" dirty="0">
                      <a:solidFill>
                        <a:srgbClr val="444444"/>
                      </a:solidFill>
                    </a:rPr>
                    <a:t>Decrease </a:t>
                  </a:r>
                </a:p>
                <a:p>
                  <a:pPr algn="r">
                    <a:defRPr/>
                  </a:pPr>
                  <a:r>
                    <a:rPr lang="en-GB" sz="999" dirty="0">
                      <a:solidFill>
                        <a:srgbClr val="444444"/>
                      </a:solidFill>
                    </a:rPr>
                    <a:t>List Level</a:t>
                  </a:r>
                </a:p>
              </p:txBody>
            </p:sp>
            <p:pic>
              <p:nvPicPr>
                <p:cNvPr id="7" name="Listenebene erhöhen"/>
                <p:cNvPicPr>
                  <a:picLocks noChangeAspect="1"/>
                </p:cNvPicPr>
                <p:nvPr/>
              </p:nvPicPr>
              <p:blipFill>
                <a:blip r:embed="rId40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34" name="Listenebene verringern"/>
                <p:cNvPicPr>
                  <a:picLocks noChangeAspect="1"/>
                </p:cNvPicPr>
                <p:nvPr/>
              </p:nvPicPr>
              <p:blipFill>
                <a:blip r:embed="rId41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18" name="Daimler AG (Wortmarke)"/>
          <p:cNvSpPr>
            <a:spLocks noChangeArrowheads="1"/>
          </p:cNvSpPr>
          <p:nvPr/>
        </p:nvSpPr>
        <p:spPr bwMode="auto">
          <a:xfrm>
            <a:off x="629672" y="6564880"/>
            <a:ext cx="2086913" cy="2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r>
              <a:rPr lang="en-GB" sz="1199" dirty="0">
                <a:solidFill>
                  <a:prstClr val="black"/>
                </a:solidFill>
                <a:latin typeface="CorpoS"/>
                <a:cs typeface="Daimler CS"/>
              </a:rPr>
              <a:t>Daimler AG</a:t>
            </a:r>
          </a:p>
        </p:txBody>
      </p:sp>
      <p:cxnSp>
        <p:nvCxnSpPr>
          <p:cNvPr id="14" name="Footerline"/>
          <p:cNvCxnSpPr/>
          <p:nvPr/>
        </p:nvCxnSpPr>
        <p:spPr bwMode="auto">
          <a:xfrm>
            <a:off x="629671" y="6487838"/>
            <a:ext cx="10931107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30117" y="1504603"/>
            <a:ext cx="10930387" cy="487567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GB" dirty="0"/>
              <a:t>Insert text in </a:t>
            </a:r>
            <a:r>
              <a:rPr lang="en-GB" noProof="0" dirty="0"/>
              <a:t>CorpoS (Body) 24 pt. (Mark-ups in Bold) </a:t>
            </a:r>
            <a:r>
              <a:rPr lang="en-GB" dirty="0"/>
              <a:t>// for conclusion</a:t>
            </a:r>
            <a:r>
              <a:rPr lang="en-GB" noProof="0" dirty="0"/>
              <a:t>, summary or short highlight</a:t>
            </a:r>
            <a:r>
              <a:rPr lang="en-GB" dirty="0"/>
              <a:t>: Home // Paragraph// Increase List Level</a:t>
            </a:r>
          </a:p>
          <a:p>
            <a:pPr lvl="1"/>
            <a:r>
              <a:rPr lang="en-GB" dirty="0"/>
              <a:t>Second level (Conclusion, summary or short highlight)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s level</a:t>
            </a:r>
          </a:p>
          <a:p>
            <a:pPr lvl="7"/>
            <a:r>
              <a:rPr lang="en-GB" dirty="0"/>
              <a:t>Eight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28324" y="285982"/>
            <a:ext cx="10932454" cy="11517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 dirty="0"/>
              <a:t>Headline in CorpoS (Body) 35 pt.</a:t>
            </a:r>
            <a:br>
              <a:rPr lang="en-GB" noProof="0" dirty="0"/>
            </a:br>
            <a:r>
              <a:rPr lang="en-GB" noProof="0" dirty="0"/>
              <a:t>in two line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78500" y="6564880"/>
            <a:ext cx="8120970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r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199">
                <a:latin typeface="+mn-lt"/>
              </a:defRPr>
            </a:lvl2pPr>
            <a:lvl3pPr marL="0" indent="0" algn="r">
              <a:spcBef>
                <a:spcPts val="0"/>
              </a:spcBef>
              <a:defRPr sz="1199">
                <a:latin typeface="+mn-lt"/>
              </a:defRPr>
            </a:lvl3pPr>
            <a:lvl4pPr marL="0" indent="0" algn="r">
              <a:spcBef>
                <a:spcPts val="0"/>
              </a:spcBef>
              <a:defRPr sz="1199">
                <a:latin typeface="+mn-lt"/>
              </a:defRPr>
            </a:lvl4pPr>
            <a:lvl5pPr marL="0" indent="0" algn="r">
              <a:spcBef>
                <a:spcPts val="0"/>
              </a:spcBef>
              <a:defRPr sz="1199">
                <a:latin typeface="+mn-lt"/>
              </a:defRPr>
            </a:lvl5pPr>
            <a:lvl6pPr marL="0" indent="0" algn="r">
              <a:spcBef>
                <a:spcPts val="0"/>
              </a:spcBef>
              <a:defRPr sz="1199">
                <a:latin typeface="+mn-lt"/>
              </a:defRPr>
            </a:lvl6pPr>
            <a:lvl7pPr marL="0" indent="0" algn="r">
              <a:spcBef>
                <a:spcPts val="0"/>
              </a:spcBef>
              <a:defRPr sz="1199">
                <a:latin typeface="+mn-lt"/>
              </a:defRPr>
            </a:lvl7pPr>
            <a:lvl8pPr marL="0" indent="0" algn="r">
              <a:spcBef>
                <a:spcPts val="0"/>
              </a:spcBef>
              <a:defRPr sz="1199">
                <a:latin typeface="+mn-lt"/>
              </a:defRPr>
            </a:lvl8pPr>
            <a:lvl9pPr marL="0" indent="0" algn="r">
              <a:spcBef>
                <a:spcPts val="0"/>
              </a:spcBef>
              <a:defRPr sz="1199">
                <a:latin typeface="+mn-lt"/>
              </a:defRPr>
            </a:lvl9pPr>
          </a:lstStyle>
          <a:p>
            <a:r>
              <a:rPr lang="en-US" dirty="0" smtClean="0">
                <a:solidFill>
                  <a:prstClr val="black"/>
                </a:solidFill>
              </a:rPr>
              <a:t>DI-Lama Project Update | </a:t>
            </a:r>
            <a:r>
              <a:rPr lang="en-US" dirty="0" err="1" smtClean="0">
                <a:solidFill>
                  <a:prstClr val="black"/>
                </a:solidFill>
              </a:rPr>
              <a:t>Phani</a:t>
            </a:r>
            <a:r>
              <a:rPr lang="en-US" smtClean="0">
                <a:solidFill>
                  <a:prstClr val="black"/>
                </a:solidFill>
              </a:rPr>
              <a:t> Sarraju | 4.Sep.2018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1155196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r>
              <a:rPr lang="en-GB" dirty="0">
                <a:solidFill>
                  <a:prstClr val="black"/>
                </a:solidFill>
              </a:rPr>
              <a:t>Page </a:t>
            </a:r>
            <a:fld id="{52531704-8F80-415D-BD2B-6B9991AE822F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14620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696" r:id="rId3"/>
    <p:sldLayoutId id="2147483697" r:id="rId4"/>
    <p:sldLayoutId id="2147483698" r:id="rId5"/>
    <p:sldLayoutId id="2147483699" r:id="rId6"/>
    <p:sldLayoutId id="2147483700" r:id="rId7"/>
    <p:sldLayoutId id="2147483701" r:id="rId8"/>
    <p:sldLayoutId id="2147483702" r:id="rId9"/>
    <p:sldLayoutId id="2147483703" r:id="rId10"/>
    <p:sldLayoutId id="2147483704" r:id="rId11"/>
    <p:sldLayoutId id="2147483705" r:id="rId12"/>
    <p:sldLayoutId id="2147483706" r:id="rId13"/>
    <p:sldLayoutId id="2147483707" r:id="rId14"/>
    <p:sldLayoutId id="2147483708" r:id="rId15"/>
    <p:sldLayoutId id="2147483709" r:id="rId16"/>
    <p:sldLayoutId id="2147483710" r:id="rId17"/>
    <p:sldLayoutId id="2147483711" r:id="rId18"/>
    <p:sldLayoutId id="2147483712" r:id="rId19"/>
    <p:sldLayoutId id="2147483713" r:id="rId20"/>
    <p:sldLayoutId id="2147483714" r:id="rId21"/>
    <p:sldLayoutId id="2147483715" r:id="rId22"/>
    <p:sldLayoutId id="2147483716" r:id="rId23"/>
    <p:sldLayoutId id="2147483717" r:id="rId24"/>
    <p:sldLayoutId id="2147483718" r:id="rId25"/>
    <p:sldLayoutId id="2147483719" r:id="rId26"/>
    <p:sldLayoutId id="2147483720" r:id="rId27"/>
    <p:sldLayoutId id="2147483721" r:id="rId28"/>
    <p:sldLayoutId id="2147483722" r:id="rId29"/>
    <p:sldLayoutId id="2147483723" r:id="rId30"/>
    <p:sldLayoutId id="2147483724" r:id="rId31"/>
    <p:sldLayoutId id="2147483725" r:id="rId32"/>
    <p:sldLayoutId id="2147483726" r:id="rId33"/>
    <p:sldLayoutId id="2147483727" r:id="rId34"/>
  </p:sldLayoutIdLst>
  <p:hf hdr="0" dt="0"/>
  <p:txStyles>
    <p:titleStyle>
      <a:lvl1pPr marL="0" indent="0" algn="l" defTabSz="1088415" rtl="0" eaLnBrk="1" latinLnBrk="0" hangingPunct="1">
        <a:lnSpc>
          <a:spcPts val="3998"/>
        </a:lnSpc>
        <a:spcBef>
          <a:spcPts val="0"/>
        </a:spcBef>
        <a:buFont typeface="Arial" panose="020B0604020202020204" pitchFamily="34" charset="0"/>
        <a:buNone/>
        <a:defRPr sz="3498" kern="1200" baseline="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237481" indent="-237481" algn="l" defTabSz="1088415" rtl="0" eaLnBrk="1" latinLnBrk="0" hangingPunct="1">
        <a:lnSpc>
          <a:spcPts val="3198"/>
        </a:lnSpc>
        <a:spcBef>
          <a:spcPts val="0"/>
        </a:spcBef>
        <a:buSzPct val="80000"/>
        <a:buFont typeface="Arial" panose="020B0604020202020204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sz="2399" kern="1200">
          <a:solidFill>
            <a:schemeClr val="accent2"/>
          </a:solidFill>
          <a:latin typeface="+mn-lt"/>
          <a:ea typeface="+mn-ea"/>
          <a:cs typeface="+mn-cs"/>
        </a:defRPr>
      </a:lvl2pPr>
      <a:lvl3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sz="2399" kern="1200">
          <a:solidFill>
            <a:schemeClr val="accent2"/>
          </a:solidFill>
          <a:latin typeface="+mn-lt"/>
          <a:ea typeface="+mn-ea"/>
          <a:cs typeface="+mn-cs"/>
        </a:defRPr>
      </a:lvl3pPr>
      <a:lvl4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sz="2399" kern="1200">
          <a:solidFill>
            <a:schemeClr val="accent2"/>
          </a:solidFill>
          <a:latin typeface="+mn-lt"/>
          <a:ea typeface="+mn-ea"/>
          <a:cs typeface="+mn-cs"/>
        </a:defRPr>
      </a:lvl4pPr>
      <a:lvl5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sz="2399" kern="1200">
          <a:solidFill>
            <a:schemeClr val="accent2"/>
          </a:solidFill>
          <a:latin typeface="+mn-lt"/>
          <a:ea typeface="+mn-ea"/>
          <a:cs typeface="+mn-cs"/>
        </a:defRPr>
      </a:lvl5pPr>
      <a:lvl6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sz="2399" kern="1200">
          <a:solidFill>
            <a:schemeClr val="accent2"/>
          </a:solidFill>
          <a:latin typeface="+mn-lt"/>
          <a:ea typeface="+mn-ea"/>
          <a:cs typeface="+mn-cs"/>
        </a:defRPr>
      </a:lvl6pPr>
      <a:lvl7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sz="2399" kern="1200">
          <a:solidFill>
            <a:schemeClr val="accent2"/>
          </a:solidFill>
          <a:latin typeface="+mn-lt"/>
          <a:ea typeface="+mn-ea"/>
          <a:cs typeface="+mn-cs"/>
        </a:defRPr>
      </a:lvl7pPr>
      <a:lvl8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sz="2399" kern="1200">
          <a:solidFill>
            <a:schemeClr val="accent2"/>
          </a:solidFill>
          <a:latin typeface="+mn-lt"/>
          <a:ea typeface="+mn-ea"/>
          <a:cs typeface="+mn-cs"/>
        </a:defRPr>
      </a:lvl8pPr>
      <a:lvl9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sz="2399" kern="1200">
          <a:solidFill>
            <a:schemeClr val="accent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1pPr>
      <a:lvl2pPr marL="544207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2pPr>
      <a:lvl3pPr marL="1088415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3pPr>
      <a:lvl4pPr marL="1632621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4pPr>
      <a:lvl5pPr marL="2176829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5pPr>
      <a:lvl6pPr marL="2721036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6pPr>
      <a:lvl7pPr marL="3265244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7pPr>
      <a:lvl8pPr marL="3809450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8pPr>
      <a:lvl9pPr marL="4353658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Daimler AG (Wortmarke)"/>
          <p:cNvSpPr>
            <a:spLocks noChangeArrowheads="1"/>
          </p:cNvSpPr>
          <p:nvPr/>
        </p:nvSpPr>
        <p:spPr bwMode="auto">
          <a:xfrm>
            <a:off x="629673" y="6564880"/>
            <a:ext cx="2086913" cy="2159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r>
              <a:rPr lang="en-GB" sz="1199" dirty="0" smtClean="0">
                <a:latin typeface="+mn-lt"/>
                <a:cs typeface="Daimler CS"/>
              </a:rPr>
              <a:t>Daimler AG</a:t>
            </a:r>
            <a:endParaRPr lang="en-GB" sz="1199" dirty="0">
              <a:latin typeface="+mn-lt"/>
              <a:cs typeface="Daimler CS"/>
            </a:endParaRPr>
          </a:p>
        </p:txBody>
      </p:sp>
      <p:cxnSp>
        <p:nvCxnSpPr>
          <p:cNvPr id="14" name="Footerline"/>
          <p:cNvCxnSpPr/>
          <p:nvPr/>
        </p:nvCxnSpPr>
        <p:spPr bwMode="auto">
          <a:xfrm>
            <a:off x="629671" y="6487838"/>
            <a:ext cx="10931107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30117" y="1504604"/>
            <a:ext cx="10930387" cy="487567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GB" dirty="0" smtClean="0"/>
              <a:t>Insert text  &lt;</a:t>
            </a:r>
            <a:r>
              <a:rPr lang="en-GB" noProof="0" dirty="0" err="1" smtClean="0"/>
              <a:t>CorpoS</a:t>
            </a:r>
            <a:r>
              <a:rPr lang="en-GB" noProof="0" dirty="0" smtClean="0"/>
              <a:t> (Body), 24 pt., Mark-ups in Bold&gt; </a:t>
            </a:r>
            <a:endParaRPr lang="en-GB" dirty="0" smtClean="0"/>
          </a:p>
          <a:p>
            <a:pPr lvl="1"/>
            <a:r>
              <a:rPr lang="en-GB" dirty="0" smtClean="0"/>
              <a:t>Second level &lt;</a:t>
            </a:r>
            <a:r>
              <a:rPr lang="en-GB" noProof="0" dirty="0" err="1" smtClean="0"/>
              <a:t>CorpoS</a:t>
            </a:r>
            <a:r>
              <a:rPr lang="en-GB" noProof="0" dirty="0" smtClean="0"/>
              <a:t> (Body), 22 pt., Mark-ups in Bold&gt;</a:t>
            </a:r>
            <a:endParaRPr lang="en-GB" dirty="0" smtClean="0"/>
          </a:p>
          <a:p>
            <a:pPr lvl="2"/>
            <a:r>
              <a:rPr lang="en-GB" dirty="0" smtClean="0"/>
              <a:t>Third level &lt;</a:t>
            </a:r>
            <a:r>
              <a:rPr lang="en-GB" noProof="0" dirty="0" err="1" smtClean="0"/>
              <a:t>CorpoS</a:t>
            </a:r>
            <a:r>
              <a:rPr lang="en-GB" noProof="0" dirty="0" smtClean="0"/>
              <a:t> (Body), 20 pt., Mark-ups in Bold&gt;</a:t>
            </a:r>
            <a:endParaRPr lang="en-GB" dirty="0" smtClean="0"/>
          </a:p>
          <a:p>
            <a:pPr lvl="3"/>
            <a:r>
              <a:rPr lang="en-GB" dirty="0" smtClean="0"/>
              <a:t>Fourth level &lt;</a:t>
            </a:r>
            <a:r>
              <a:rPr lang="en-GB" noProof="0" dirty="0" err="1" smtClean="0"/>
              <a:t>CorpoS</a:t>
            </a:r>
            <a:r>
              <a:rPr lang="en-GB" noProof="0" dirty="0" smtClean="0"/>
              <a:t> (Body), 18 pt., Mark-ups in Bold&gt;</a:t>
            </a:r>
            <a:endParaRPr lang="en-GB" dirty="0" smtClean="0"/>
          </a:p>
          <a:p>
            <a:pPr lvl="4"/>
            <a:r>
              <a:rPr lang="en-GB" dirty="0" smtClean="0"/>
              <a:t>Fifth level &lt;</a:t>
            </a:r>
            <a:r>
              <a:rPr lang="en-GB" noProof="0" dirty="0" err="1" smtClean="0"/>
              <a:t>CorpoS</a:t>
            </a:r>
            <a:r>
              <a:rPr lang="en-GB" noProof="0" dirty="0" smtClean="0"/>
              <a:t> (Body), 16 pt., Mark-ups in Bold&gt;</a:t>
            </a:r>
            <a:endParaRPr lang="en-GB" dirty="0" smtClean="0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28325" y="285982"/>
            <a:ext cx="10932455" cy="11517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 dirty="0" smtClean="0"/>
              <a:t>Headline in CorpoS (Body) 35 pt.</a:t>
            </a:r>
            <a:br>
              <a:rPr lang="en-GB" noProof="0" dirty="0" smtClean="0"/>
            </a:br>
            <a:r>
              <a:rPr lang="en-GB" noProof="0" dirty="0" smtClean="0"/>
              <a:t>in two line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78500" y="6564880"/>
            <a:ext cx="8120970" cy="215949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r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199">
                <a:latin typeface="+mn-lt"/>
              </a:defRPr>
            </a:lvl2pPr>
            <a:lvl3pPr marL="0" indent="0" algn="r">
              <a:spcBef>
                <a:spcPts val="0"/>
              </a:spcBef>
              <a:defRPr sz="1199">
                <a:latin typeface="+mn-lt"/>
              </a:defRPr>
            </a:lvl3pPr>
            <a:lvl4pPr marL="0" indent="0" algn="r">
              <a:spcBef>
                <a:spcPts val="0"/>
              </a:spcBef>
              <a:defRPr sz="1199">
                <a:latin typeface="+mn-lt"/>
              </a:defRPr>
            </a:lvl4pPr>
            <a:lvl5pPr marL="0" indent="0" algn="r">
              <a:spcBef>
                <a:spcPts val="0"/>
              </a:spcBef>
              <a:defRPr sz="1199">
                <a:latin typeface="+mn-lt"/>
              </a:defRPr>
            </a:lvl5pPr>
            <a:lvl6pPr marL="0" indent="0" algn="r">
              <a:spcBef>
                <a:spcPts val="0"/>
              </a:spcBef>
              <a:defRPr sz="1199">
                <a:latin typeface="+mn-lt"/>
              </a:defRPr>
            </a:lvl6pPr>
            <a:lvl7pPr marL="0" indent="0" algn="r">
              <a:spcBef>
                <a:spcPts val="0"/>
              </a:spcBef>
              <a:defRPr sz="1199">
                <a:latin typeface="+mn-lt"/>
              </a:defRPr>
            </a:lvl7pPr>
            <a:lvl8pPr marL="0" indent="0" algn="r">
              <a:spcBef>
                <a:spcPts val="0"/>
              </a:spcBef>
              <a:defRPr sz="1199">
                <a:latin typeface="+mn-lt"/>
              </a:defRPr>
            </a:lvl8pPr>
            <a:lvl9pPr marL="0" indent="0" algn="r">
              <a:spcBef>
                <a:spcPts val="0"/>
              </a:spcBef>
              <a:defRPr sz="1199">
                <a:latin typeface="+mn-lt"/>
              </a:defRPr>
            </a:lvl9pPr>
          </a:lstStyle>
          <a:p>
            <a:r>
              <a:rPr lang="en-US" smtClean="0"/>
              <a:t>DI-Lama Project Update | Phani Sarraju | 4.Sep.2018</a:t>
            </a:r>
            <a:endParaRPr lang="en-GB" dirty="0" smtClean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5" y="6564880"/>
            <a:ext cx="1155196" cy="215949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r>
              <a:rPr lang="en-GB" dirty="0" smtClean="0"/>
              <a:t>Page </a:t>
            </a:r>
            <a:fld id="{52531704-8F80-415D-BD2B-6B9991AE822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18096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  <p:sldLayoutId id="2147483731" r:id="rId3"/>
    <p:sldLayoutId id="2147483732" r:id="rId4"/>
    <p:sldLayoutId id="2147483733" r:id="rId5"/>
  </p:sldLayoutIdLst>
  <p:timing>
    <p:tnLst>
      <p:par>
        <p:cTn id="1" dur="indefinite" restart="never" nodeType="tmRoot"/>
      </p:par>
    </p:tnLst>
  </p:timing>
  <p:hf hdr="0" dt="0"/>
  <p:txStyles>
    <p:titleStyle>
      <a:lvl1pPr marL="0" indent="0" algn="l" defTabSz="1088216" rtl="0" eaLnBrk="1" latinLnBrk="0" hangingPunct="1">
        <a:lnSpc>
          <a:spcPts val="3997"/>
        </a:lnSpc>
        <a:spcBef>
          <a:spcPts val="0"/>
        </a:spcBef>
        <a:buFont typeface="Arial" panose="020B0604020202020204" pitchFamily="34" charset="0"/>
        <a:buNone/>
        <a:defRPr sz="3498" kern="1200" baseline="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197865" indent="-197865" algn="l" defTabSz="1088216" rtl="0" eaLnBrk="1" latinLnBrk="0" hangingPunct="1">
        <a:lnSpc>
          <a:spcPct val="85000"/>
        </a:lnSpc>
        <a:spcBef>
          <a:spcPts val="0"/>
        </a:spcBef>
        <a:buClr>
          <a:srgbClr val="71180C"/>
        </a:buClr>
        <a:buSzPct val="80000"/>
        <a:buFont typeface="Wingdings" panose="05000000000000000000" pitchFamily="2" charset="2"/>
        <a:buChar char="n"/>
        <a:defRPr sz="2399" kern="1200">
          <a:solidFill>
            <a:schemeClr val="tx1"/>
          </a:solidFill>
          <a:latin typeface="+mn-lt"/>
          <a:ea typeface="+mn-ea"/>
          <a:cs typeface="+mn-cs"/>
        </a:defRPr>
      </a:lvl1pPr>
      <a:lvl2pPr marL="467680" indent="-251827" algn="l" defTabSz="1088216" rtl="0" eaLnBrk="1" latinLnBrk="0" hangingPunct="1">
        <a:lnSpc>
          <a:spcPct val="85000"/>
        </a:lnSpc>
        <a:spcBef>
          <a:spcPts val="0"/>
        </a:spcBef>
        <a:buClr>
          <a:srgbClr val="71180C"/>
        </a:buClr>
        <a:buSzPct val="80000"/>
        <a:buFont typeface="Wingdings" panose="05000000000000000000" pitchFamily="2" charset="2"/>
        <a:buChar char="è"/>
        <a:defRPr sz="2199" kern="1200">
          <a:solidFill>
            <a:schemeClr val="tx1"/>
          </a:solidFill>
          <a:latin typeface="+mn-lt"/>
          <a:ea typeface="+mn-ea"/>
          <a:cs typeface="+mn-cs"/>
        </a:defRPr>
      </a:lvl2pPr>
      <a:lvl3pPr marL="661947" indent="-179877" algn="l" defTabSz="1088216" rtl="0" eaLnBrk="1" latinLnBrk="0" hangingPunct="1">
        <a:lnSpc>
          <a:spcPct val="85000"/>
        </a:lnSpc>
        <a:spcBef>
          <a:spcPts val="0"/>
        </a:spcBef>
        <a:buClr>
          <a:srgbClr val="71180C"/>
        </a:buClr>
        <a:buSzPct val="80000"/>
        <a:buFont typeface="Wingdings" panose="05000000000000000000" pitchFamily="2" charset="2"/>
        <a:buChar char="n"/>
        <a:defRPr sz="1999" kern="1200">
          <a:solidFill>
            <a:schemeClr val="tx1"/>
          </a:solidFill>
          <a:latin typeface="+mn-lt"/>
          <a:ea typeface="+mn-ea"/>
          <a:cs typeface="+mn-cs"/>
        </a:defRPr>
      </a:lvl3pPr>
      <a:lvl4pPr marL="875701" indent="-223047" algn="l" defTabSz="1088216" rtl="0" eaLnBrk="1" latinLnBrk="0" hangingPunct="1">
        <a:lnSpc>
          <a:spcPct val="85000"/>
        </a:lnSpc>
        <a:spcBef>
          <a:spcPts val="0"/>
        </a:spcBef>
        <a:buClr>
          <a:srgbClr val="71180C"/>
        </a:buClr>
        <a:buSzPct val="80000"/>
        <a:buFont typeface="Wingdings" panose="05000000000000000000" pitchFamily="2" charset="2"/>
        <a:buChar char="è"/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043286" indent="-151097" algn="l" defTabSz="1088216" rtl="0" eaLnBrk="1" latinLnBrk="0" hangingPunct="1">
        <a:lnSpc>
          <a:spcPct val="85000"/>
        </a:lnSpc>
        <a:spcBef>
          <a:spcPts val="0"/>
        </a:spcBef>
        <a:buClr>
          <a:srgbClr val="71180C"/>
        </a:buClr>
        <a:buSzPct val="80000"/>
        <a:buFont typeface="Wingdings" panose="05000000000000000000" pitchFamily="2" charset="2"/>
        <a:buChar char="n"/>
        <a:defRPr sz="1599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1088216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sz="2399" kern="1200">
          <a:solidFill>
            <a:schemeClr val="accent2"/>
          </a:solidFill>
          <a:latin typeface="+mn-lt"/>
          <a:ea typeface="+mn-ea"/>
          <a:cs typeface="+mn-cs"/>
        </a:defRPr>
      </a:lvl6pPr>
      <a:lvl7pPr marL="0" indent="0" algn="l" defTabSz="1088216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sz="2399" kern="1200">
          <a:solidFill>
            <a:schemeClr val="accent2"/>
          </a:solidFill>
          <a:latin typeface="+mn-lt"/>
          <a:ea typeface="+mn-ea"/>
          <a:cs typeface="+mn-cs"/>
        </a:defRPr>
      </a:lvl7pPr>
      <a:lvl8pPr marL="0" indent="0" algn="l" defTabSz="1088216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sz="2399" kern="1200">
          <a:solidFill>
            <a:schemeClr val="accent2"/>
          </a:solidFill>
          <a:latin typeface="+mn-lt"/>
          <a:ea typeface="+mn-ea"/>
          <a:cs typeface="+mn-cs"/>
        </a:defRPr>
      </a:lvl8pPr>
      <a:lvl9pPr marL="0" indent="0" algn="l" defTabSz="1088216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sz="2399" kern="1200">
          <a:solidFill>
            <a:schemeClr val="accent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216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1pPr>
      <a:lvl2pPr marL="544106" algn="l" defTabSz="1088216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2pPr>
      <a:lvl3pPr marL="1088216" algn="l" defTabSz="1088216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3pPr>
      <a:lvl4pPr marL="1632321" algn="l" defTabSz="1088216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4pPr>
      <a:lvl5pPr marL="2176429" algn="l" defTabSz="1088216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5pPr>
      <a:lvl6pPr marL="2720537" algn="l" defTabSz="1088216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6pPr>
      <a:lvl7pPr marL="3264644" algn="l" defTabSz="1088216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7pPr>
      <a:lvl8pPr marL="3808751" algn="l" defTabSz="1088216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8pPr>
      <a:lvl9pPr marL="4352859" algn="l" defTabSz="1088216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96">
          <p15:clr>
            <a:srgbClr val="F26B43"/>
          </p15:clr>
        </p15:guide>
        <p15:guide id="2" pos="7286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323544617"/>
              </p:ext>
            </p:extLst>
          </p:nvPr>
        </p:nvGraphicFramePr>
        <p:xfrm>
          <a:off x="1588" y="1588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3077" name="think-cell スライド" r:id="rId14" imgW="270" imgH="270" progId="TCLayout.ActiveDocument.1">
                  <p:embed/>
                </p:oleObj>
              </mc:Choice>
              <mc:Fallback>
                <p:oleObj name="think-cell スライド" r:id="rId1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1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9E9E9E"/>
          </a:solidFill>
          <a:ln>
            <a:solidFill>
              <a:srgbClr val="9E9E9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endParaRPr lang="en-US" sz="3498" b="0" i="0" baseline="0" dirty="0" err="1" smtClean="0">
              <a:latin typeface="CorpoS" pitchFamily="2" charset="0"/>
              <a:ea typeface="+mj-ea"/>
              <a:cs typeface="+mj-cs"/>
              <a:sym typeface="CorpoS" pitchFamily="2" charset="0"/>
            </a:endParaRPr>
          </a:p>
        </p:txBody>
      </p:sp>
      <p:sp>
        <p:nvSpPr>
          <p:cNvPr id="18" name="Daimler AG (Wortmarke)"/>
          <p:cNvSpPr>
            <a:spLocks noChangeArrowheads="1"/>
          </p:cNvSpPr>
          <p:nvPr/>
        </p:nvSpPr>
        <p:spPr bwMode="auto">
          <a:xfrm>
            <a:off x="629672" y="6564880"/>
            <a:ext cx="2086913" cy="2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r>
              <a:rPr lang="en-US" sz="1199" dirty="0" smtClean="0">
                <a:latin typeface="+mn-lt"/>
                <a:cs typeface="Daimler CS"/>
              </a:rPr>
              <a:t>Daimler AG</a:t>
            </a:r>
            <a:endParaRPr lang="en-US" sz="1199" dirty="0">
              <a:latin typeface="+mn-lt"/>
              <a:cs typeface="Daimler CS"/>
            </a:endParaRPr>
          </a:p>
        </p:txBody>
      </p:sp>
      <p:cxnSp>
        <p:nvCxnSpPr>
          <p:cNvPr id="14" name="Footerline"/>
          <p:cNvCxnSpPr/>
          <p:nvPr/>
        </p:nvCxnSpPr>
        <p:spPr bwMode="auto">
          <a:xfrm>
            <a:off x="629671" y="6487838"/>
            <a:ext cx="10931107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30117" y="1504603"/>
            <a:ext cx="10930387" cy="487567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 24 pt. (Mark-ups in Bold)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dirty="0" smtClean="0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28324" y="285982"/>
            <a:ext cx="10932454" cy="11517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 smtClean="0"/>
              <a:t>Headline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 35 pt.</a:t>
            </a:r>
            <a:br>
              <a:rPr lang="en-US" noProof="0" dirty="0" smtClean="0"/>
            </a:br>
            <a:r>
              <a:rPr lang="en-US" noProof="0" dirty="0" smtClean="0"/>
              <a:t>in two lines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11056718" y="6564880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10" name="Picture 3" descr="C:\Users\rajarrv\AppData\Local\Microsoft\Windows\Temporary Internet Files\Content.Outlook\3CY2KM7L\B-No Background FORCE LOGO.png"/>
          <p:cNvPicPr>
            <a:picLocks noChangeAspect="1" noChangeArrowheads="1"/>
          </p:cNvPicPr>
          <p:nvPr/>
        </p:nvPicPr>
        <p:blipFill rotWithShape="1"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739834" y="0"/>
            <a:ext cx="1452166" cy="4148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 hidden="1"/>
          <p:cNvSpPr/>
          <p:nvPr userDrawn="1">
            <p:custDataLst>
              <p:tags r:id="rId1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9E9E9E"/>
          </a:solidFill>
          <a:ln>
            <a:solidFill>
              <a:srgbClr val="9E9E9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endParaRPr lang="en-US" sz="3498" b="0" i="0" baseline="0" dirty="0" err="1" smtClean="0">
              <a:latin typeface="CorpoS" pitchFamily="2" charset="0"/>
              <a:ea typeface="+mj-ea"/>
              <a:cs typeface="+mj-cs"/>
              <a:sym typeface="CorpoS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197872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8" r:id="rId1"/>
    <p:sldLayoutId id="2147483739" r:id="rId2"/>
    <p:sldLayoutId id="2147483740" r:id="rId3"/>
    <p:sldLayoutId id="2147483741" r:id="rId4"/>
    <p:sldLayoutId id="2147483742" r:id="rId5"/>
    <p:sldLayoutId id="2147483743" r:id="rId6"/>
    <p:sldLayoutId id="2147483815" r:id="rId7"/>
    <p:sldLayoutId id="2147483816" r:id="rId8"/>
  </p:sldLayoutIdLst>
  <p:timing>
    <p:tnLst>
      <p:par>
        <p:cTn id="1" dur="indefinite" restart="never" nodeType="tmRoot"/>
      </p:par>
    </p:tnLst>
  </p:timing>
  <p:txStyles>
    <p:titleStyle>
      <a:lvl1pPr marL="0" indent="0" algn="l" defTabSz="1088415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3498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088415" rtl="0" eaLnBrk="1" latinLnBrk="0" hangingPunct="1">
        <a:lnSpc>
          <a:spcPct val="100000"/>
        </a:lnSpc>
        <a:spcBef>
          <a:spcPts val="300"/>
        </a:spcBef>
        <a:buSzPct val="80000"/>
        <a:buFontTx/>
        <a:buNone/>
        <a:defRPr sz="2399" kern="1200">
          <a:solidFill>
            <a:schemeClr val="tx1"/>
          </a:solidFill>
          <a:latin typeface="+mn-lt"/>
          <a:ea typeface="+mn-ea"/>
          <a:cs typeface="+mn-cs"/>
        </a:defRPr>
      </a:lvl1pPr>
      <a:lvl2pPr marL="251874" indent="-251874" algn="l" defTabSz="1088415" rtl="0" eaLnBrk="1" latinLnBrk="0" hangingPunct="1">
        <a:lnSpc>
          <a:spcPct val="100000"/>
        </a:lnSpc>
        <a:spcBef>
          <a:spcPts val="300"/>
        </a:spcBef>
        <a:buFont typeface="Arial" panose="020B0604020202020204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575712" indent="-251874" algn="l" defTabSz="1088415" rtl="0" eaLnBrk="1" latinLnBrk="0" hangingPunct="1">
        <a:lnSpc>
          <a:spcPct val="100000"/>
        </a:lnSpc>
        <a:spcBef>
          <a:spcPts val="300"/>
        </a:spcBef>
        <a:buClr>
          <a:schemeClr val="tx1"/>
        </a:buClr>
        <a:buFont typeface="Symbol" panose="05050102010706020507" pitchFamily="18" charset="2"/>
        <a:buChar char="-"/>
        <a:defRPr sz="2399" kern="1200">
          <a:solidFill>
            <a:schemeClr val="tx1"/>
          </a:solidFill>
          <a:latin typeface="+mn-lt"/>
          <a:ea typeface="+mn-ea"/>
          <a:cs typeface="+mn-cs"/>
        </a:defRPr>
      </a:lvl3pPr>
      <a:lvl4pPr marL="899550" indent="-251874" algn="l" defTabSz="1088415" rtl="0" eaLnBrk="1" latinLnBrk="0" hangingPunct="1">
        <a:lnSpc>
          <a:spcPct val="100000"/>
        </a:lnSpc>
        <a:spcBef>
          <a:spcPts val="300"/>
        </a:spcBef>
        <a:buFont typeface="Symbol" panose="05050102010706020507" pitchFamily="18" charset="2"/>
        <a:buChar char="-"/>
        <a:defRPr sz="2399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223388" indent="-251874" algn="l" defTabSz="1088415" rtl="0" eaLnBrk="1" latinLnBrk="0" hangingPunct="1">
        <a:lnSpc>
          <a:spcPct val="100000"/>
        </a:lnSpc>
        <a:spcBef>
          <a:spcPts val="300"/>
        </a:spcBef>
        <a:buFont typeface="Symbol" panose="05050102010706020507" pitchFamily="18" charset="2"/>
        <a:buChar char="-"/>
        <a:defRPr sz="2399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1007496" indent="-251874" algn="l" defTabSz="1088415" rtl="0" eaLnBrk="1" latinLnBrk="0" hangingPunct="1">
        <a:lnSpc>
          <a:spcPts val="3198"/>
        </a:lnSpc>
        <a:spcBef>
          <a:spcPts val="0"/>
        </a:spcBef>
        <a:buFont typeface="Symbol" panose="05050102010706020507" pitchFamily="18" charset="2"/>
        <a:buChar char="-"/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sz="2399" kern="1200">
          <a:solidFill>
            <a:schemeClr val="accent2"/>
          </a:solidFill>
          <a:latin typeface="+mn-lt"/>
          <a:ea typeface="+mn-ea"/>
          <a:cs typeface="+mn-cs"/>
        </a:defRPr>
      </a:lvl7pPr>
      <a:lvl8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sz="2399" kern="1200">
          <a:solidFill>
            <a:schemeClr val="accent2"/>
          </a:solidFill>
          <a:latin typeface="+mn-lt"/>
          <a:ea typeface="+mn-ea"/>
          <a:cs typeface="+mn-cs"/>
        </a:defRPr>
      </a:lvl8pPr>
      <a:lvl9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sz="2399" kern="1200">
          <a:solidFill>
            <a:schemeClr val="accent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1pPr>
      <a:lvl2pPr marL="544207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2pPr>
      <a:lvl3pPr marL="1088415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3pPr>
      <a:lvl4pPr marL="1632621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4pPr>
      <a:lvl5pPr marL="2176829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5pPr>
      <a:lvl6pPr marL="2721036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6pPr>
      <a:lvl7pPr marL="3265244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7pPr>
      <a:lvl8pPr marL="3809450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8pPr>
      <a:lvl9pPr marL="4353658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1"/>
            </p:custDataLst>
            <p:extLst/>
          </p:nvPr>
        </p:nvGraphicFramePr>
        <p:xfrm>
          <a:off x="1588" y="1588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146" name="think-cell スライド" r:id="rId12" imgW="270" imgH="270" progId="TCLayout.ActiveDocument.1">
                  <p:embed/>
                </p:oleObj>
              </mc:Choice>
              <mc:Fallback>
                <p:oleObj name="think-cell スライド" r:id="rId12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Daimler AG (Wortmarke)"/>
          <p:cNvSpPr>
            <a:spLocks noChangeArrowheads="1"/>
          </p:cNvSpPr>
          <p:nvPr/>
        </p:nvSpPr>
        <p:spPr bwMode="auto">
          <a:xfrm>
            <a:off x="629672" y="6564880"/>
            <a:ext cx="2086913" cy="2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r>
              <a:rPr lang="en-US" sz="1199" dirty="0">
                <a:solidFill>
                  <a:prstClr val="black"/>
                </a:solidFill>
                <a:latin typeface="CorpoS"/>
                <a:cs typeface="Daimler CS"/>
              </a:rPr>
              <a:t>Daimler AG</a:t>
            </a:r>
          </a:p>
        </p:txBody>
      </p:sp>
      <p:cxnSp>
        <p:nvCxnSpPr>
          <p:cNvPr id="14" name="Footerline"/>
          <p:cNvCxnSpPr/>
          <p:nvPr/>
        </p:nvCxnSpPr>
        <p:spPr bwMode="auto">
          <a:xfrm>
            <a:off x="629671" y="6487838"/>
            <a:ext cx="10931107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30117" y="1504603"/>
            <a:ext cx="10930387" cy="487567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 24 pt. (Mark-ups in Bold)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US" dirty="0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28324" y="285982"/>
            <a:ext cx="10932454" cy="11517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Headline in </a:t>
            </a:r>
            <a:r>
              <a:rPr lang="en-US" noProof="0" dirty="0" err="1"/>
              <a:t>CorpoS</a:t>
            </a:r>
            <a:r>
              <a:rPr lang="en-US" noProof="0" dirty="0"/>
              <a:t> (Body) 35 pt.</a:t>
            </a:r>
            <a:br>
              <a:rPr lang="en-US" noProof="0" dirty="0"/>
            </a:br>
            <a:r>
              <a:rPr lang="en-US" noProof="0" dirty="0"/>
              <a:t>in two lines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11056718" y="6564880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>
                <a:solidFill>
                  <a:srgbClr val="000000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000000"/>
                </a:solidFill>
              </a:rPr>
              <a:pPr algn="r" defTabSz="913943">
                <a:defRPr/>
              </a:pPr>
              <a:t>‹#›</a:t>
            </a:fld>
            <a:endParaRPr lang="en-US" sz="1199" dirty="0">
              <a:solidFill>
                <a:srgbClr val="000000"/>
              </a:solidFill>
            </a:endParaRPr>
          </a:p>
        </p:txBody>
      </p:sp>
      <p:pic>
        <p:nvPicPr>
          <p:cNvPr id="19" name="Picture 3" descr="C:\Users\rajarrv\AppData\Local\Microsoft\Windows\Temporary Internet Files\Content.Outlook\3CY2KM7L\B-No Background FORCE LOGO.png"/>
          <p:cNvPicPr>
            <a:picLocks noChangeAspect="1" noChangeArrowheads="1"/>
          </p:cNvPicPr>
          <p:nvPr/>
        </p:nvPicPr>
        <p:blipFill rotWithShape="1"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739834" y="0"/>
            <a:ext cx="1452166" cy="4148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539250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747" r:id="rId2"/>
    <p:sldLayoutId id="2147483748" r:id="rId3"/>
    <p:sldLayoutId id="2147483749" r:id="rId4"/>
    <p:sldLayoutId id="2147483750" r:id="rId5"/>
    <p:sldLayoutId id="2147483751" r:id="rId6"/>
    <p:sldLayoutId id="2147483752" r:id="rId7"/>
    <p:sldLayoutId id="2147483753" r:id="rId8"/>
  </p:sldLayoutIdLst>
  <p:hf hdr="0" dt="0"/>
  <p:txStyles>
    <p:titleStyle>
      <a:lvl1pPr marL="0" indent="0" algn="l" defTabSz="1088415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3498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088415" rtl="0" eaLnBrk="1" latinLnBrk="0" hangingPunct="1">
        <a:lnSpc>
          <a:spcPct val="100000"/>
        </a:lnSpc>
        <a:spcBef>
          <a:spcPts val="300"/>
        </a:spcBef>
        <a:buSzPct val="80000"/>
        <a:buFontTx/>
        <a:buNone/>
        <a:defRPr sz="2399" kern="1200">
          <a:solidFill>
            <a:schemeClr val="tx1"/>
          </a:solidFill>
          <a:latin typeface="+mn-lt"/>
          <a:ea typeface="+mn-ea"/>
          <a:cs typeface="+mn-cs"/>
        </a:defRPr>
      </a:lvl1pPr>
      <a:lvl2pPr marL="251874" indent="-251874" algn="l" defTabSz="1088415" rtl="0" eaLnBrk="1" latinLnBrk="0" hangingPunct="1">
        <a:lnSpc>
          <a:spcPct val="100000"/>
        </a:lnSpc>
        <a:spcBef>
          <a:spcPts val="300"/>
        </a:spcBef>
        <a:buFont typeface="Arial" panose="020B0604020202020204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575712" indent="-251874" algn="l" defTabSz="1088415" rtl="0" eaLnBrk="1" latinLnBrk="0" hangingPunct="1">
        <a:lnSpc>
          <a:spcPct val="100000"/>
        </a:lnSpc>
        <a:spcBef>
          <a:spcPts val="300"/>
        </a:spcBef>
        <a:buClr>
          <a:schemeClr val="tx1"/>
        </a:buClr>
        <a:buFont typeface="Symbol" panose="05050102010706020507" pitchFamily="18" charset="2"/>
        <a:buChar char="-"/>
        <a:defRPr sz="2399" kern="1200">
          <a:solidFill>
            <a:schemeClr val="tx1"/>
          </a:solidFill>
          <a:latin typeface="+mn-lt"/>
          <a:ea typeface="+mn-ea"/>
          <a:cs typeface="+mn-cs"/>
        </a:defRPr>
      </a:lvl3pPr>
      <a:lvl4pPr marL="899550" indent="-251874" algn="l" defTabSz="1088415" rtl="0" eaLnBrk="1" latinLnBrk="0" hangingPunct="1">
        <a:lnSpc>
          <a:spcPct val="100000"/>
        </a:lnSpc>
        <a:spcBef>
          <a:spcPts val="300"/>
        </a:spcBef>
        <a:buFont typeface="Symbol" panose="05050102010706020507" pitchFamily="18" charset="2"/>
        <a:buChar char="-"/>
        <a:defRPr sz="2399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223388" indent="-251874" algn="l" defTabSz="1088415" rtl="0" eaLnBrk="1" latinLnBrk="0" hangingPunct="1">
        <a:lnSpc>
          <a:spcPct val="100000"/>
        </a:lnSpc>
        <a:spcBef>
          <a:spcPts val="300"/>
        </a:spcBef>
        <a:buFont typeface="Symbol" panose="05050102010706020507" pitchFamily="18" charset="2"/>
        <a:buChar char="-"/>
        <a:defRPr sz="2399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1007496" indent="-251874" algn="l" defTabSz="1088415" rtl="0" eaLnBrk="1" latinLnBrk="0" hangingPunct="1">
        <a:lnSpc>
          <a:spcPts val="3198"/>
        </a:lnSpc>
        <a:spcBef>
          <a:spcPts val="0"/>
        </a:spcBef>
        <a:buFont typeface="Symbol" panose="05050102010706020507" pitchFamily="18" charset="2"/>
        <a:buChar char="-"/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sz="2399" kern="1200">
          <a:solidFill>
            <a:schemeClr val="accent2"/>
          </a:solidFill>
          <a:latin typeface="+mn-lt"/>
          <a:ea typeface="+mn-ea"/>
          <a:cs typeface="+mn-cs"/>
        </a:defRPr>
      </a:lvl7pPr>
      <a:lvl8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sz="2399" kern="1200">
          <a:solidFill>
            <a:schemeClr val="accent2"/>
          </a:solidFill>
          <a:latin typeface="+mn-lt"/>
          <a:ea typeface="+mn-ea"/>
          <a:cs typeface="+mn-cs"/>
        </a:defRPr>
      </a:lvl8pPr>
      <a:lvl9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sz="2399" kern="1200">
          <a:solidFill>
            <a:schemeClr val="accent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1pPr>
      <a:lvl2pPr marL="544207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2pPr>
      <a:lvl3pPr marL="1088415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3pPr>
      <a:lvl4pPr marL="1632621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4pPr>
      <a:lvl5pPr marL="2176829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5pPr>
      <a:lvl6pPr marL="2721036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6pPr>
      <a:lvl7pPr marL="3265244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7pPr>
      <a:lvl8pPr marL="3809450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8pPr>
      <a:lvl9pPr marL="4353658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5"/>
            </p:custDataLst>
            <p:extLst/>
          </p:nvPr>
        </p:nvGraphicFramePr>
        <p:xfrm>
          <a:off x="1588" y="1588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0242" name="think-cell スライド" r:id="rId16" imgW="270" imgH="270" progId="TCLayout.ActiveDocument.1">
                  <p:embed/>
                </p:oleObj>
              </mc:Choice>
              <mc:Fallback>
                <p:oleObj name="think-cell スライド" r:id="rId16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Daimler AG (Wortmarke)"/>
          <p:cNvSpPr>
            <a:spLocks noChangeArrowheads="1"/>
          </p:cNvSpPr>
          <p:nvPr/>
        </p:nvSpPr>
        <p:spPr bwMode="auto">
          <a:xfrm>
            <a:off x="629672" y="6564880"/>
            <a:ext cx="2086913" cy="2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r>
              <a:rPr lang="en-US" sz="1199" dirty="0" smtClean="0">
                <a:latin typeface="+mn-lt"/>
                <a:cs typeface="Daimler CS"/>
              </a:rPr>
              <a:t>Daimler AG</a:t>
            </a:r>
            <a:endParaRPr lang="en-US" sz="1199" dirty="0">
              <a:latin typeface="+mn-lt"/>
              <a:cs typeface="Daimler CS"/>
            </a:endParaRPr>
          </a:p>
        </p:txBody>
      </p:sp>
      <p:cxnSp>
        <p:nvCxnSpPr>
          <p:cNvPr id="14" name="Footerline"/>
          <p:cNvCxnSpPr/>
          <p:nvPr/>
        </p:nvCxnSpPr>
        <p:spPr bwMode="auto">
          <a:xfrm>
            <a:off x="629671" y="6487838"/>
            <a:ext cx="10931107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30117" y="1504603"/>
            <a:ext cx="10930387" cy="487567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 24 pt. (Mark-ups in Bold)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dirty="0" smtClean="0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28324" y="285982"/>
            <a:ext cx="10932454" cy="11517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 smtClean="0"/>
              <a:t>Headline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 35 pt.</a:t>
            </a:r>
            <a:br>
              <a:rPr lang="en-US" noProof="0" dirty="0" smtClean="0"/>
            </a:br>
            <a:r>
              <a:rPr lang="en-US" noProof="0" dirty="0" smtClean="0"/>
              <a:t>in two lines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11056718" y="6564880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10" name="Picture 3" descr="C:\Users\rajarrv\AppData\Local\Microsoft\Windows\Temporary Internet Files\Content.Outlook\3CY2KM7L\B-No Background FORCE LOGO.png"/>
          <p:cNvPicPr>
            <a:picLocks noChangeAspect="1" noChangeArrowheads="1"/>
          </p:cNvPicPr>
          <p:nvPr/>
        </p:nvPicPr>
        <p:blipFill rotWithShape="1"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739834" y="0"/>
            <a:ext cx="1452166" cy="4148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963324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5" r:id="rId1"/>
    <p:sldLayoutId id="2147483756" r:id="rId2"/>
    <p:sldLayoutId id="2147483757" r:id="rId3"/>
    <p:sldLayoutId id="2147483758" r:id="rId4"/>
    <p:sldLayoutId id="2147483759" r:id="rId5"/>
    <p:sldLayoutId id="2147483760" r:id="rId6"/>
    <p:sldLayoutId id="2147483761" r:id="rId7"/>
    <p:sldLayoutId id="2147483762" r:id="rId8"/>
    <p:sldLayoutId id="2147483763" r:id="rId9"/>
    <p:sldLayoutId id="2147483764" r:id="rId10"/>
    <p:sldLayoutId id="2147483765" r:id="rId11"/>
    <p:sldLayoutId id="2147483766" r:id="rId12"/>
  </p:sldLayoutIdLst>
  <p:timing>
    <p:tnLst>
      <p:par>
        <p:cTn id="1" dur="indefinite" restart="never" nodeType="tmRoot"/>
      </p:par>
    </p:tnLst>
  </p:timing>
  <p:hf hdr="0" dt="0"/>
  <p:txStyles>
    <p:titleStyle>
      <a:lvl1pPr marL="0" indent="0" algn="l" defTabSz="1088415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3498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088415" rtl="0" eaLnBrk="1" latinLnBrk="0" hangingPunct="1">
        <a:lnSpc>
          <a:spcPct val="100000"/>
        </a:lnSpc>
        <a:spcBef>
          <a:spcPts val="300"/>
        </a:spcBef>
        <a:buSzPct val="80000"/>
        <a:buFontTx/>
        <a:buNone/>
        <a:defRPr sz="2399" kern="1200">
          <a:solidFill>
            <a:schemeClr val="tx1"/>
          </a:solidFill>
          <a:latin typeface="+mn-lt"/>
          <a:ea typeface="+mn-ea"/>
          <a:cs typeface="+mn-cs"/>
        </a:defRPr>
      </a:lvl1pPr>
      <a:lvl2pPr marL="251874" indent="-251874" algn="l" defTabSz="1088415" rtl="0" eaLnBrk="1" latinLnBrk="0" hangingPunct="1">
        <a:lnSpc>
          <a:spcPct val="100000"/>
        </a:lnSpc>
        <a:spcBef>
          <a:spcPts val="300"/>
        </a:spcBef>
        <a:buFont typeface="Arial" panose="020B0604020202020204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575712" indent="-251874" algn="l" defTabSz="1088415" rtl="0" eaLnBrk="1" latinLnBrk="0" hangingPunct="1">
        <a:lnSpc>
          <a:spcPct val="100000"/>
        </a:lnSpc>
        <a:spcBef>
          <a:spcPts val="300"/>
        </a:spcBef>
        <a:buClr>
          <a:schemeClr val="tx1"/>
        </a:buClr>
        <a:buFont typeface="Symbol" panose="05050102010706020507" pitchFamily="18" charset="2"/>
        <a:buChar char="-"/>
        <a:defRPr sz="2399" kern="1200">
          <a:solidFill>
            <a:schemeClr val="tx1"/>
          </a:solidFill>
          <a:latin typeface="+mn-lt"/>
          <a:ea typeface="+mn-ea"/>
          <a:cs typeface="+mn-cs"/>
        </a:defRPr>
      </a:lvl3pPr>
      <a:lvl4pPr marL="899550" indent="-251874" algn="l" defTabSz="1088415" rtl="0" eaLnBrk="1" latinLnBrk="0" hangingPunct="1">
        <a:lnSpc>
          <a:spcPct val="100000"/>
        </a:lnSpc>
        <a:spcBef>
          <a:spcPts val="300"/>
        </a:spcBef>
        <a:buFont typeface="Symbol" panose="05050102010706020507" pitchFamily="18" charset="2"/>
        <a:buChar char="-"/>
        <a:defRPr sz="2399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223388" indent="-251874" algn="l" defTabSz="1088415" rtl="0" eaLnBrk="1" latinLnBrk="0" hangingPunct="1">
        <a:lnSpc>
          <a:spcPct val="100000"/>
        </a:lnSpc>
        <a:spcBef>
          <a:spcPts val="300"/>
        </a:spcBef>
        <a:buFont typeface="Symbol" panose="05050102010706020507" pitchFamily="18" charset="2"/>
        <a:buChar char="-"/>
        <a:defRPr sz="2399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1007496" indent="-251874" algn="l" defTabSz="1088415" rtl="0" eaLnBrk="1" latinLnBrk="0" hangingPunct="1">
        <a:lnSpc>
          <a:spcPts val="3198"/>
        </a:lnSpc>
        <a:spcBef>
          <a:spcPts val="0"/>
        </a:spcBef>
        <a:buFont typeface="Symbol" panose="05050102010706020507" pitchFamily="18" charset="2"/>
        <a:buChar char="-"/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sz="2399" kern="1200">
          <a:solidFill>
            <a:schemeClr val="accent2"/>
          </a:solidFill>
          <a:latin typeface="+mn-lt"/>
          <a:ea typeface="+mn-ea"/>
          <a:cs typeface="+mn-cs"/>
        </a:defRPr>
      </a:lvl7pPr>
      <a:lvl8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sz="2399" kern="1200">
          <a:solidFill>
            <a:schemeClr val="accent2"/>
          </a:solidFill>
          <a:latin typeface="+mn-lt"/>
          <a:ea typeface="+mn-ea"/>
          <a:cs typeface="+mn-cs"/>
        </a:defRPr>
      </a:lvl8pPr>
      <a:lvl9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sz="2399" kern="1200">
          <a:solidFill>
            <a:schemeClr val="accent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1pPr>
      <a:lvl2pPr marL="544207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2pPr>
      <a:lvl3pPr marL="1088415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3pPr>
      <a:lvl4pPr marL="1632621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4pPr>
      <a:lvl5pPr marL="2176829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5pPr>
      <a:lvl6pPr marL="2721036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6pPr>
      <a:lvl7pPr marL="3265244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7pPr>
      <a:lvl8pPr marL="3809450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8pPr>
      <a:lvl9pPr marL="4353658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Rectangle 11" hidden="1"/>
          <p:cNvGraphicFramePr>
            <a:graphicFrameLocks/>
          </p:cNvGraphicFramePr>
          <p:nvPr>
            <p:custDataLst>
              <p:tags r:id="rId18"/>
            </p:custDataLst>
          </p:nvPr>
        </p:nvGraphicFramePr>
        <p:xfrm>
          <a:off x="0" y="1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4338" name="think-cell スライド" r:id="rId24" imgW="0" imgH="0" progId="TCLayout.ActiveDocument.1">
                  <p:embed/>
                </p:oleObj>
              </mc:Choice>
              <mc:Fallback>
                <p:oleObj name="think-cell スライド" r:id="rId24" imgW="0" imgH="0" progId="TCLayout.ActiveDocument.1">
                  <p:embed/>
                  <p:pic>
                    <p:nvPicPr>
                      <p:cNvPr id="1026" name="Rectangle 1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Rectangle 2"/>
          <p:cNvSpPr>
            <a:spLocks noGrp="1" noChangeArrowheads="1"/>
          </p:cNvSpPr>
          <p:nvPr>
            <p:ph type="body" idx="1"/>
            <p:custDataLst>
              <p:tags r:id="rId19"/>
            </p:custDataLst>
          </p:nvPr>
        </p:nvSpPr>
        <p:spPr bwMode="auto">
          <a:xfrm>
            <a:off x="527052" y="1543050"/>
            <a:ext cx="11137900" cy="4910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ifth level</a:t>
            </a:r>
          </a:p>
          <a:p>
            <a:pPr lvl="4"/>
            <a:r>
              <a:rPr lang="en-US" altLang="en-US" smtClean="0"/>
              <a:t>Sixth level</a:t>
            </a:r>
          </a:p>
          <a:p>
            <a:pPr lvl="1"/>
            <a:endParaRPr lang="en-US" altLang="en-US" smtClean="0"/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title"/>
            <p:custDataLst>
              <p:tags r:id="rId20"/>
            </p:custDataLst>
          </p:nvPr>
        </p:nvSpPr>
        <p:spPr bwMode="auto">
          <a:xfrm>
            <a:off x="527052" y="730250"/>
            <a:ext cx="11137900" cy="812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AFBFD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43180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1029" name="Line 4"/>
          <p:cNvSpPr>
            <a:spLocks noChangeShapeType="1"/>
          </p:cNvSpPr>
          <p:nvPr>
            <p:custDataLst>
              <p:tags r:id="rId21"/>
            </p:custDataLst>
          </p:nvPr>
        </p:nvSpPr>
        <p:spPr bwMode="auto">
          <a:xfrm>
            <a:off x="334434" y="593725"/>
            <a:ext cx="11523133" cy="1588"/>
          </a:xfrm>
          <a:prstGeom prst="line">
            <a:avLst/>
          </a:prstGeom>
          <a:noFill/>
          <a:ln w="635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2099" dirty="0"/>
          </a:p>
        </p:txBody>
      </p:sp>
      <p:pic>
        <p:nvPicPr>
          <p:cNvPr id="1030" name="Picture 5" descr="Daimler_Logotype_042_CO"/>
          <p:cNvPicPr>
            <a:picLocks noChangeAspect="1" noChangeArrowheads="1"/>
          </p:cNvPicPr>
          <p:nvPr>
            <p:custDataLst>
              <p:tags r:id="rId22"/>
            </p:custDataLst>
          </p:nvPr>
        </p:nvPicPr>
        <p:blipFill>
          <a:blip r:embed="rId2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7418" y="176213"/>
            <a:ext cx="2080682" cy="24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88103" name="Rectangle 7"/>
          <p:cNvSpPr>
            <a:spLocks noGrp="1" noChangeArrowheads="1"/>
          </p:cNvSpPr>
          <p:nvPr>
            <p:ph type="sldNum" sz="quarter" idx="4"/>
            <p:custDataLst>
              <p:tags r:id="rId23"/>
            </p:custDataLst>
          </p:nvPr>
        </p:nvSpPr>
        <p:spPr bwMode="auto">
          <a:xfrm>
            <a:off x="9611784" y="6694488"/>
            <a:ext cx="2393949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 eaLnBrk="0" hangingPunct="0">
              <a:lnSpc>
                <a:spcPct val="90000"/>
              </a:lnSpc>
              <a:spcAft>
                <a:spcPct val="50000"/>
              </a:spcAft>
              <a:defRPr sz="900" smtClean="0"/>
            </a:lvl1pPr>
          </a:lstStyle>
          <a:p>
            <a:pPr>
              <a:defRPr/>
            </a:pPr>
            <a:fld id="{A454B0BA-2DC1-47F9-A9C8-4CB3D02AD1C1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388108" name="Rectangle 12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27052" y="6692901"/>
            <a:ext cx="5566834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eaLnBrk="0" hangingPunct="0">
              <a:lnSpc>
                <a:spcPct val="90000"/>
              </a:lnSpc>
              <a:spcAft>
                <a:spcPct val="50000"/>
              </a:spcAft>
              <a:defRPr sz="900" smtClean="0"/>
            </a:lvl1pPr>
          </a:lstStyle>
          <a:p>
            <a:pPr>
              <a:defRPr/>
            </a:pPr>
            <a:r>
              <a:rPr lang="en-US" altLang="en-US" dirty="0" err="1"/>
              <a:t>cbFC</a:t>
            </a:r>
            <a:r>
              <a:rPr lang="en-US" altLang="en-US" dirty="0"/>
              <a:t> -  Rollout_TestConcept.ppt  - DMS #</a:t>
            </a:r>
          </a:p>
        </p:txBody>
      </p:sp>
    </p:spTree>
    <p:extLst>
      <p:ext uri="{BB962C8B-B14F-4D97-AF65-F5344CB8AC3E}">
        <p14:creationId xmlns:p14="http://schemas.microsoft.com/office/powerpoint/2010/main" val="11918039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8" r:id="rId1"/>
    <p:sldLayoutId id="2147483769" r:id="rId2"/>
    <p:sldLayoutId id="2147483770" r:id="rId3"/>
    <p:sldLayoutId id="2147483771" r:id="rId4"/>
    <p:sldLayoutId id="2147483772" r:id="rId5"/>
    <p:sldLayoutId id="2147483773" r:id="rId6"/>
    <p:sldLayoutId id="2147483774" r:id="rId7"/>
    <p:sldLayoutId id="2147483775" r:id="rId8"/>
    <p:sldLayoutId id="2147483776" r:id="rId9"/>
    <p:sldLayoutId id="2147483777" r:id="rId10"/>
    <p:sldLayoutId id="2147483778" r:id="rId11"/>
    <p:sldLayoutId id="2147483779" r:id="rId12"/>
    <p:sldLayoutId id="2147483780" r:id="rId13"/>
    <p:sldLayoutId id="2147483781" r:id="rId14"/>
    <p:sldLayoutId id="2147483782" r:id="rId15"/>
  </p:sldLayoutIdLst>
  <p:hf hdr="0" dt="0"/>
  <p:txStyles>
    <p:titleStyle>
      <a:lvl1pPr algn="l" rtl="0" eaLnBrk="1" fontAlgn="base" hangingPunct="1">
        <a:lnSpc>
          <a:spcPts val="2999"/>
        </a:lnSpc>
        <a:spcBef>
          <a:spcPct val="0"/>
        </a:spcBef>
        <a:spcAft>
          <a:spcPct val="0"/>
        </a:spcAft>
        <a:defRPr sz="2800" b="1" kern="1200">
          <a:solidFill>
            <a:schemeClr val="bg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ts val="2999"/>
        </a:lnSpc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CorpoS" pitchFamily="2" charset="0"/>
        </a:defRPr>
      </a:lvl2pPr>
      <a:lvl3pPr algn="l" rtl="0" eaLnBrk="1" fontAlgn="base" hangingPunct="1">
        <a:lnSpc>
          <a:spcPts val="2999"/>
        </a:lnSpc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CorpoS" pitchFamily="2" charset="0"/>
        </a:defRPr>
      </a:lvl3pPr>
      <a:lvl4pPr algn="l" rtl="0" eaLnBrk="1" fontAlgn="base" hangingPunct="1">
        <a:lnSpc>
          <a:spcPts val="2999"/>
        </a:lnSpc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CorpoS" pitchFamily="2" charset="0"/>
        </a:defRPr>
      </a:lvl4pPr>
      <a:lvl5pPr algn="l" rtl="0" eaLnBrk="1" fontAlgn="base" hangingPunct="1">
        <a:lnSpc>
          <a:spcPts val="2999"/>
        </a:lnSpc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CorpoS" pitchFamily="2" charset="0"/>
        </a:defRPr>
      </a:lvl5pPr>
      <a:lvl6pPr marL="457062" algn="l" rtl="0" eaLnBrk="1" fontAlgn="base" hangingPunct="1">
        <a:lnSpc>
          <a:spcPts val="2999"/>
        </a:lnSpc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CorpoS" pitchFamily="2" charset="0"/>
        </a:defRPr>
      </a:lvl6pPr>
      <a:lvl7pPr marL="914126" algn="l" rtl="0" eaLnBrk="1" fontAlgn="base" hangingPunct="1">
        <a:lnSpc>
          <a:spcPts val="2999"/>
        </a:lnSpc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CorpoS" pitchFamily="2" charset="0"/>
        </a:defRPr>
      </a:lvl7pPr>
      <a:lvl8pPr marL="1371188" algn="l" rtl="0" eaLnBrk="1" fontAlgn="base" hangingPunct="1">
        <a:lnSpc>
          <a:spcPts val="2999"/>
        </a:lnSpc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CorpoS" pitchFamily="2" charset="0"/>
        </a:defRPr>
      </a:lvl8pPr>
      <a:lvl9pPr marL="1828251" algn="l" rtl="0" eaLnBrk="1" fontAlgn="base" hangingPunct="1">
        <a:lnSpc>
          <a:spcPts val="2999"/>
        </a:lnSpc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CorpoS" pitchFamily="2" charset="0"/>
        </a:defRPr>
      </a:lvl9pPr>
    </p:titleStyle>
    <p:bodyStyle>
      <a:lvl1pPr marL="182509" indent="-182509" algn="l" rtl="0" eaLnBrk="1" fontAlgn="base" hangingPunct="1">
        <a:lnSpc>
          <a:spcPct val="108000"/>
        </a:lnSpc>
        <a:spcBef>
          <a:spcPct val="0"/>
        </a:spcBef>
        <a:spcAft>
          <a:spcPct val="42000"/>
        </a:spcAft>
        <a:buSzPct val="7500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1pPr>
      <a:lvl2pPr marL="542762" indent="-180920" algn="l" rtl="0" eaLnBrk="1" fontAlgn="base" hangingPunct="1">
        <a:lnSpc>
          <a:spcPts val="1899"/>
        </a:lnSpc>
        <a:spcBef>
          <a:spcPct val="0"/>
        </a:spcBef>
        <a:spcAft>
          <a:spcPct val="42000"/>
        </a:spcAft>
        <a:buSzPct val="7500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901429" indent="-179334" algn="l" rtl="0" eaLnBrk="1" fontAlgn="base" hangingPunct="1">
        <a:lnSpc>
          <a:spcPts val="1899"/>
        </a:lnSpc>
        <a:spcBef>
          <a:spcPct val="0"/>
        </a:spcBef>
        <a:spcAft>
          <a:spcPct val="42000"/>
        </a:spcAft>
        <a:buSzPct val="7500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3pPr>
      <a:lvl4pPr marL="1261684" indent="-180920" algn="l" rtl="0" eaLnBrk="1" fontAlgn="base" hangingPunct="1">
        <a:lnSpc>
          <a:spcPts val="1899"/>
        </a:lnSpc>
        <a:spcBef>
          <a:spcPct val="0"/>
        </a:spcBef>
        <a:spcAft>
          <a:spcPct val="42000"/>
        </a:spcAft>
        <a:buSzPct val="7500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1621938" indent="-180920" algn="l" rtl="0" eaLnBrk="1" fontAlgn="base" hangingPunct="1">
        <a:lnSpc>
          <a:spcPts val="1899"/>
        </a:lnSpc>
        <a:spcBef>
          <a:spcPct val="0"/>
        </a:spcBef>
        <a:spcAft>
          <a:spcPct val="42000"/>
        </a:spcAft>
        <a:buSzPct val="7500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3845" indent="-228532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908" indent="-228532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1" indent="-228532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2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2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8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39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7764" y="365041"/>
            <a:ext cx="10516473" cy="132525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7764" y="1825203"/>
            <a:ext cx="10516473" cy="435191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7764" y="6356467"/>
            <a:ext cx="2743359" cy="3650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D5BBD76-BCAD-44A4-8B9A-163664423135}" type="datetimeFigureOut">
              <a:rPr lang="en-US" smtClean="0"/>
              <a:t>10/2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085" y="6356467"/>
            <a:ext cx="4115831" cy="3650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99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879" y="6356467"/>
            <a:ext cx="2743358" cy="3650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99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AB2E890-DB2E-438F-ACCC-2590BA764B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99754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4" r:id="rId1"/>
    <p:sldLayoutId id="2147483785" r:id="rId2"/>
    <p:sldLayoutId id="2147483786" r:id="rId3"/>
    <p:sldLayoutId id="2147483787" r:id="rId4"/>
    <p:sldLayoutId id="2147483788" r:id="rId5"/>
    <p:sldLayoutId id="2147483789" r:id="rId6"/>
    <p:sldLayoutId id="2147483790" r:id="rId7"/>
    <p:sldLayoutId id="2147483791" r:id="rId8"/>
    <p:sldLayoutId id="2147483792" r:id="rId9"/>
    <p:sldLayoutId id="2147483793" r:id="rId10"/>
    <p:sldLayoutId id="2147483794" r:id="rId11"/>
  </p:sldLayoutIdLst>
  <p:txStyles>
    <p:titleStyle>
      <a:lvl1pPr algn="l" defTabSz="913943" rtl="0" eaLnBrk="1" latinLnBrk="0" hangingPunct="1">
        <a:lnSpc>
          <a:spcPct val="90000"/>
        </a:lnSpc>
        <a:spcBef>
          <a:spcPct val="0"/>
        </a:spcBef>
        <a:buNone/>
        <a:defRPr sz="439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486" indent="-228486" algn="l" defTabSz="913943" rtl="0" eaLnBrk="1" latinLnBrk="0" hangingPunct="1">
        <a:lnSpc>
          <a:spcPct val="90000"/>
        </a:lnSpc>
        <a:spcBef>
          <a:spcPts val="999"/>
        </a:spcBef>
        <a:buFont typeface="Arial" panose="020B0604020202020204" pitchFamily="34" charset="0"/>
        <a:buChar char="•"/>
        <a:defRPr sz="2799" kern="1200">
          <a:solidFill>
            <a:schemeClr val="tx1"/>
          </a:solidFill>
          <a:latin typeface="+mn-lt"/>
          <a:ea typeface="+mn-ea"/>
          <a:cs typeface="+mn-cs"/>
        </a:defRPr>
      </a:lvl1pPr>
      <a:lvl2pPr marL="685457" indent="-228486" algn="l" defTabSz="91394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142429" indent="-228486" algn="l" defTabSz="91394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3pPr>
      <a:lvl4pPr marL="1599400" indent="-228486" algn="l" defTabSz="91394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2056371" indent="-228486" algn="l" defTabSz="91394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513343" indent="-228486" algn="l" defTabSz="91394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314" indent="-228486" algn="l" defTabSz="91394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286" indent="-228486" algn="l" defTabSz="91394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4257" indent="-228486" algn="l" defTabSz="91394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Daimler AG (Wortmarke)"/>
          <p:cNvSpPr>
            <a:spLocks noChangeArrowheads="1"/>
          </p:cNvSpPr>
          <p:nvPr/>
        </p:nvSpPr>
        <p:spPr bwMode="auto">
          <a:xfrm>
            <a:off x="629674" y="6564880"/>
            <a:ext cx="2086913" cy="2159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 defTabSz="1083069">
              <a:defRPr/>
            </a:pPr>
            <a:r>
              <a:rPr lang="en-GB" sz="1199" dirty="0" smtClean="0">
                <a:solidFill>
                  <a:prstClr val="black"/>
                </a:solidFill>
                <a:latin typeface="CorpoS"/>
                <a:cs typeface="Daimler CS"/>
              </a:rPr>
              <a:t>Daimler Trucks Asia</a:t>
            </a:r>
            <a:endParaRPr lang="en-GB" sz="1199" dirty="0">
              <a:solidFill>
                <a:prstClr val="black"/>
              </a:solidFill>
              <a:latin typeface="CorpoS"/>
              <a:cs typeface="Daimler CS"/>
            </a:endParaRPr>
          </a:p>
        </p:txBody>
      </p:sp>
      <p:cxnSp>
        <p:nvCxnSpPr>
          <p:cNvPr id="14" name="Footerline"/>
          <p:cNvCxnSpPr/>
          <p:nvPr/>
        </p:nvCxnSpPr>
        <p:spPr bwMode="auto">
          <a:xfrm>
            <a:off x="629671" y="6487838"/>
            <a:ext cx="10931107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30117" y="1504606"/>
            <a:ext cx="10930387" cy="487567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GB" dirty="0" smtClean="0"/>
              <a:t>Insert text in </a:t>
            </a:r>
            <a:r>
              <a:rPr lang="en-GB" noProof="0" dirty="0" smtClean="0"/>
              <a:t>CorpoS (Body) 24 pt. (Mark-ups in Bold) </a:t>
            </a:r>
            <a:r>
              <a:rPr lang="en-GB" dirty="0" smtClean="0"/>
              <a:t>// for conclusion</a:t>
            </a:r>
            <a:r>
              <a:rPr lang="en-GB" noProof="0" dirty="0" smtClean="0"/>
              <a:t>, summary or short highlight</a:t>
            </a:r>
            <a:r>
              <a:rPr lang="en-GB" dirty="0" smtClean="0"/>
              <a:t>: Home // Paragraph// Increase Li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 (Conclusion, summary or short highlight)</a:t>
            </a:r>
          </a:p>
          <a:p>
            <a:pPr lvl="4"/>
            <a:r>
              <a:rPr lang="en-GB" dirty="0" smtClean="0"/>
              <a:t>Fifth level</a:t>
            </a:r>
          </a:p>
          <a:p>
            <a:pPr lvl="5"/>
            <a:r>
              <a:rPr lang="en-GB" dirty="0" smtClean="0"/>
              <a:t>Sixth level</a:t>
            </a:r>
          </a:p>
          <a:p>
            <a:pPr lvl="6"/>
            <a:r>
              <a:rPr lang="en-GB" dirty="0" smtClean="0"/>
              <a:t>Sevens level</a:t>
            </a:r>
          </a:p>
          <a:p>
            <a:pPr lvl="7"/>
            <a:r>
              <a:rPr lang="en-GB" dirty="0" smtClean="0"/>
              <a:t>Eight level</a:t>
            </a:r>
          </a:p>
          <a:p>
            <a:pPr lvl="8"/>
            <a:r>
              <a:rPr lang="en-GB" dirty="0" smtClean="0"/>
              <a:t>Ninth level</a:t>
            </a: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28358" y="285982"/>
            <a:ext cx="10932455" cy="11517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 dirty="0" smtClean="0"/>
              <a:t>Headline in CorpoS (Body) 35 pt.</a:t>
            </a:r>
            <a:br>
              <a:rPr lang="en-GB" noProof="0" dirty="0" smtClean="0"/>
            </a:br>
            <a:r>
              <a:rPr lang="en-GB" noProof="0" dirty="0" smtClean="0"/>
              <a:t>in two line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78500" y="6564880"/>
            <a:ext cx="8120970" cy="215949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r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199">
                <a:latin typeface="+mn-lt"/>
              </a:defRPr>
            </a:lvl2pPr>
            <a:lvl3pPr marL="0" indent="0" algn="r">
              <a:spcBef>
                <a:spcPts val="0"/>
              </a:spcBef>
              <a:defRPr sz="1199">
                <a:latin typeface="+mn-lt"/>
              </a:defRPr>
            </a:lvl3pPr>
            <a:lvl4pPr marL="0" indent="0" algn="r">
              <a:spcBef>
                <a:spcPts val="0"/>
              </a:spcBef>
              <a:defRPr sz="1199">
                <a:latin typeface="+mn-lt"/>
              </a:defRPr>
            </a:lvl4pPr>
            <a:lvl5pPr marL="0" indent="0" algn="r">
              <a:spcBef>
                <a:spcPts val="0"/>
              </a:spcBef>
              <a:defRPr sz="1199">
                <a:latin typeface="+mn-lt"/>
              </a:defRPr>
            </a:lvl5pPr>
            <a:lvl6pPr marL="0" indent="0" algn="r">
              <a:spcBef>
                <a:spcPts val="0"/>
              </a:spcBef>
              <a:defRPr sz="1199">
                <a:latin typeface="+mn-lt"/>
              </a:defRPr>
            </a:lvl6pPr>
            <a:lvl7pPr marL="0" indent="0" algn="r">
              <a:spcBef>
                <a:spcPts val="0"/>
              </a:spcBef>
              <a:defRPr sz="1199">
                <a:latin typeface="+mn-lt"/>
              </a:defRPr>
            </a:lvl7pPr>
            <a:lvl8pPr marL="0" indent="0" algn="r">
              <a:spcBef>
                <a:spcPts val="0"/>
              </a:spcBef>
              <a:defRPr sz="1199">
                <a:latin typeface="+mn-lt"/>
              </a:defRPr>
            </a:lvl8pPr>
            <a:lvl9pPr marL="0" indent="0" algn="r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defTabSz="1083069"/>
            <a:endParaRPr lang="en-GB" dirty="0" smtClean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6" y="6564880"/>
            <a:ext cx="523975" cy="215949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 defTabSz="1083069"/>
            <a:r>
              <a:rPr lang="en-GB" smtClean="0">
                <a:solidFill>
                  <a:prstClr val="black"/>
                </a:solidFill>
              </a:rPr>
              <a:t> </a:t>
            </a:r>
            <a:fld id="{52531704-8F80-415D-BD2B-6B9991AE822F}" type="slidenum">
              <a:rPr lang="en-GB" smtClean="0">
                <a:solidFill>
                  <a:prstClr val="black"/>
                </a:solidFill>
              </a:rPr>
              <a:pPr algn="r" defTabSz="1083069"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51780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6" r:id="rId1"/>
    <p:sldLayoutId id="2147483797" r:id="rId2"/>
    <p:sldLayoutId id="2147483798" r:id="rId3"/>
    <p:sldLayoutId id="2147483799" r:id="rId4"/>
    <p:sldLayoutId id="2147483800" r:id="rId5"/>
    <p:sldLayoutId id="2147483801" r:id="rId6"/>
    <p:sldLayoutId id="2147483802" r:id="rId7"/>
    <p:sldLayoutId id="2147483803" r:id="rId8"/>
    <p:sldLayoutId id="2147483804" r:id="rId9"/>
    <p:sldLayoutId id="2147483805" r:id="rId10"/>
    <p:sldLayoutId id="2147483806" r:id="rId11"/>
    <p:sldLayoutId id="2147483807" r:id="rId12"/>
    <p:sldLayoutId id="2147483808" r:id="rId13"/>
    <p:sldLayoutId id="2147483809" r:id="rId14"/>
    <p:sldLayoutId id="2147483810" r:id="rId15"/>
    <p:sldLayoutId id="2147483811" r:id="rId16"/>
    <p:sldLayoutId id="2147483812" r:id="rId17"/>
    <p:sldLayoutId id="2147483813" r:id="rId18"/>
    <p:sldLayoutId id="2147483814" r:id="rId19"/>
  </p:sldLayoutIdLst>
  <p:timing>
    <p:tnLst>
      <p:par>
        <p:cTn id="1" dur="indefinite" restart="never" nodeType="tmRoot"/>
      </p:par>
    </p:tnLst>
  </p:timing>
  <p:hf hdr="0" ftr="0" dt="0"/>
  <p:txStyles>
    <p:titleStyle>
      <a:lvl1pPr marL="0" indent="0" algn="l" defTabSz="1083069" rtl="0" eaLnBrk="1" latinLnBrk="0" hangingPunct="1">
        <a:lnSpc>
          <a:spcPts val="3996"/>
        </a:lnSpc>
        <a:spcBef>
          <a:spcPts val="0"/>
        </a:spcBef>
        <a:buFont typeface="Arial" panose="020B0604020202020204" pitchFamily="34" charset="0"/>
        <a:buNone/>
        <a:defRPr sz="3465" kern="1200" baseline="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236303" indent="-236303" algn="l" defTabSz="1083069" rtl="0" eaLnBrk="1" latinLnBrk="0" hangingPunct="1">
        <a:lnSpc>
          <a:spcPts val="3197"/>
        </a:lnSpc>
        <a:spcBef>
          <a:spcPts val="0"/>
        </a:spcBef>
        <a:buSzPct val="80000"/>
        <a:buFont typeface="Arial" panose="020B0604020202020204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1pPr>
      <a:lvl2pPr marL="472629" indent="-236303" algn="l" defTabSz="1083069" rtl="0" eaLnBrk="1" latinLnBrk="0" hangingPunct="1">
        <a:lnSpc>
          <a:spcPts val="3197"/>
        </a:lnSpc>
        <a:spcBef>
          <a:spcPts val="0"/>
        </a:spcBef>
        <a:buSzPct val="80000"/>
        <a:buFont typeface="Arial" panose="020B0604020202020204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708944" indent="-236303" algn="l" defTabSz="1083069" rtl="0" eaLnBrk="1" latinLnBrk="0" hangingPunct="1">
        <a:lnSpc>
          <a:spcPts val="3197"/>
        </a:lnSpc>
        <a:spcBef>
          <a:spcPts val="0"/>
        </a:spcBef>
        <a:buSzPct val="80000"/>
        <a:buFont typeface="Arial" panose="020B0604020202020204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1083069" rtl="0" eaLnBrk="1" latinLnBrk="0" hangingPunct="1">
        <a:lnSpc>
          <a:spcPts val="3197"/>
        </a:lnSpc>
        <a:spcBef>
          <a:spcPts val="0"/>
        </a:spcBef>
        <a:buFont typeface="Arial" panose="020B0604020202020204" pitchFamily="34" charset="0"/>
        <a:buNone/>
        <a:defRPr sz="2399" kern="1200">
          <a:solidFill>
            <a:schemeClr val="accent2"/>
          </a:solidFill>
          <a:latin typeface="+mn-lt"/>
          <a:ea typeface="+mn-ea"/>
          <a:cs typeface="+mn-cs"/>
        </a:defRPr>
      </a:lvl4pPr>
      <a:lvl5pPr marL="0" indent="0" algn="l" defTabSz="1083069" rtl="0" eaLnBrk="1" latinLnBrk="0" hangingPunct="1">
        <a:lnSpc>
          <a:spcPts val="3197"/>
        </a:lnSpc>
        <a:spcBef>
          <a:spcPts val="0"/>
        </a:spcBef>
        <a:buFont typeface="Arial" panose="020B0604020202020204" pitchFamily="34" charset="0"/>
        <a:buNone/>
        <a:defRPr sz="2399" kern="1200">
          <a:solidFill>
            <a:schemeClr val="accent2"/>
          </a:solidFill>
          <a:latin typeface="+mn-lt"/>
          <a:ea typeface="+mn-ea"/>
          <a:cs typeface="+mn-cs"/>
        </a:defRPr>
      </a:lvl5pPr>
      <a:lvl6pPr marL="0" indent="0" algn="l" defTabSz="1083069" rtl="0" eaLnBrk="1" latinLnBrk="0" hangingPunct="1">
        <a:lnSpc>
          <a:spcPts val="3197"/>
        </a:lnSpc>
        <a:spcBef>
          <a:spcPts val="0"/>
        </a:spcBef>
        <a:buFont typeface="Arial" panose="020B0604020202020204" pitchFamily="34" charset="0"/>
        <a:buNone/>
        <a:defRPr sz="2399" kern="1200">
          <a:solidFill>
            <a:schemeClr val="accent2"/>
          </a:solidFill>
          <a:latin typeface="+mn-lt"/>
          <a:ea typeface="+mn-ea"/>
          <a:cs typeface="+mn-cs"/>
        </a:defRPr>
      </a:lvl6pPr>
      <a:lvl7pPr marL="0" indent="0" algn="l" defTabSz="1083069" rtl="0" eaLnBrk="1" latinLnBrk="0" hangingPunct="1">
        <a:lnSpc>
          <a:spcPts val="3197"/>
        </a:lnSpc>
        <a:spcBef>
          <a:spcPts val="0"/>
        </a:spcBef>
        <a:buFont typeface="Arial" panose="020B0604020202020204" pitchFamily="34" charset="0"/>
        <a:buNone/>
        <a:defRPr sz="2399" kern="1200">
          <a:solidFill>
            <a:schemeClr val="accent2"/>
          </a:solidFill>
          <a:latin typeface="+mn-lt"/>
          <a:ea typeface="+mn-ea"/>
          <a:cs typeface="+mn-cs"/>
        </a:defRPr>
      </a:lvl7pPr>
      <a:lvl8pPr marL="0" indent="0" algn="l" defTabSz="1083069" rtl="0" eaLnBrk="1" latinLnBrk="0" hangingPunct="1">
        <a:lnSpc>
          <a:spcPts val="3197"/>
        </a:lnSpc>
        <a:spcBef>
          <a:spcPts val="0"/>
        </a:spcBef>
        <a:buFont typeface="Arial" panose="020B0604020202020204" pitchFamily="34" charset="0"/>
        <a:buNone/>
        <a:defRPr sz="2399" kern="1200">
          <a:solidFill>
            <a:schemeClr val="accent2"/>
          </a:solidFill>
          <a:latin typeface="+mn-lt"/>
          <a:ea typeface="+mn-ea"/>
          <a:cs typeface="+mn-cs"/>
        </a:defRPr>
      </a:lvl8pPr>
      <a:lvl9pPr marL="0" indent="0" algn="l" defTabSz="1083069" rtl="0" eaLnBrk="1" latinLnBrk="0" hangingPunct="1">
        <a:lnSpc>
          <a:spcPts val="3197"/>
        </a:lnSpc>
        <a:spcBef>
          <a:spcPts val="0"/>
        </a:spcBef>
        <a:buFont typeface="Arial" panose="020B0604020202020204" pitchFamily="34" charset="0"/>
        <a:buNone/>
        <a:defRPr sz="2399" kern="1200">
          <a:solidFill>
            <a:schemeClr val="accent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3069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1527" algn="l" defTabSz="1083069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3069" algn="l" defTabSz="1083069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24601" algn="l" defTabSz="1083069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66139" algn="l" defTabSz="1083069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07675" algn="l" defTabSz="1083069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49209" algn="l" defTabSz="1083069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790746" algn="l" defTabSz="1083069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32284" algn="l" defTabSz="1083069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96">
          <p15:clr>
            <a:srgbClr val="F26B43"/>
          </p15:clr>
        </p15:guide>
        <p15:guide id="2" pos="728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463.xml"/><Relationship Id="rId7" Type="http://schemas.openxmlformats.org/officeDocument/2006/relationships/image" Target="../media/image67.emf"/><Relationship Id="rId2" Type="http://schemas.openxmlformats.org/officeDocument/2006/relationships/tags" Target="../tags/tag462.xml"/><Relationship Id="rId1" Type="http://schemas.openxmlformats.org/officeDocument/2006/relationships/vmlDrawing" Target="../drawings/vmlDrawing259.vml"/><Relationship Id="rId6" Type="http://schemas.openxmlformats.org/officeDocument/2006/relationships/oleObject" Target="../embeddings/oleObject262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79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4.xml"/><Relationship Id="rId2" Type="http://schemas.openxmlformats.org/officeDocument/2006/relationships/tags" Target="../tags/tag466.xml"/><Relationship Id="rId1" Type="http://schemas.openxmlformats.org/officeDocument/2006/relationships/vmlDrawing" Target="../drawings/vmlDrawing262.vml"/><Relationship Id="rId6" Type="http://schemas.openxmlformats.org/officeDocument/2006/relationships/image" Target="../media/image67.emf"/><Relationship Id="rId5" Type="http://schemas.openxmlformats.org/officeDocument/2006/relationships/oleObject" Target="../embeddings/oleObject265.bin"/><Relationship Id="rId4" Type="http://schemas.openxmlformats.org/officeDocument/2006/relationships/notesSlide" Target="../notesSlides/notesSlide10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1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1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8.xml"/><Relationship Id="rId4" Type="http://schemas.openxmlformats.org/officeDocument/2006/relationships/image" Target="../media/image8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8.xml"/><Relationship Id="rId4" Type="http://schemas.openxmlformats.org/officeDocument/2006/relationships/image" Target="../media/image82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8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slideLayout" Target="../slideLayouts/slideLayout78.xml"/><Relationship Id="rId7" Type="http://schemas.openxmlformats.org/officeDocument/2006/relationships/image" Target="../media/image37.png"/><Relationship Id="rId2" Type="http://schemas.openxmlformats.org/officeDocument/2006/relationships/tags" Target="../tags/tag464.xml"/><Relationship Id="rId1" Type="http://schemas.openxmlformats.org/officeDocument/2006/relationships/vmlDrawing" Target="../drawings/vmlDrawing260.vml"/><Relationship Id="rId6" Type="http://schemas.openxmlformats.org/officeDocument/2006/relationships/image" Target="../media/image83.emf"/><Relationship Id="rId5" Type="http://schemas.openxmlformats.org/officeDocument/2006/relationships/oleObject" Target="../embeddings/oleObject263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8.xml"/><Relationship Id="rId4" Type="http://schemas.openxmlformats.org/officeDocument/2006/relationships/image" Target="../media/image25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slideLayout" Target="../slideLayouts/slideLayout78.xml"/><Relationship Id="rId7" Type="http://schemas.openxmlformats.org/officeDocument/2006/relationships/image" Target="../media/image37.png"/><Relationship Id="rId2" Type="http://schemas.openxmlformats.org/officeDocument/2006/relationships/tags" Target="../tags/tag465.xml"/><Relationship Id="rId1" Type="http://schemas.openxmlformats.org/officeDocument/2006/relationships/vmlDrawing" Target="../drawings/vmlDrawing261.vml"/><Relationship Id="rId6" Type="http://schemas.openxmlformats.org/officeDocument/2006/relationships/image" Target="../media/image83.emf"/><Relationship Id="rId5" Type="http://schemas.openxmlformats.org/officeDocument/2006/relationships/oleObject" Target="../embeddings/oleObject264.bin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99833940"/>
              </p:ext>
            </p:extLst>
          </p:nvPr>
        </p:nvGraphicFramePr>
        <p:xfrm>
          <a:off x="1588" y="2579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778" name="think-cell スライド" r:id="rId6" imgW="321" imgH="325" progId="TCLayout.ActiveDocument.1">
                  <p:embed/>
                </p:oleObj>
              </mc:Choice>
              <mc:Fallback>
                <p:oleObj name="think-cell スライド" r:id="rId6" imgW="321" imgH="32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2579"/>
                        <a:ext cx="158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992"/>
            <a:ext cx="158667" cy="158667"/>
          </a:xfrm>
          <a:prstGeom prst="rect">
            <a:avLst/>
          </a:prstGeom>
          <a:solidFill>
            <a:schemeClr val="tx2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endParaRPr kumimoji="1" lang="en-US" altLang="ja-JP" sz="3598" dirty="0">
              <a:solidFill>
                <a:schemeClr val="bg1"/>
              </a:solidFill>
              <a:latin typeface="CorpoS" pitchFamily="2" charset="0"/>
              <a:ea typeface="+mj-ea"/>
              <a:cs typeface="+mj-cs"/>
              <a:sym typeface="CorpoS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326" y="2295538"/>
            <a:ext cx="10932181" cy="1051955"/>
          </a:xfrm>
        </p:spPr>
        <p:txBody>
          <a:bodyPr/>
          <a:lstStyle/>
          <a:p>
            <a:pPr>
              <a:tabLst>
                <a:tab pos="1787525" algn="l"/>
              </a:tabLst>
            </a:pPr>
            <a:r>
              <a:rPr lang="en-US" altLang="ja-JP" dirty="0" smtClean="0"/>
              <a:t>FORCE –	</a:t>
            </a:r>
            <a:r>
              <a:rPr lang="ja-JP" altLang="en-US" dirty="0" smtClean="0"/>
              <a:t>役割説明資料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altLang="ja-JP" dirty="0" smtClean="0"/>
              <a:t>Se</a:t>
            </a:r>
            <a:r>
              <a:rPr lang="en-US" altLang="ja-JP" dirty="0"/>
              <a:t>p</a:t>
            </a:r>
            <a:r>
              <a:rPr lang="en-US" dirty="0" smtClean="0"/>
              <a:t> </a:t>
            </a:r>
            <a:r>
              <a:rPr lang="en-US" altLang="ja-JP" dirty="0"/>
              <a:t>27</a:t>
            </a:r>
            <a:r>
              <a:rPr lang="en-US" baseline="30000" dirty="0" smtClean="0"/>
              <a:t>th</a:t>
            </a:r>
            <a:r>
              <a:rPr lang="en-US" dirty="0" smtClean="0"/>
              <a:t> , 2019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44427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52869730"/>
              </p:ext>
            </p:extLst>
          </p:nvPr>
        </p:nvGraphicFramePr>
        <p:xfrm>
          <a:off x="1588" y="2579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845" name="think-cell スライド" r:id="rId5" imgW="321" imgH="325" progId="TCLayout.ActiveDocument.1">
                  <p:embed/>
                </p:oleObj>
              </mc:Choice>
              <mc:Fallback>
                <p:oleObj name="think-cell スライド" r:id="rId5" imgW="321" imgH="32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2579"/>
                        <a:ext cx="158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101203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タイトル 2"/>
          <p:cNvSpPr txBox="1">
            <a:spLocks/>
          </p:cNvSpPr>
          <p:nvPr/>
        </p:nvSpPr>
        <p:spPr>
          <a:xfrm>
            <a:off x="630328" y="622944"/>
            <a:ext cx="10938894" cy="47100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3943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3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CorpoS" pitchFamily="2" charset="0"/>
              </a:defRPr>
            </a:lvl1pPr>
          </a:lstStyle>
          <a:p>
            <a:pPr marL="0" marR="0" lvl="0" indent="0" algn="l" defTabSz="91394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3300" b="0" i="0" u="none" strike="noStrike" kern="1200" cap="none" spc="0" normalizeH="0" baseline="0" noProof="0" dirty="0">
              <a:ln>
                <a:noFill/>
              </a:ln>
              <a:solidFill>
                <a:srgbClr val="00647F">
                  <a:lumMod val="100000"/>
                </a:srgbClr>
              </a:solidFill>
              <a:effectLst/>
              <a:uLnTx/>
              <a:uFillTx/>
              <a:latin typeface="CorpoS"/>
              <a:ea typeface="+mj-ea"/>
              <a:cs typeface="+mj-cs"/>
              <a:sym typeface="CorpoS" pitchFamily="2" charset="0"/>
            </a:endParaRPr>
          </a:p>
        </p:txBody>
      </p:sp>
      <p:sp>
        <p:nvSpPr>
          <p:cNvPr id="6" name="タイトル 4"/>
          <p:cNvSpPr txBox="1">
            <a:spLocks/>
          </p:cNvSpPr>
          <p:nvPr/>
        </p:nvSpPr>
        <p:spPr>
          <a:xfrm>
            <a:off x="3782287" y="549275"/>
            <a:ext cx="7662239" cy="561600"/>
          </a:xfrm>
          <a:prstGeom prst="rect">
            <a:avLst/>
          </a:prstGeom>
          <a:solidFill>
            <a:sysClr val="window" lastClr="FFFFFF"/>
          </a:solidFill>
          <a:ln w="10795" cap="flat" cmpd="sng" algn="ctr">
            <a:noFill/>
            <a:prstDash val="solid"/>
          </a:ln>
          <a:effectLst/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de-DE"/>
            </a:defPPr>
            <a:lvl1pPr marR="0" lvl="0" indent="0" defTabSz="913943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1" sz="2800" b="0" i="0" u="none" strike="noStrike" cap="none" spc="0" normalizeH="0" baseline="0">
                <a:ln>
                  <a:noFill/>
                </a:ln>
                <a:solidFill>
                  <a:srgbClr val="00647F">
                    <a:lumMod val="100000"/>
                  </a:srgbClr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marL="0" marR="0" lvl="0" indent="0" algn="l" defTabSz="91394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sym typeface="CorpoS" pitchFamily="2" charset="0"/>
              </a:rPr>
              <a:t> </a:t>
            </a:r>
            <a:r>
              <a:rPr lang="en-US" altLang="ja-JP" sz="2000" dirty="0">
                <a:solidFill>
                  <a:prstClr val="black"/>
                </a:solidFill>
                <a:sym typeface="CorpoS" pitchFamily="2" charset="0"/>
              </a:rPr>
              <a:t>1</a:t>
            </a:r>
            <a:r>
              <a:rPr kumimoji="1" lang="en-US" altLang="ja-JP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sym typeface="CorpoS" pitchFamily="2" charset="0"/>
              </a:rPr>
              <a:t>.1  FORCE</a:t>
            </a:r>
            <a:r>
              <a:rPr kumimoji="1" lang="ja-JP" alt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sym typeface="CorpoS" pitchFamily="2" charset="0"/>
              </a:rPr>
              <a:t>のユーザー</a:t>
            </a:r>
            <a:r>
              <a:rPr kumimoji="1" lang="en-US" altLang="ja-JP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sym typeface="CorpoS" pitchFamily="2" charset="0"/>
              </a:rPr>
              <a:t>ID</a:t>
            </a:r>
            <a:r>
              <a:rPr kumimoji="1" lang="ja-JP" alt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sym typeface="CorpoS" pitchFamily="2" charset="0"/>
              </a:rPr>
              <a:t>と役割設定について</a:t>
            </a:r>
            <a:endParaRPr kumimoji="1" lang="ja-JP" alt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sym typeface="CorpoS" pitchFamily="2" charset="0"/>
            </a:endParaRPr>
          </a:p>
        </p:txBody>
      </p:sp>
      <p:sp>
        <p:nvSpPr>
          <p:cNvPr id="7" name="Rechteck 12">
            <a:extLst>
              <a:ext uri="{FF2B5EF4-FFF2-40B4-BE49-F238E27FC236}">
                <a16:creationId xmlns:a16="http://schemas.microsoft.com/office/drawing/2014/main" id="{B247BD26-CC3F-4252-A978-DB140B45A001}"/>
              </a:ext>
            </a:extLst>
          </p:cNvPr>
          <p:cNvSpPr/>
          <p:nvPr/>
        </p:nvSpPr>
        <p:spPr bwMode="gray">
          <a:xfrm>
            <a:off x="628650" y="549275"/>
            <a:ext cx="357372" cy="562201"/>
          </a:xfrm>
          <a:prstGeom prst="rect">
            <a:avLst/>
          </a:prstGeom>
          <a:solidFill>
            <a:sysClr val="windowText" lastClr="000000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marL="0" marR="0" lvl="0" indent="0" algn="ctr" defTabSz="801688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36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rpoS"/>
                <a:ea typeface="+mn-ea"/>
                <a:cs typeface="+mn-cs"/>
              </a:rPr>
              <a:t>1</a:t>
            </a:r>
            <a:endParaRPr kumimoji="0" lang="en-US" sz="36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orpoS"/>
              <a:ea typeface="+mn-ea"/>
              <a:cs typeface="+mn-cs"/>
            </a:endParaRPr>
          </a:p>
        </p:txBody>
      </p:sp>
      <p:sp>
        <p:nvSpPr>
          <p:cNvPr id="8" name="Rechteck 13">
            <a:extLst>
              <a:ext uri="{FF2B5EF4-FFF2-40B4-BE49-F238E27FC236}">
                <a16:creationId xmlns:a16="http://schemas.microsoft.com/office/drawing/2014/main" id="{FB03C564-73F6-43DE-83D5-F23FDFB7F3F8}"/>
              </a:ext>
            </a:extLst>
          </p:cNvPr>
          <p:cNvSpPr/>
          <p:nvPr/>
        </p:nvSpPr>
        <p:spPr bwMode="gray">
          <a:xfrm>
            <a:off x="985118" y="549275"/>
            <a:ext cx="2783318" cy="562201"/>
          </a:xfrm>
          <a:prstGeom prst="rect">
            <a:avLst/>
          </a:prstGeom>
          <a:solidFill>
            <a:srgbClr val="00647F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128016" tIns="0" rIns="0" bIns="0" anchor="ctr"/>
          <a:lstStyle/>
          <a:p>
            <a:pPr marL="0" marR="0" lvl="0" indent="0" algn="l" defTabSz="801688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ja-JP" sz="2000" kern="0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FORCE</a:t>
            </a:r>
            <a:r>
              <a:rPr lang="ja-JP" altLang="en-US" sz="2000" kern="0" dirty="0" smtClean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のユーザー</a:t>
            </a:r>
            <a:r>
              <a:rPr lang="en-US" altLang="ja-JP" sz="2000" kern="0" dirty="0" smtClean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ID</a:t>
            </a:r>
            <a:r>
              <a:rPr lang="ja-JP" altLang="en-US" sz="2000" kern="0" dirty="0" smtClean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と役割設定</a:t>
            </a:r>
            <a:endParaRPr kumimoji="0" lang="en-US" sz="20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graphicFrame>
        <p:nvGraphicFramePr>
          <p:cNvPr id="21" name="表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43168753"/>
              </p:ext>
            </p:extLst>
          </p:nvPr>
        </p:nvGraphicFramePr>
        <p:xfrm>
          <a:off x="628650" y="2447006"/>
          <a:ext cx="9601200" cy="3497829"/>
        </p:xfrm>
        <a:graphic>
          <a:graphicData uri="http://schemas.openxmlformats.org/drawingml/2006/table">
            <a:tbl>
              <a:tblPr/>
              <a:tblGrid>
                <a:gridCol w="2184400">
                  <a:extLst>
                    <a:ext uri="{9D8B030D-6E8A-4147-A177-3AD203B41FA5}">
                      <a16:colId xmlns:a16="http://schemas.microsoft.com/office/drawing/2014/main" val="2446918863"/>
                    </a:ext>
                  </a:extLst>
                </a:gridCol>
                <a:gridCol w="2794000">
                  <a:extLst>
                    <a:ext uri="{9D8B030D-6E8A-4147-A177-3AD203B41FA5}">
                      <a16:colId xmlns:a16="http://schemas.microsoft.com/office/drawing/2014/main" val="2590510080"/>
                    </a:ext>
                  </a:extLst>
                </a:gridCol>
                <a:gridCol w="4622800">
                  <a:extLst>
                    <a:ext uri="{9D8B030D-6E8A-4147-A177-3AD203B41FA5}">
                      <a16:colId xmlns:a16="http://schemas.microsoft.com/office/drawing/2014/main" val="2660257293"/>
                    </a:ext>
                  </a:extLst>
                </a:gridCol>
              </a:tblGrid>
              <a:tr h="22860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Force</a:t>
                      </a:r>
                      <a:r>
                        <a:rPr lang="ja-JP" altLang="en-US" sz="12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役割名</a:t>
                      </a:r>
                      <a:endParaRPr lang="ja-JP" altLang="en-US" sz="1200" b="1" i="0" u="none" strike="noStrike" dirty="0">
                        <a:solidFill>
                          <a:srgbClr val="FFFFFF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SC</a:t>
                      </a:r>
                      <a:r>
                        <a:rPr lang="ja-JP" altLang="en-US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該当職制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7562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ja-JP" altLang="en-US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主な使用可能機能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7562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5623980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 SC</a:t>
                      </a:r>
                      <a:r>
                        <a:rPr lang="ja-JP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長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 SC</a:t>
                      </a:r>
                      <a:r>
                        <a:rPr lang="ja-JP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長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 全画面</a:t>
                      </a:r>
                      <a:r>
                        <a:rPr lang="ja-JP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の参照権限を保持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6228837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 SC</a:t>
                      </a:r>
                      <a:r>
                        <a:rPr lang="ja-JP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経営</a:t>
                      </a:r>
                      <a:r>
                        <a:rPr lang="ja-JP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企画部長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 SC</a:t>
                      </a:r>
                      <a:r>
                        <a:rPr lang="ja-JP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本部経営</a:t>
                      </a:r>
                      <a:r>
                        <a:rPr lang="ja-JP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企画</a:t>
                      </a:r>
                      <a:r>
                        <a:rPr lang="ja-JP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部長 </a:t>
                      </a:r>
                      <a:endParaRPr lang="ja-JP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 全画面</a:t>
                      </a:r>
                      <a:r>
                        <a:rPr lang="ja-JP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の参照権限を保持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46703556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 SC</a:t>
                      </a:r>
                      <a:r>
                        <a:rPr lang="ja-JP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管理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MGR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 SC</a:t>
                      </a:r>
                      <a:r>
                        <a:rPr lang="ja-JP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本部管理マネージャー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 全画面</a:t>
                      </a:r>
                      <a:r>
                        <a:rPr lang="ja-JP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の参照権限を保持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38076806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ja-JP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 SC</a:t>
                      </a:r>
                      <a:r>
                        <a:rPr lang="ja-JP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管理</a:t>
                      </a:r>
                      <a:r>
                        <a:rPr lang="ja-JP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スタッフ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ja-JP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 SC</a:t>
                      </a:r>
                      <a:r>
                        <a:rPr lang="ja-JP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本部管理</a:t>
                      </a:r>
                      <a:r>
                        <a:rPr lang="ja-JP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スタッフ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 全画面</a:t>
                      </a:r>
                      <a:r>
                        <a:rPr lang="ja-JP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の参照権限を保持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53490526"/>
                  </a:ext>
                </a:extLst>
              </a:tr>
              <a:tr h="215116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ja-JP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 SC</a:t>
                      </a:r>
                      <a:r>
                        <a:rPr lang="ja-JP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営業</a:t>
                      </a:r>
                      <a:r>
                        <a:rPr lang="ja-JP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フィールド</a:t>
                      </a:r>
                      <a:r>
                        <a:rPr lang="en-US" altLang="ja-JP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MGR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ja-JP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 SC</a:t>
                      </a:r>
                      <a:r>
                        <a:rPr lang="ja-JP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本部営業フィールドマネージャー</a:t>
                      </a:r>
                      <a:endParaRPr lang="en-US" altLang="ja-JP" sz="1100" b="0" i="0" u="none" strike="noStrike" dirty="0">
                        <a:solidFill>
                          <a:srgbClr val="000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 新車</a:t>
                      </a:r>
                      <a:r>
                        <a:rPr lang="ja-JP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・中古車・整備・保険の承認業務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27241669"/>
                  </a:ext>
                </a:extLst>
              </a:tr>
              <a:tr h="26083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 SC</a:t>
                      </a:r>
                      <a:r>
                        <a:rPr lang="ja-JP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営業</a:t>
                      </a:r>
                      <a:r>
                        <a:rPr lang="ja-JP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部長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 SC</a:t>
                      </a:r>
                      <a:r>
                        <a:rPr lang="ja-JP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本部営業</a:t>
                      </a:r>
                      <a:r>
                        <a:rPr lang="ja-JP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部長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 新車</a:t>
                      </a:r>
                      <a:r>
                        <a:rPr lang="ja-JP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・中古車・保険の承認業務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27056619"/>
                  </a:ext>
                </a:extLst>
              </a:tr>
              <a:tr h="27867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 SC</a:t>
                      </a:r>
                      <a:r>
                        <a:rPr lang="ja-JP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新車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MGR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ja-JP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 SC</a:t>
                      </a:r>
                      <a:r>
                        <a:rPr lang="ja-JP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本部新車営業マネージャー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 新車営業の承認業務、車両・部品・整備・部品・保険画面の参照が可能</a:t>
                      </a:r>
                      <a:endParaRPr lang="ja-JP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9649850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ja-JP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 SC</a:t>
                      </a:r>
                      <a:r>
                        <a:rPr lang="ja-JP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新車</a:t>
                      </a:r>
                      <a:r>
                        <a:rPr lang="ja-JP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スタッフ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ja-JP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 SC</a:t>
                      </a:r>
                      <a:r>
                        <a:rPr lang="ja-JP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本部新車営業スタッフ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 新車</a:t>
                      </a:r>
                      <a:r>
                        <a:rPr lang="ja-JP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スタッフの業務が可能、車両・保険画面の参照が可能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23031911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 SC</a:t>
                      </a:r>
                      <a:r>
                        <a:rPr lang="ja-JP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車両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MGR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ja-JP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 SC</a:t>
                      </a:r>
                      <a:r>
                        <a:rPr lang="ja-JP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本部車両業務マネージャー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 新車</a:t>
                      </a:r>
                      <a:r>
                        <a:rPr lang="ja-JP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の承認業務、全ての画面について参照権限を保持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5633222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ja-JP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 SC</a:t>
                      </a:r>
                      <a:r>
                        <a:rPr lang="ja-JP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車両</a:t>
                      </a:r>
                      <a:r>
                        <a:rPr lang="ja-JP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スタッフ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ja-JP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 SC</a:t>
                      </a:r>
                      <a:r>
                        <a:rPr lang="ja-JP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本部車両業務スタッフ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 新車</a:t>
                      </a:r>
                      <a:r>
                        <a:rPr lang="ja-JP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スタッフの業務が可能、車両・保険画面の参照が可能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26597680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 SC</a:t>
                      </a:r>
                      <a:r>
                        <a:rPr lang="ja-JP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中古車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MGR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ja-JP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 SC</a:t>
                      </a:r>
                      <a:r>
                        <a:rPr lang="ja-JP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本部中古車営業マネージャー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 中古車</a:t>
                      </a:r>
                      <a:r>
                        <a:rPr lang="ja-JP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営業の承認業務、全ての画面の参照が可能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96375820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ja-JP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 SC</a:t>
                      </a:r>
                      <a:r>
                        <a:rPr lang="ja-JP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中古車</a:t>
                      </a:r>
                      <a:r>
                        <a:rPr lang="ja-JP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スタッフ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ja-JP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 SC</a:t>
                      </a:r>
                      <a:r>
                        <a:rPr lang="ja-JP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本部中古車営業スタッフ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 中古車</a:t>
                      </a:r>
                      <a:r>
                        <a:rPr lang="ja-JP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スタッフの業務が可能、車両・保険画面の参照が可能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5551498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 SC</a:t>
                      </a:r>
                      <a:r>
                        <a:rPr lang="ja-JP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保険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MGR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ja-JP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 SC</a:t>
                      </a:r>
                      <a:r>
                        <a:rPr lang="ja-JP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本部保険営業マネージャー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 保険</a:t>
                      </a:r>
                      <a:r>
                        <a:rPr lang="ja-JP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営業の承認業務、全ての画面の参照が可能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80311429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ja-JP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 SC</a:t>
                      </a:r>
                      <a:r>
                        <a:rPr lang="ja-JP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保険</a:t>
                      </a:r>
                      <a:r>
                        <a:rPr lang="ja-JP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スタッフ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ja-JP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 SC</a:t>
                      </a:r>
                      <a:r>
                        <a:rPr lang="ja-JP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本部保険営業スタッフ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 保険</a:t>
                      </a:r>
                      <a:r>
                        <a:rPr lang="ja-JP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スタッフの業務が可能、車両・保険画面の参照が可能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73144860"/>
                  </a:ext>
                </a:extLst>
              </a:tr>
            </a:tbl>
          </a:graphicData>
        </a:graphic>
      </p:graphicFrame>
      <p:sp>
        <p:nvSpPr>
          <p:cNvPr id="31" name="Rectangle 16"/>
          <p:cNvSpPr/>
          <p:nvPr/>
        </p:nvSpPr>
        <p:spPr>
          <a:xfrm>
            <a:off x="629998" y="1433960"/>
            <a:ext cx="9599851" cy="937281"/>
          </a:xfrm>
          <a:prstGeom prst="rect">
            <a:avLst/>
          </a:prstGeom>
          <a:noFill/>
          <a:ln w="15875" cap="flat" cmpd="sng" algn="ctr">
            <a:solidFill>
              <a:srgbClr val="C8C8C8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E9E9E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18000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1">
              <a:buClr>
                <a:srgbClr val="000000"/>
              </a:buClr>
              <a:buSzPct val="100000"/>
            </a:pPr>
            <a:r>
              <a:rPr lang="ja-JP" altLang="en-US" sz="1400" noProof="1" smtClea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・ </a:t>
            </a:r>
            <a:r>
              <a:rPr lang="en-US" altLang="ja-JP" sz="1400" noProof="1" smtClea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FORCE</a:t>
            </a:r>
            <a:r>
              <a:rPr lang="ja-JP" altLang="en-US" sz="1400" noProof="1" smtClea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にはユーザーが使用できる機能を制御する為、</a:t>
            </a:r>
            <a:r>
              <a:rPr lang="en-US" altLang="ja-JP" sz="1400" noProof="1" smtClea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68</a:t>
            </a:r>
            <a:r>
              <a:rPr lang="ja-JP" altLang="en-US" sz="1400" noProof="1" smtClea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種類の役割が設定されている。</a:t>
            </a:r>
            <a:endParaRPr lang="en-US" altLang="ja-JP" sz="1400" noProof="1" smtClean="0">
              <a:solidFill>
                <a:srgbClr val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marL="0" lvl="1">
              <a:buClr>
                <a:srgbClr val="000000"/>
              </a:buClr>
              <a:buSzPct val="100000"/>
            </a:pPr>
            <a:r>
              <a:rPr lang="ja-JP" altLang="en-US" sz="1400" noProof="1" smtClea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・ 役割は</a:t>
            </a:r>
            <a:r>
              <a:rPr lang="en-US" altLang="ja-JP" sz="1400" noProof="1" smtClea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UID</a:t>
            </a:r>
            <a:r>
              <a:rPr lang="ja-JP" altLang="en-US" sz="1400" noProof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 （</a:t>
            </a:r>
            <a:r>
              <a:rPr lang="en-US" altLang="ja-JP" sz="1400" noProof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FORCE</a:t>
            </a:r>
            <a:r>
              <a:rPr lang="ja-JP" altLang="en-US" sz="1400" noProof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のログイン</a:t>
            </a:r>
            <a:r>
              <a:rPr lang="en-US" altLang="ja-JP" sz="1400" noProof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ID</a:t>
            </a:r>
            <a:r>
              <a:rPr lang="ja-JP" altLang="en-US" sz="1400" noProof="1" smtClea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）に１つ設定することが可能であり、その内容でユーザーが使用できる機能が決定する。</a:t>
            </a:r>
            <a:endParaRPr lang="en-US" altLang="ja-JP" sz="1400" noProof="1" smtClean="0">
              <a:solidFill>
                <a:srgbClr val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marL="0" lvl="1">
              <a:buClr>
                <a:srgbClr val="000000"/>
              </a:buClr>
              <a:buSzPct val="100000"/>
            </a:pPr>
            <a:r>
              <a:rPr lang="ja-JP" altLang="en-US" sz="1400" noProof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　</a:t>
            </a:r>
            <a:r>
              <a:rPr lang="ja-JP" altLang="en-US" sz="1400" noProof="1" smtClea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下図は</a:t>
            </a:r>
            <a:r>
              <a:rPr lang="en-US" altLang="ja-JP" sz="1400" noProof="1" smtClea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SC</a:t>
            </a:r>
            <a:r>
              <a:rPr lang="ja-JP" altLang="en-US" sz="1400" noProof="1" smtClea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本部及び拠点に所属する社員の職制が該当する</a:t>
            </a:r>
            <a:r>
              <a:rPr lang="en-US" altLang="ja-JP" sz="1400" noProof="1" smtClea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33</a:t>
            </a:r>
            <a:r>
              <a:rPr lang="ja-JP" altLang="en-US" sz="1400" noProof="1" smtClea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種類の役割。</a:t>
            </a:r>
            <a:endParaRPr lang="en-US" altLang="ja-JP" sz="1400" noProof="1" smtClean="0">
              <a:solidFill>
                <a:srgbClr val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32" name="Rectangle 57"/>
          <p:cNvSpPr/>
          <p:nvPr/>
        </p:nvSpPr>
        <p:spPr>
          <a:xfrm>
            <a:off x="792370" y="1337293"/>
            <a:ext cx="729000" cy="169754"/>
          </a:xfrm>
          <a:prstGeom prst="rect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FFFFFF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ja-JP" altLang="en-US" sz="1600" i="1" noProof="1">
                <a:solidFill>
                  <a:schemeClr val="folHlin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説明</a:t>
            </a:r>
            <a:endParaRPr lang="en-US" altLang="ja-JP" sz="1600" i="1" noProof="1" smtClean="0">
              <a:solidFill>
                <a:schemeClr val="folHlink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graphicFrame>
        <p:nvGraphicFramePr>
          <p:cNvPr id="9" name="表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0379044"/>
              </p:ext>
            </p:extLst>
          </p:nvPr>
        </p:nvGraphicFramePr>
        <p:xfrm>
          <a:off x="628650" y="5942801"/>
          <a:ext cx="9601200" cy="457200"/>
        </p:xfrm>
        <a:graphic>
          <a:graphicData uri="http://schemas.openxmlformats.org/drawingml/2006/table">
            <a:tbl>
              <a:tblPr/>
              <a:tblGrid>
                <a:gridCol w="2184400">
                  <a:extLst>
                    <a:ext uri="{9D8B030D-6E8A-4147-A177-3AD203B41FA5}">
                      <a16:colId xmlns:a16="http://schemas.microsoft.com/office/drawing/2014/main" val="513410169"/>
                    </a:ext>
                  </a:extLst>
                </a:gridCol>
                <a:gridCol w="2794000">
                  <a:extLst>
                    <a:ext uri="{9D8B030D-6E8A-4147-A177-3AD203B41FA5}">
                      <a16:colId xmlns:a16="http://schemas.microsoft.com/office/drawing/2014/main" val="3089001484"/>
                    </a:ext>
                  </a:extLst>
                </a:gridCol>
                <a:gridCol w="4622800">
                  <a:extLst>
                    <a:ext uri="{9D8B030D-6E8A-4147-A177-3AD203B41FA5}">
                      <a16:colId xmlns:a16="http://schemas.microsoft.com/office/drawing/2014/main" val="2431130398"/>
                    </a:ext>
                  </a:extLst>
                </a:gridCol>
              </a:tblGrid>
              <a:tr h="228600">
                <a:tc>
                  <a:txBody>
                    <a:bodyPr/>
                    <a:lstStyle/>
                    <a:p>
                      <a:pPr marL="0" marR="0" lvl="0" indent="0" algn="l" defTabSz="108841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 </a:t>
                      </a:r>
                      <a:r>
                        <a:rPr lang="en-US" altLang="ja-JP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FTA FC</a:t>
                      </a:r>
                      <a:r>
                        <a:rPr lang="ja-JP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長</a:t>
                      </a:r>
                      <a:endParaRPr lang="en-US" altLang="ja-JP" sz="1100" b="0" i="0" u="none" strike="noStrike" dirty="0" smtClean="0">
                        <a:solidFill>
                          <a:srgbClr val="000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 南関東</a:t>
                      </a:r>
                      <a:r>
                        <a:rPr lang="ja-JP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・甲信経理マネージャー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 全画面</a:t>
                      </a:r>
                      <a:r>
                        <a:rPr lang="ja-JP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の参照権限を保持、プール原価マスタ、消費税マスタ等の更新が可能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45361450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0" marR="0" lvl="0" indent="0" algn="l" defTabSz="108841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 </a:t>
                      </a:r>
                      <a:r>
                        <a:rPr lang="en-US" altLang="ja-JP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FTA FC</a:t>
                      </a:r>
                      <a:r>
                        <a:rPr lang="ja-JP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スタッフ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 南関東</a:t>
                      </a:r>
                      <a:r>
                        <a:rPr lang="ja-JP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・甲信経理スタッフ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 全画面</a:t>
                      </a:r>
                      <a:r>
                        <a:rPr lang="ja-JP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の参照権限を保持、プール原価マスタ、消費税マスタ等の更新が可能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9640504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000442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タイトル 2"/>
          <p:cNvSpPr txBox="1">
            <a:spLocks/>
          </p:cNvSpPr>
          <p:nvPr/>
        </p:nvSpPr>
        <p:spPr>
          <a:xfrm>
            <a:off x="630328" y="622944"/>
            <a:ext cx="10938894" cy="47100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3943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3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CorpoS" pitchFamily="2" charset="0"/>
              </a:defRPr>
            </a:lvl1pPr>
          </a:lstStyle>
          <a:p>
            <a:pPr marL="0" marR="0" lvl="0" indent="0" algn="l" defTabSz="91394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3300" b="0" i="0" u="none" strike="noStrike" kern="1200" cap="none" spc="0" normalizeH="0" baseline="0" noProof="0" dirty="0">
              <a:ln>
                <a:noFill/>
              </a:ln>
              <a:solidFill>
                <a:srgbClr val="00647F">
                  <a:lumMod val="100000"/>
                </a:srgbClr>
              </a:solidFill>
              <a:effectLst/>
              <a:uLnTx/>
              <a:uFillTx/>
              <a:latin typeface="CorpoS"/>
              <a:ea typeface="+mj-ea"/>
              <a:cs typeface="+mj-cs"/>
              <a:sym typeface="CorpoS" pitchFamily="2" charset="0"/>
            </a:endParaRPr>
          </a:p>
        </p:txBody>
      </p:sp>
      <p:sp>
        <p:nvSpPr>
          <p:cNvPr id="6" name="タイトル 4"/>
          <p:cNvSpPr txBox="1">
            <a:spLocks/>
          </p:cNvSpPr>
          <p:nvPr/>
        </p:nvSpPr>
        <p:spPr>
          <a:xfrm>
            <a:off x="3782287" y="549275"/>
            <a:ext cx="7662239" cy="561600"/>
          </a:xfrm>
          <a:prstGeom prst="rect">
            <a:avLst/>
          </a:prstGeom>
          <a:solidFill>
            <a:sysClr val="window" lastClr="FFFFFF"/>
          </a:solidFill>
          <a:ln w="10795" cap="flat" cmpd="sng" algn="ctr">
            <a:noFill/>
            <a:prstDash val="solid"/>
          </a:ln>
          <a:effectLst/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de-DE"/>
            </a:defPPr>
            <a:lvl1pPr marR="0" lvl="0" indent="0" defTabSz="913943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1" sz="2800" b="0" i="0" u="none" strike="noStrike" cap="none" spc="0" normalizeH="0" baseline="0">
                <a:ln>
                  <a:noFill/>
                </a:ln>
                <a:solidFill>
                  <a:srgbClr val="00647F">
                    <a:lumMod val="100000"/>
                  </a:srgbClr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lvl="0">
              <a:defRPr/>
            </a:pPr>
            <a:r>
              <a:rPr kumimoji="1" lang="ja-JP" alt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sym typeface="CorpoS" pitchFamily="2" charset="0"/>
              </a:rPr>
              <a:t> </a:t>
            </a:r>
            <a:r>
              <a:rPr lang="en-US" altLang="ja-JP" sz="2000" dirty="0">
                <a:solidFill>
                  <a:prstClr val="black"/>
                </a:solidFill>
                <a:sym typeface="CorpoS" pitchFamily="2" charset="0"/>
              </a:rPr>
              <a:t>1</a:t>
            </a:r>
            <a:r>
              <a:rPr kumimoji="1" lang="en-US" altLang="ja-JP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sym typeface="CorpoS" pitchFamily="2" charset="0"/>
              </a:rPr>
              <a:t>.1  </a:t>
            </a:r>
            <a:r>
              <a:rPr lang="en-US" altLang="ja-JP" sz="2000" dirty="0">
                <a:solidFill>
                  <a:prstClr val="black"/>
                </a:solidFill>
                <a:sym typeface="CorpoS" pitchFamily="2" charset="0"/>
              </a:rPr>
              <a:t>FORCE</a:t>
            </a:r>
            <a:r>
              <a:rPr lang="ja-JP" altLang="en-US" sz="2000" dirty="0">
                <a:solidFill>
                  <a:prstClr val="black"/>
                </a:solidFill>
                <a:sym typeface="CorpoS" pitchFamily="2" charset="0"/>
              </a:rPr>
              <a:t>のユーザー</a:t>
            </a:r>
            <a:r>
              <a:rPr lang="en-US" altLang="ja-JP" sz="2000" dirty="0">
                <a:solidFill>
                  <a:prstClr val="black"/>
                </a:solidFill>
                <a:sym typeface="CorpoS" pitchFamily="2" charset="0"/>
              </a:rPr>
              <a:t>ID</a:t>
            </a:r>
            <a:r>
              <a:rPr lang="ja-JP" altLang="en-US" sz="2000" dirty="0">
                <a:solidFill>
                  <a:prstClr val="black"/>
                </a:solidFill>
                <a:sym typeface="CorpoS" pitchFamily="2" charset="0"/>
              </a:rPr>
              <a:t>と役割設定について</a:t>
            </a:r>
          </a:p>
        </p:txBody>
      </p:sp>
      <p:sp>
        <p:nvSpPr>
          <p:cNvPr id="7" name="Rechteck 12">
            <a:extLst>
              <a:ext uri="{FF2B5EF4-FFF2-40B4-BE49-F238E27FC236}">
                <a16:creationId xmlns:a16="http://schemas.microsoft.com/office/drawing/2014/main" id="{B247BD26-CC3F-4252-A978-DB140B45A001}"/>
              </a:ext>
            </a:extLst>
          </p:cNvPr>
          <p:cNvSpPr/>
          <p:nvPr/>
        </p:nvSpPr>
        <p:spPr bwMode="gray">
          <a:xfrm>
            <a:off x="628650" y="549275"/>
            <a:ext cx="357372" cy="562201"/>
          </a:xfrm>
          <a:prstGeom prst="rect">
            <a:avLst/>
          </a:prstGeom>
          <a:solidFill>
            <a:sysClr val="windowText" lastClr="000000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marL="0" marR="0" lvl="0" indent="0" algn="ctr" defTabSz="801688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36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rpoS"/>
                <a:ea typeface="+mn-ea"/>
                <a:cs typeface="+mn-cs"/>
              </a:rPr>
              <a:t>1</a:t>
            </a:r>
            <a:endParaRPr kumimoji="0" lang="en-US" sz="36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orpoS"/>
              <a:ea typeface="+mn-ea"/>
              <a:cs typeface="+mn-cs"/>
            </a:endParaRPr>
          </a:p>
        </p:txBody>
      </p:sp>
      <p:graphicFrame>
        <p:nvGraphicFramePr>
          <p:cNvPr id="10" name="表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3031094"/>
              </p:ext>
            </p:extLst>
          </p:nvPr>
        </p:nvGraphicFramePr>
        <p:xfrm>
          <a:off x="628650" y="1297761"/>
          <a:ext cx="9601200" cy="5092306"/>
        </p:xfrm>
        <a:graphic>
          <a:graphicData uri="http://schemas.openxmlformats.org/drawingml/2006/table">
            <a:tbl>
              <a:tblPr/>
              <a:tblGrid>
                <a:gridCol w="2184400">
                  <a:extLst>
                    <a:ext uri="{9D8B030D-6E8A-4147-A177-3AD203B41FA5}">
                      <a16:colId xmlns:a16="http://schemas.microsoft.com/office/drawing/2014/main" val="2892649329"/>
                    </a:ext>
                  </a:extLst>
                </a:gridCol>
                <a:gridCol w="2794000">
                  <a:extLst>
                    <a:ext uri="{9D8B030D-6E8A-4147-A177-3AD203B41FA5}">
                      <a16:colId xmlns:a16="http://schemas.microsoft.com/office/drawing/2014/main" val="1220888724"/>
                    </a:ext>
                  </a:extLst>
                </a:gridCol>
                <a:gridCol w="4622800">
                  <a:extLst>
                    <a:ext uri="{9D8B030D-6E8A-4147-A177-3AD203B41FA5}">
                      <a16:colId xmlns:a16="http://schemas.microsoft.com/office/drawing/2014/main" val="2842755042"/>
                    </a:ext>
                  </a:extLst>
                </a:gridCol>
              </a:tblGrid>
              <a:tr h="22475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Force</a:t>
                      </a:r>
                      <a:r>
                        <a:rPr lang="ja-JP" altLang="en-US" sz="12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役割名</a:t>
                      </a:r>
                      <a:endParaRPr lang="ja-JP" altLang="en-US" sz="1200" b="1" i="0" u="none" strike="noStrike" dirty="0">
                        <a:solidFill>
                          <a:srgbClr val="FFFFFF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6562" marR="6562" marT="65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SC</a:t>
                      </a:r>
                      <a:r>
                        <a:rPr lang="ja-JP" altLang="en-US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該当職制</a:t>
                      </a:r>
                    </a:p>
                  </a:txBody>
                  <a:tcPr marL="6562" marR="6562" marT="65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7562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ja-JP" altLang="en-US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主な使用可能機能</a:t>
                      </a:r>
                    </a:p>
                  </a:txBody>
                  <a:tcPr marL="6562" marR="6562" marT="65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7562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87212999"/>
                  </a:ext>
                </a:extLst>
              </a:tr>
              <a:tr h="224756"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 </a:t>
                      </a:r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SC</a:t>
                      </a:r>
                      <a:r>
                        <a:rPr lang="ja-JP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特販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MGR</a:t>
                      </a:r>
                    </a:p>
                  </a:txBody>
                  <a:tcPr marL="6562" marR="6562" marT="65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ja-JP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 SC</a:t>
                      </a:r>
                      <a:r>
                        <a:rPr lang="ja-JP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本部特販マネージャー</a:t>
                      </a:r>
                    </a:p>
                  </a:txBody>
                  <a:tcPr marL="6562" marR="6562" marT="65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 新車</a:t>
                      </a:r>
                      <a:r>
                        <a:rPr lang="ja-JP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の承認業務、車両・保険画面の参照が可能</a:t>
                      </a:r>
                    </a:p>
                  </a:txBody>
                  <a:tcPr marL="6562" marR="6562" marT="65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46503713"/>
                  </a:ext>
                </a:extLst>
              </a:tr>
              <a:tr h="22475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 SC</a:t>
                      </a:r>
                      <a:r>
                        <a:rPr lang="ja-JP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バス</a:t>
                      </a:r>
                      <a:r>
                        <a:rPr lang="ja-JP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地域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MGR</a:t>
                      </a:r>
                    </a:p>
                  </a:txBody>
                  <a:tcPr marL="6562" marR="6562" marT="65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ja-JP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 SC</a:t>
                      </a:r>
                      <a:r>
                        <a:rPr lang="ja-JP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バス販売マネージャー</a:t>
                      </a:r>
                    </a:p>
                  </a:txBody>
                  <a:tcPr marL="6562" marR="6562" marT="65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 新車</a:t>
                      </a:r>
                      <a:r>
                        <a:rPr lang="ja-JP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・中古車・保険の承認業務</a:t>
                      </a:r>
                    </a:p>
                  </a:txBody>
                  <a:tcPr marL="6562" marR="6562" marT="65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39517241"/>
                  </a:ext>
                </a:extLst>
              </a:tr>
              <a:tr h="224756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ja-JP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 SC</a:t>
                      </a:r>
                      <a:r>
                        <a:rPr lang="ja-JP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バス</a:t>
                      </a:r>
                      <a:r>
                        <a:rPr lang="ja-JP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地域スタッフ</a:t>
                      </a:r>
                    </a:p>
                  </a:txBody>
                  <a:tcPr marL="6562" marR="6562" marT="65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ja-JP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 SC</a:t>
                      </a:r>
                      <a:r>
                        <a:rPr lang="ja-JP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バス販売スタッフ</a:t>
                      </a:r>
                    </a:p>
                  </a:txBody>
                  <a:tcPr marL="6562" marR="6562" marT="65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ja-JP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 SC</a:t>
                      </a:r>
                      <a:r>
                        <a:rPr lang="ja-JP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新車・中古車・保険スタッフの業務が可能</a:t>
                      </a:r>
                    </a:p>
                  </a:txBody>
                  <a:tcPr marL="6562" marR="6562" marT="65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12690495"/>
                  </a:ext>
                </a:extLst>
              </a:tr>
              <a:tr h="22475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 SCSC</a:t>
                      </a:r>
                      <a:r>
                        <a:rPr lang="ja-JP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部長</a:t>
                      </a:r>
                    </a:p>
                  </a:txBody>
                  <a:tcPr marL="6562" marR="6562" marT="65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 SC 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CS</a:t>
                      </a:r>
                      <a:r>
                        <a:rPr lang="ja-JP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部部長</a:t>
                      </a:r>
                    </a:p>
                  </a:txBody>
                  <a:tcPr marL="6562" marR="6562" marT="65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 整備</a:t>
                      </a:r>
                      <a:r>
                        <a:rPr lang="ja-JP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・部品の承認業務、保険画面の参照が可能</a:t>
                      </a:r>
                    </a:p>
                  </a:txBody>
                  <a:tcPr marL="6562" marR="6562" marT="65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88869123"/>
                  </a:ext>
                </a:extLst>
              </a:tr>
              <a:tr h="22475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 SCCS</a:t>
                      </a:r>
                      <a:r>
                        <a:rPr lang="ja-JP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フィールド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MGR</a:t>
                      </a:r>
                    </a:p>
                  </a:txBody>
                  <a:tcPr marL="6562" marR="6562" marT="65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ja-JP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 SC</a:t>
                      </a:r>
                      <a:r>
                        <a:rPr lang="ja-JP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本部</a:t>
                      </a:r>
                      <a:r>
                        <a:rPr lang="en-US" altLang="ja-JP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CS</a:t>
                      </a:r>
                      <a:r>
                        <a:rPr lang="ja-JP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フィールドマネージャー</a:t>
                      </a:r>
                    </a:p>
                  </a:txBody>
                  <a:tcPr marL="6562" marR="6562" marT="65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 整備</a:t>
                      </a:r>
                      <a:r>
                        <a:rPr lang="ja-JP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・部品の承認業務、車両・保険画面の参照が可能</a:t>
                      </a:r>
                    </a:p>
                  </a:txBody>
                  <a:tcPr marL="6562" marR="6562" marT="65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07289818"/>
                  </a:ext>
                </a:extLst>
              </a:tr>
              <a:tr h="22475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 SCCS</a:t>
                      </a:r>
                      <a:r>
                        <a:rPr lang="ja-JP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サービス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MGR</a:t>
                      </a:r>
                    </a:p>
                  </a:txBody>
                  <a:tcPr marL="6562" marR="6562" marT="65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ja-JP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 SC</a:t>
                      </a:r>
                      <a:r>
                        <a:rPr lang="ja-JP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本部サービス技術マネージャー</a:t>
                      </a:r>
                    </a:p>
                  </a:txBody>
                  <a:tcPr marL="6562" marR="6562" marT="65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 整備</a:t>
                      </a:r>
                      <a:r>
                        <a:rPr lang="ja-JP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・保険の承認業務、車両・部品画面の参照が</a:t>
                      </a:r>
                      <a:r>
                        <a:rPr lang="ja-JP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可能 </a:t>
                      </a:r>
                      <a:endParaRPr lang="ja-JP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6562" marR="6562" marT="65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1167681"/>
                  </a:ext>
                </a:extLst>
              </a:tr>
              <a:tr h="224756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ja-JP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 SCCS</a:t>
                      </a:r>
                      <a:r>
                        <a:rPr lang="ja-JP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サービススタッフ</a:t>
                      </a:r>
                    </a:p>
                  </a:txBody>
                  <a:tcPr marL="6562" marR="6562" marT="65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ja-JP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 SC</a:t>
                      </a:r>
                      <a:r>
                        <a:rPr lang="ja-JP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本部サービス技術スタッフ</a:t>
                      </a:r>
                    </a:p>
                  </a:txBody>
                  <a:tcPr marL="6562" marR="6562" marT="65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 整備</a:t>
                      </a:r>
                      <a:r>
                        <a:rPr lang="ja-JP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・保険の承認業務、部品画面の参照が可能</a:t>
                      </a:r>
                    </a:p>
                  </a:txBody>
                  <a:tcPr marL="6562" marR="6562" marT="65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33078844"/>
                  </a:ext>
                </a:extLst>
              </a:tr>
              <a:tr h="22475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 SCCS</a:t>
                      </a:r>
                      <a:r>
                        <a:rPr lang="ja-JP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部品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MGR</a:t>
                      </a:r>
                    </a:p>
                  </a:txBody>
                  <a:tcPr marL="6562" marR="6562" marT="65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ja-JP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 SC</a:t>
                      </a:r>
                      <a:r>
                        <a:rPr lang="ja-JP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本部部品業務マネージャー</a:t>
                      </a:r>
                    </a:p>
                  </a:txBody>
                  <a:tcPr marL="6562" marR="6562" marT="65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 整備</a:t>
                      </a:r>
                      <a:r>
                        <a:rPr lang="ja-JP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・部品の承認業務、車両・整備・保険画面の参照が可能</a:t>
                      </a:r>
                    </a:p>
                  </a:txBody>
                  <a:tcPr marL="6562" marR="6562" marT="65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38210056"/>
                  </a:ext>
                </a:extLst>
              </a:tr>
              <a:tr h="224756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ja-JP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 SCCS</a:t>
                      </a:r>
                      <a:r>
                        <a:rPr lang="ja-JP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部品スタッフ</a:t>
                      </a:r>
                    </a:p>
                  </a:txBody>
                  <a:tcPr marL="6562" marR="6562" marT="65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ja-JP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 SC</a:t>
                      </a:r>
                      <a:r>
                        <a:rPr lang="ja-JP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本部部品業務スタッフ</a:t>
                      </a:r>
                    </a:p>
                  </a:txBody>
                  <a:tcPr marL="6562" marR="6562" marT="65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 部品</a:t>
                      </a:r>
                      <a:r>
                        <a:rPr lang="ja-JP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スタッフの業務が可能、整備・保険画面の参照が可能</a:t>
                      </a:r>
                    </a:p>
                  </a:txBody>
                  <a:tcPr marL="6562" marR="6562" marT="65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38916728"/>
                  </a:ext>
                </a:extLst>
              </a:tr>
              <a:tr h="225496"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 支店長</a:t>
                      </a:r>
                      <a:endParaRPr lang="ja-JP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6562" marR="6562" marT="65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 支店長</a:t>
                      </a:r>
                      <a:endParaRPr lang="ja-JP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6562" marR="6562" marT="65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ja-JP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 支店</a:t>
                      </a:r>
                      <a:r>
                        <a:rPr lang="ja-JP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承認業務、新車・中古車・整備・保険・部品の業務が可能</a:t>
                      </a:r>
                    </a:p>
                  </a:txBody>
                  <a:tcPr marL="6562" marR="6562" marT="65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95772083"/>
                  </a:ext>
                </a:extLst>
              </a:tr>
              <a:tr h="558826"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 支店アシスタントスタッフ</a:t>
                      </a:r>
                      <a:endParaRPr lang="ja-JP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6562" marR="6562" marT="65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ja-JP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 以下</a:t>
                      </a:r>
                      <a:r>
                        <a:rPr lang="ja-JP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のスタッフ</a:t>
                      </a:r>
                      <a:br>
                        <a:rPr lang="ja-JP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</a:br>
                      <a:r>
                        <a:rPr lang="ja-JP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 拠点</a:t>
                      </a:r>
                      <a:r>
                        <a:rPr lang="ja-JP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：新車営業、整備、</a:t>
                      </a:r>
                      <a:r>
                        <a:rPr lang="ja-JP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部品</a:t>
                      </a:r>
                      <a:r>
                        <a:rPr lang="ja-JP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/>
                      </a:r>
                      <a:br>
                        <a:rPr lang="ja-JP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</a:br>
                      <a:r>
                        <a:rPr lang="ja-JP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 </a:t>
                      </a:r>
                      <a:r>
                        <a:rPr lang="en-US" altLang="ja-JP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SC</a:t>
                      </a:r>
                      <a:r>
                        <a:rPr lang="ja-JP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本部：中古車、</a:t>
                      </a:r>
                      <a:r>
                        <a:rPr lang="ja-JP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保険</a:t>
                      </a:r>
                      <a:endParaRPr lang="ja-JP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6562" marR="6562" marT="6562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ja-JP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 新車</a:t>
                      </a:r>
                      <a:r>
                        <a:rPr lang="ja-JP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・中古車・整備・保険・部品スタッフの業務が可能</a:t>
                      </a:r>
                    </a:p>
                  </a:txBody>
                  <a:tcPr marL="6562" marR="6562" marT="65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18073904"/>
                  </a:ext>
                </a:extLst>
              </a:tr>
              <a:tr h="267084"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 支店営業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MGR</a:t>
                      </a:r>
                    </a:p>
                  </a:txBody>
                  <a:tcPr marL="6562" marR="6562" marT="65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 支店新車営業</a:t>
                      </a:r>
                      <a:r>
                        <a:rPr lang="ja-JP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マネージャー</a:t>
                      </a:r>
                    </a:p>
                  </a:txBody>
                  <a:tcPr marL="6562" marR="6562" marT="65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 新車営業</a:t>
                      </a:r>
                      <a:r>
                        <a:rPr lang="ja-JP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の承認業務、新車・中古車・整備の参照が可能</a:t>
                      </a:r>
                    </a:p>
                  </a:txBody>
                  <a:tcPr marL="6562" marR="6562" marT="65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60049056"/>
                  </a:ext>
                </a:extLst>
              </a:tr>
              <a:tr h="294967"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 支店営業</a:t>
                      </a:r>
                      <a:r>
                        <a:rPr lang="ja-JP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スタッフ</a:t>
                      </a:r>
                    </a:p>
                  </a:txBody>
                  <a:tcPr marL="6562" marR="6562" marT="65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 支店新車営業</a:t>
                      </a:r>
                      <a:r>
                        <a:rPr lang="ja-JP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スタッフ</a:t>
                      </a:r>
                    </a:p>
                  </a:txBody>
                  <a:tcPr marL="6562" marR="6562" marT="65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 新車営業</a:t>
                      </a:r>
                      <a:r>
                        <a:rPr lang="ja-JP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スタッフの業務、新車・中古車・整備の参照が可能</a:t>
                      </a:r>
                    </a:p>
                  </a:txBody>
                  <a:tcPr marL="6562" marR="6562" marT="65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04435882"/>
                  </a:ext>
                </a:extLst>
              </a:tr>
              <a:tr h="224756"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 支店部品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MGR</a:t>
                      </a:r>
                    </a:p>
                  </a:txBody>
                  <a:tcPr marL="6562" marR="6562" marT="65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 拠点カスタマーサービス</a:t>
                      </a:r>
                      <a:r>
                        <a:rPr lang="ja-JP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営業マネージャ</a:t>
                      </a:r>
                    </a:p>
                  </a:txBody>
                  <a:tcPr marL="6562" marR="6562" marT="65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 部品</a:t>
                      </a:r>
                      <a:r>
                        <a:rPr lang="ja-JP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の承認業務、車両・整備画面の参照が可能</a:t>
                      </a:r>
                    </a:p>
                  </a:txBody>
                  <a:tcPr marL="6562" marR="6562" marT="65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2801621"/>
                  </a:ext>
                </a:extLst>
              </a:tr>
              <a:tr h="224756"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 支店部品</a:t>
                      </a:r>
                      <a:r>
                        <a:rPr lang="ja-JP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スタッフ</a:t>
                      </a:r>
                    </a:p>
                  </a:txBody>
                  <a:tcPr marL="6562" marR="6562" marT="65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 拠点カスタマーサービス</a:t>
                      </a:r>
                      <a:r>
                        <a:rPr lang="ja-JP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営業スタッフ</a:t>
                      </a:r>
                    </a:p>
                  </a:txBody>
                  <a:tcPr marL="6562" marR="6562" marT="65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 部品</a:t>
                      </a:r>
                      <a:r>
                        <a:rPr lang="ja-JP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スタッフの業務が可能、車両・整備画面の参照が可能</a:t>
                      </a:r>
                    </a:p>
                  </a:txBody>
                  <a:tcPr marL="6562" marR="6562" marT="65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93534647"/>
                  </a:ext>
                </a:extLst>
              </a:tr>
              <a:tr h="374593"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 支店</a:t>
                      </a:r>
                      <a:r>
                        <a:rPr lang="en-US" altLang="ja-JP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CS</a:t>
                      </a:r>
                      <a:r>
                        <a:rPr lang="ja-JP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スタッフ</a:t>
                      </a:r>
                    </a:p>
                  </a:txBody>
                  <a:tcPr marL="6562" marR="6562" marT="65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 拠点整備スタッフ</a:t>
                      </a:r>
                      <a:endParaRPr lang="en-US" altLang="ja-JP" sz="1100" b="0" i="0" u="none" strike="noStrike" dirty="0" smtClean="0">
                        <a:solidFill>
                          <a:srgbClr val="000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  <a:p>
                      <a:pPr algn="l" fontAlgn="ctr"/>
                      <a:r>
                        <a:rPr lang="ja-JP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 拠点カスタマーサービス営業スタッフ</a:t>
                      </a:r>
                      <a:endParaRPr lang="ja-JP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6562" marR="6562" marT="65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 中古車</a:t>
                      </a:r>
                      <a:r>
                        <a:rPr lang="ja-JP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・整備・保険・部品スタッフの業務が可能、車両画面の参照が可能</a:t>
                      </a:r>
                    </a:p>
                  </a:txBody>
                  <a:tcPr marL="6562" marR="6562" marT="65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5744100"/>
                  </a:ext>
                </a:extLst>
              </a:tr>
              <a:tr h="224756"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 支店整備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MGR</a:t>
                      </a:r>
                    </a:p>
                  </a:txBody>
                  <a:tcPr marL="6562" marR="6562" marT="65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 拠点整備</a:t>
                      </a:r>
                      <a:r>
                        <a:rPr lang="ja-JP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マネージャー</a:t>
                      </a:r>
                    </a:p>
                  </a:txBody>
                  <a:tcPr marL="6562" marR="6562" marT="65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 整備</a:t>
                      </a:r>
                      <a:r>
                        <a:rPr lang="ja-JP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の承認業務、車両・部品画面の参照が可能</a:t>
                      </a:r>
                    </a:p>
                  </a:txBody>
                  <a:tcPr marL="6562" marR="6562" marT="65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62234213"/>
                  </a:ext>
                </a:extLst>
              </a:tr>
              <a:tr h="224756"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 支店整備</a:t>
                      </a:r>
                      <a:r>
                        <a:rPr lang="ja-JP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スタッフ</a:t>
                      </a:r>
                    </a:p>
                  </a:txBody>
                  <a:tcPr marL="6562" marR="6562" marT="65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 拠点</a:t>
                      </a:r>
                      <a:r>
                        <a:rPr lang="ja-JP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整備スタッフ</a:t>
                      </a:r>
                    </a:p>
                  </a:txBody>
                  <a:tcPr marL="6562" marR="6562" marT="65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 整備</a:t>
                      </a:r>
                      <a:r>
                        <a:rPr lang="ja-JP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・保険スタッフの業務が可能、車両・部品画面の参照が可能</a:t>
                      </a:r>
                    </a:p>
                  </a:txBody>
                  <a:tcPr marL="6562" marR="6562" marT="65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2633915"/>
                  </a:ext>
                </a:extLst>
              </a:tr>
              <a:tr h="224756"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 支店メカニック</a:t>
                      </a:r>
                      <a:endParaRPr lang="ja-JP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6562" marR="6562" marT="65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 拠点</a:t>
                      </a:r>
                      <a:r>
                        <a:rPr lang="ja-JP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整備スタッフ</a:t>
                      </a:r>
                    </a:p>
                  </a:txBody>
                  <a:tcPr marL="6562" marR="6562" marT="65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 整備</a:t>
                      </a:r>
                      <a:r>
                        <a:rPr lang="ja-JP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・保険スタッフの業務が可能、車両・部品画面の参照が可能</a:t>
                      </a:r>
                    </a:p>
                  </a:txBody>
                  <a:tcPr marL="6562" marR="6562" marT="65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05946202"/>
                  </a:ext>
                </a:extLst>
              </a:tr>
            </a:tbl>
          </a:graphicData>
        </a:graphic>
      </p:graphicFrame>
      <p:sp>
        <p:nvSpPr>
          <p:cNvPr id="2" name="正方形/長方形 1"/>
          <p:cNvSpPr/>
          <p:nvPr/>
        </p:nvSpPr>
        <p:spPr>
          <a:xfrm>
            <a:off x="10267631" y="6129250"/>
            <a:ext cx="501212" cy="214314"/>
          </a:xfrm>
          <a:prstGeom prst="rect">
            <a:avLst/>
          </a:prstGeom>
          <a:solidFill>
            <a:srgbClr val="FFFF00"/>
          </a:solidFill>
          <a:ln w="6350">
            <a:solidFill>
              <a:srgbClr val="9E9E9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 sz="1600" dirty="0" err="1" smtClean="0"/>
          </a:p>
        </p:txBody>
      </p:sp>
      <p:sp>
        <p:nvSpPr>
          <p:cNvPr id="3" name="テキスト ボックス 2"/>
          <p:cNvSpPr txBox="1"/>
          <p:nvPr/>
        </p:nvSpPr>
        <p:spPr bwMode="auto">
          <a:xfrm>
            <a:off x="10744182" y="6088007"/>
            <a:ext cx="1549894" cy="3069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t" anchorCtr="0">
            <a:spAutoFit/>
          </a:bodyPr>
          <a:lstStyle/>
          <a:p>
            <a:pPr fontAlgn="base"/>
            <a:r>
              <a:rPr kumimoji="1" lang="ja-JP" altLang="en-US" sz="1050" dirty="0" smtClean="0">
                <a:latin typeface="Meiryo UI" panose="020B0604030504040204" pitchFamily="50" charset="-128"/>
                <a:ea typeface="Meiryo UI" panose="020B0604030504040204" pitchFamily="50" charset="-128"/>
                <a:cs typeface="Daimler CS"/>
              </a:rPr>
              <a:t>複数職制の処理が可能</a:t>
            </a:r>
          </a:p>
        </p:txBody>
      </p:sp>
      <p:sp>
        <p:nvSpPr>
          <p:cNvPr id="11" name="Rechteck 13">
            <a:extLst>
              <a:ext uri="{FF2B5EF4-FFF2-40B4-BE49-F238E27FC236}">
                <a16:creationId xmlns:a16="http://schemas.microsoft.com/office/drawing/2014/main" id="{FB03C564-73F6-43DE-83D5-F23FDFB7F3F8}"/>
              </a:ext>
            </a:extLst>
          </p:cNvPr>
          <p:cNvSpPr/>
          <p:nvPr/>
        </p:nvSpPr>
        <p:spPr bwMode="gray">
          <a:xfrm>
            <a:off x="985118" y="549275"/>
            <a:ext cx="2783318" cy="562201"/>
          </a:xfrm>
          <a:prstGeom prst="rect">
            <a:avLst/>
          </a:prstGeom>
          <a:solidFill>
            <a:srgbClr val="00647F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128016" tIns="0" rIns="0" bIns="0" anchor="ctr"/>
          <a:lstStyle/>
          <a:p>
            <a:pPr marL="0" marR="0" lvl="0" indent="0" algn="l" defTabSz="801688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ja-JP" sz="2000" kern="0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FORCE</a:t>
            </a:r>
            <a:r>
              <a:rPr lang="ja-JP" altLang="en-US" sz="2000" kern="0" dirty="0" smtClean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のユーザー</a:t>
            </a:r>
            <a:r>
              <a:rPr lang="en-US" altLang="ja-JP" sz="2000" kern="0" dirty="0" smtClean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ID</a:t>
            </a:r>
            <a:r>
              <a:rPr lang="ja-JP" altLang="en-US" sz="2000" kern="0" dirty="0" smtClean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と役割設定</a:t>
            </a:r>
            <a:endParaRPr kumimoji="0" lang="en-US" sz="20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117452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タイトル 2"/>
          <p:cNvSpPr txBox="1">
            <a:spLocks/>
          </p:cNvSpPr>
          <p:nvPr/>
        </p:nvSpPr>
        <p:spPr>
          <a:xfrm>
            <a:off x="630328" y="622944"/>
            <a:ext cx="10938894" cy="47100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3943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3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CorpoS" pitchFamily="2" charset="0"/>
              </a:defRPr>
            </a:lvl1pPr>
          </a:lstStyle>
          <a:p>
            <a:pPr marL="0" marR="0" lvl="0" indent="0" algn="l" defTabSz="91394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3300" b="0" i="0" u="none" strike="noStrike" kern="1200" cap="none" spc="0" normalizeH="0" baseline="0" noProof="0" dirty="0">
              <a:ln>
                <a:noFill/>
              </a:ln>
              <a:solidFill>
                <a:srgbClr val="00647F">
                  <a:lumMod val="100000"/>
                </a:srgbClr>
              </a:solidFill>
              <a:effectLst/>
              <a:uLnTx/>
              <a:uFillTx/>
              <a:latin typeface="CorpoS"/>
              <a:ea typeface="+mj-ea"/>
              <a:cs typeface="+mj-cs"/>
              <a:sym typeface="CorpoS" pitchFamily="2" charset="0"/>
            </a:endParaRPr>
          </a:p>
        </p:txBody>
      </p:sp>
      <p:sp>
        <p:nvSpPr>
          <p:cNvPr id="6" name="タイトル 4"/>
          <p:cNvSpPr txBox="1">
            <a:spLocks/>
          </p:cNvSpPr>
          <p:nvPr/>
        </p:nvSpPr>
        <p:spPr>
          <a:xfrm>
            <a:off x="3782287" y="549275"/>
            <a:ext cx="7662239" cy="561600"/>
          </a:xfrm>
          <a:prstGeom prst="rect">
            <a:avLst/>
          </a:prstGeom>
          <a:solidFill>
            <a:sysClr val="window" lastClr="FFFFFF"/>
          </a:solidFill>
          <a:ln w="10795" cap="flat" cmpd="sng" algn="ctr">
            <a:noFill/>
            <a:prstDash val="solid"/>
          </a:ln>
          <a:effectLst/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de-DE"/>
            </a:defPPr>
            <a:lvl1pPr marR="0" lvl="0" indent="0" defTabSz="913943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1" sz="2800" b="0" i="0" u="none" strike="noStrike" cap="none" spc="0" normalizeH="0" baseline="0">
                <a:ln>
                  <a:noFill/>
                </a:ln>
                <a:solidFill>
                  <a:srgbClr val="00647F">
                    <a:lumMod val="100000"/>
                  </a:srgbClr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ja-JP" altLang="en-US" sz="2000" dirty="0" smtClean="0">
                <a:solidFill>
                  <a:schemeClr val="tx1"/>
                </a:solidFill>
                <a:sym typeface="CorpoS" pitchFamily="2" charset="0"/>
              </a:rPr>
              <a:t> </a:t>
            </a:r>
            <a:r>
              <a:rPr lang="en-US" altLang="ja-JP" sz="2000" dirty="0" smtClean="0">
                <a:solidFill>
                  <a:schemeClr val="tx1"/>
                </a:solidFill>
                <a:sym typeface="CorpoS" pitchFamily="2" charset="0"/>
              </a:rPr>
              <a:t>1.2 </a:t>
            </a:r>
            <a:r>
              <a:rPr lang="ja-JP" altLang="en-US" sz="2000" dirty="0" smtClean="0">
                <a:solidFill>
                  <a:schemeClr val="tx1"/>
                </a:solidFill>
                <a:sym typeface="CorpoS" pitchFamily="2" charset="0"/>
              </a:rPr>
              <a:t>複数業務が処理可能な役割　</a:t>
            </a:r>
            <a:r>
              <a:rPr lang="en-US" altLang="ja-JP" sz="2000" dirty="0" smtClean="0">
                <a:solidFill>
                  <a:schemeClr val="tx1"/>
                </a:solidFill>
                <a:sym typeface="CorpoS" pitchFamily="2" charset="0"/>
              </a:rPr>
              <a:t>- </a:t>
            </a:r>
            <a:r>
              <a:rPr lang="ja-JP" altLang="en-US" sz="2000" dirty="0" smtClean="0">
                <a:solidFill>
                  <a:schemeClr val="tx1"/>
                </a:solidFill>
                <a:sym typeface="CorpoS" pitchFamily="2" charset="0"/>
              </a:rPr>
              <a:t>①</a:t>
            </a:r>
            <a:r>
              <a:rPr lang="ja-JP" altLang="en-US" sz="2000" noProof="1" smtClean="0">
                <a:solidFill>
                  <a:srgbClr val="000000"/>
                </a:solidFill>
              </a:rPr>
              <a:t> 支店</a:t>
            </a:r>
            <a:r>
              <a:rPr lang="en-US" altLang="ja-JP" sz="2000" noProof="1" smtClean="0">
                <a:solidFill>
                  <a:srgbClr val="000000"/>
                </a:solidFill>
              </a:rPr>
              <a:t>CS</a:t>
            </a:r>
            <a:r>
              <a:rPr lang="ja-JP" altLang="en-US" sz="2000" noProof="1" smtClean="0">
                <a:solidFill>
                  <a:srgbClr val="000000"/>
                </a:solidFill>
              </a:rPr>
              <a:t>スタッフ</a:t>
            </a:r>
            <a:endParaRPr lang="ja-JP" altLang="en-US" sz="2000" dirty="0">
              <a:solidFill>
                <a:schemeClr val="tx1"/>
              </a:solidFill>
              <a:sym typeface="CorpoS" pitchFamily="2" charset="0"/>
            </a:endParaRPr>
          </a:p>
        </p:txBody>
      </p:sp>
      <p:sp>
        <p:nvSpPr>
          <p:cNvPr id="7" name="Rechteck 12">
            <a:extLst>
              <a:ext uri="{FF2B5EF4-FFF2-40B4-BE49-F238E27FC236}">
                <a16:creationId xmlns:a16="http://schemas.microsoft.com/office/drawing/2014/main" id="{B247BD26-CC3F-4252-A978-DB140B45A001}"/>
              </a:ext>
            </a:extLst>
          </p:cNvPr>
          <p:cNvSpPr/>
          <p:nvPr/>
        </p:nvSpPr>
        <p:spPr bwMode="gray">
          <a:xfrm>
            <a:off x="628650" y="549275"/>
            <a:ext cx="357372" cy="562201"/>
          </a:xfrm>
          <a:prstGeom prst="rect">
            <a:avLst/>
          </a:prstGeom>
          <a:solidFill>
            <a:sysClr val="windowText" lastClr="000000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marL="0" marR="0" lvl="0" indent="0" algn="ctr" defTabSz="801688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36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1</a:t>
            </a:r>
            <a:endParaRPr kumimoji="0" lang="en-US" sz="36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629999" y="1433960"/>
            <a:ext cx="7828201" cy="879750"/>
          </a:xfrm>
          <a:prstGeom prst="rect">
            <a:avLst/>
          </a:prstGeom>
          <a:noFill/>
          <a:ln w="15875" cap="flat" cmpd="sng" algn="ctr">
            <a:solidFill>
              <a:srgbClr val="C8C8C8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E9E9E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18000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1">
              <a:buClr>
                <a:srgbClr val="000000"/>
              </a:buClr>
              <a:buSzPct val="100000"/>
            </a:pPr>
            <a:r>
              <a:rPr lang="ja-JP" altLang="en-US" sz="1400" noProof="1" smtClea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■ 役割が「支店</a:t>
            </a:r>
            <a:r>
              <a:rPr lang="en-US" altLang="ja-JP" sz="1400" noProof="1" smtClea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CS</a:t>
            </a:r>
            <a:r>
              <a:rPr lang="ja-JP" altLang="en-US" sz="1400" noProof="1" smtClea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スタッフ」場合、支店の整備・部品業務スタッフの双方の処理が可能。</a:t>
            </a:r>
            <a:endParaRPr lang="en-US" altLang="ja-JP" sz="1400" noProof="1" smtClean="0">
              <a:solidFill>
                <a:srgbClr val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marL="0" lvl="1">
              <a:buClr>
                <a:srgbClr val="000000"/>
              </a:buClr>
              <a:buSzPct val="100000"/>
            </a:pPr>
            <a:r>
              <a:rPr lang="ja-JP" altLang="en-US" sz="1400" noProof="1" smtClea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■ 承認が必要な場合</a:t>
            </a:r>
            <a:r>
              <a:rPr lang="ja-JP" altLang="en-US" sz="1400" noProof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、整備業務処理は支店</a:t>
            </a:r>
            <a:r>
              <a:rPr lang="ja-JP" altLang="en-US" sz="1400" noProof="1" smtClea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整備マネージャ、</a:t>
            </a:r>
            <a:r>
              <a:rPr lang="ja-JP" altLang="en-US" sz="1400" noProof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部品業務は支店</a:t>
            </a:r>
            <a:r>
              <a:rPr lang="ja-JP" altLang="en-US" sz="1400" noProof="1" smtClea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部品マネージャに</a:t>
            </a:r>
            <a:r>
              <a:rPr lang="ja-JP" altLang="en-US" sz="1400" noProof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承認</a:t>
            </a:r>
            <a:r>
              <a:rPr lang="ja-JP" altLang="en-US" sz="1400" noProof="1" smtClea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依頼</a:t>
            </a:r>
            <a:endParaRPr lang="en-US" altLang="ja-JP" sz="1400" noProof="1" smtClean="0">
              <a:solidFill>
                <a:srgbClr val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marL="0" lvl="1">
              <a:buClr>
                <a:srgbClr val="000000"/>
              </a:buClr>
              <a:buSzPct val="100000"/>
            </a:pPr>
            <a:r>
              <a:rPr lang="ja-JP" altLang="en-US" sz="1400" noProof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　</a:t>
            </a:r>
            <a:r>
              <a:rPr lang="ja-JP" altLang="en-US" sz="1400" noProof="1" smtClea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　が</a:t>
            </a:r>
            <a:r>
              <a:rPr lang="ja-JP" altLang="en-US" sz="1400" noProof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提出される</a:t>
            </a:r>
            <a:r>
              <a:rPr lang="ja-JP" altLang="en-US" sz="1400" noProof="1" smtClea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。</a:t>
            </a:r>
            <a:endParaRPr lang="ja-JP" altLang="en-US" sz="1400" noProof="1">
              <a:solidFill>
                <a:srgbClr val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18" name="Rectangle 10"/>
          <p:cNvSpPr/>
          <p:nvPr/>
        </p:nvSpPr>
        <p:spPr>
          <a:xfrm>
            <a:off x="629999" y="2584114"/>
            <a:ext cx="7828201" cy="3744538"/>
          </a:xfrm>
          <a:prstGeom prst="rect">
            <a:avLst/>
          </a:prstGeom>
          <a:noFill/>
          <a:ln w="15875" cap="flat" cmpd="sng" algn="ctr">
            <a:solidFill>
              <a:srgbClr val="C8C8C8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E9E9E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noProof="1"/>
          </a:p>
        </p:txBody>
      </p:sp>
      <p:sp>
        <p:nvSpPr>
          <p:cNvPr id="19" name="Rectangle 77"/>
          <p:cNvSpPr/>
          <p:nvPr/>
        </p:nvSpPr>
        <p:spPr>
          <a:xfrm>
            <a:off x="792369" y="2444750"/>
            <a:ext cx="925595" cy="289205"/>
          </a:xfrm>
          <a:prstGeom prst="rect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FFFFFF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ja-JP" altLang="en-US" sz="1600" i="1" noProof="1" smtClean="0">
                <a:solidFill>
                  <a:schemeClr val="folHlin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詳細</a:t>
            </a:r>
            <a:endParaRPr lang="ja-JP" altLang="en-US" sz="1600" i="1" noProof="1">
              <a:solidFill>
                <a:schemeClr val="folHlink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20" name="Rectangle 57"/>
          <p:cNvSpPr/>
          <p:nvPr/>
        </p:nvSpPr>
        <p:spPr>
          <a:xfrm>
            <a:off x="792370" y="1337293"/>
            <a:ext cx="729000" cy="169754"/>
          </a:xfrm>
          <a:prstGeom prst="rect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FFFFFF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ja-JP" altLang="en-US" sz="1600" i="1" noProof="1" smtClean="0">
                <a:solidFill>
                  <a:schemeClr val="folHlin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概要</a:t>
            </a:r>
            <a:endParaRPr lang="ja-JP" altLang="en-US" sz="1600" i="1" noProof="1">
              <a:solidFill>
                <a:schemeClr val="folHlink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21" name="Pentagon 39"/>
          <p:cNvSpPr/>
          <p:nvPr/>
        </p:nvSpPr>
        <p:spPr>
          <a:xfrm>
            <a:off x="882860" y="5753896"/>
            <a:ext cx="2407680" cy="539193"/>
          </a:xfrm>
          <a:prstGeom prst="homePlate">
            <a:avLst>
              <a:gd name="adj" fmla="val 20648"/>
            </a:avLst>
          </a:prstGeom>
          <a:solidFill>
            <a:schemeClr val="accent2"/>
          </a:solidFill>
          <a:ln>
            <a:solidFill>
              <a:srgbClr val="0067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ja-JP" altLang="en-US" sz="1400" dirty="0" smtClean="0">
                <a:solidFill>
                  <a:prstClr val="white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業務処理・承認依頼</a:t>
            </a:r>
            <a:endParaRPr lang="en-US" altLang="ja-JP" sz="1400" dirty="0">
              <a:solidFill>
                <a:prstClr val="white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22" name="Chevron 40"/>
          <p:cNvSpPr/>
          <p:nvPr/>
        </p:nvSpPr>
        <p:spPr>
          <a:xfrm>
            <a:off x="5875458" y="5753896"/>
            <a:ext cx="2407680" cy="539193"/>
          </a:xfrm>
          <a:prstGeom prst="chevron">
            <a:avLst>
              <a:gd name="adj" fmla="val 23020"/>
            </a:avLst>
          </a:prstGeom>
          <a:solidFill>
            <a:schemeClr val="accent2"/>
          </a:solidFill>
          <a:ln>
            <a:solidFill>
              <a:srgbClr val="0067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ja-JP" altLang="en-US" sz="1400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次処理へ</a:t>
            </a:r>
            <a:endParaRPr lang="ja-JP" altLang="en-US" sz="1400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3" name="Chevron 40"/>
          <p:cNvSpPr/>
          <p:nvPr/>
        </p:nvSpPr>
        <p:spPr>
          <a:xfrm>
            <a:off x="3379159" y="5753896"/>
            <a:ext cx="2407680" cy="539193"/>
          </a:xfrm>
          <a:prstGeom prst="chevron">
            <a:avLst>
              <a:gd name="adj" fmla="val 23020"/>
            </a:avLst>
          </a:prstGeom>
          <a:solidFill>
            <a:schemeClr val="accent2"/>
          </a:solidFill>
          <a:ln>
            <a:solidFill>
              <a:srgbClr val="0067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ja-JP" altLang="en-US" sz="1400" dirty="0" smtClean="0">
                <a:solidFill>
                  <a:prstClr val="white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確認・承認</a:t>
            </a:r>
            <a:endParaRPr lang="ja-JP" altLang="en-US" sz="1400" dirty="0">
              <a:solidFill>
                <a:prstClr val="white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24" name="Oval invers 1"/>
          <p:cNvSpPr>
            <a:spLocks noChangeArrowheads="1"/>
          </p:cNvSpPr>
          <p:nvPr/>
        </p:nvSpPr>
        <p:spPr bwMode="gray">
          <a:xfrm>
            <a:off x="842591" y="5616105"/>
            <a:ext cx="295275" cy="295275"/>
          </a:xfrm>
          <a:prstGeom prst="ellipse">
            <a:avLst/>
          </a:prstGeom>
          <a:solidFill>
            <a:srgbClr val="FFFFFF"/>
          </a:solidFill>
          <a:ln w="15875" algn="ctr">
            <a:solidFill>
              <a:srgbClr val="00677F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1600" dirty="0" smtClean="0">
                <a:solidFill>
                  <a:srgbClr val="00677F"/>
                </a:solidFill>
              </a:rPr>
              <a:t>1</a:t>
            </a:r>
            <a:endParaRPr lang="en-US" sz="1600" dirty="0">
              <a:solidFill>
                <a:srgbClr val="00677F"/>
              </a:solidFill>
            </a:endParaRPr>
          </a:p>
        </p:txBody>
      </p:sp>
      <p:sp>
        <p:nvSpPr>
          <p:cNvPr id="25" name="Oval invers 1"/>
          <p:cNvSpPr>
            <a:spLocks noChangeArrowheads="1"/>
          </p:cNvSpPr>
          <p:nvPr/>
        </p:nvSpPr>
        <p:spPr bwMode="gray">
          <a:xfrm>
            <a:off x="5984898" y="5616105"/>
            <a:ext cx="295275" cy="295275"/>
          </a:xfrm>
          <a:prstGeom prst="ellipse">
            <a:avLst/>
          </a:prstGeom>
          <a:solidFill>
            <a:srgbClr val="FFFFFF"/>
          </a:solidFill>
          <a:ln w="15875" algn="ctr">
            <a:solidFill>
              <a:srgbClr val="00677F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1600" dirty="0" smtClean="0">
                <a:solidFill>
                  <a:srgbClr val="00677F"/>
                </a:solidFill>
              </a:rPr>
              <a:t>3</a:t>
            </a:r>
            <a:endParaRPr lang="en-US" sz="1600" dirty="0">
              <a:solidFill>
                <a:srgbClr val="00677F"/>
              </a:solidFill>
            </a:endParaRPr>
          </a:p>
        </p:txBody>
      </p:sp>
      <p:sp>
        <p:nvSpPr>
          <p:cNvPr id="26" name="Oval invers 1"/>
          <p:cNvSpPr>
            <a:spLocks noChangeArrowheads="1"/>
          </p:cNvSpPr>
          <p:nvPr/>
        </p:nvSpPr>
        <p:spPr bwMode="gray">
          <a:xfrm>
            <a:off x="3413745" y="5616105"/>
            <a:ext cx="295275" cy="295275"/>
          </a:xfrm>
          <a:prstGeom prst="ellipse">
            <a:avLst/>
          </a:prstGeom>
          <a:solidFill>
            <a:srgbClr val="FFFFFF"/>
          </a:solidFill>
          <a:ln w="15875" algn="ctr">
            <a:solidFill>
              <a:srgbClr val="00677F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1600" dirty="0" smtClean="0">
                <a:solidFill>
                  <a:srgbClr val="00677F"/>
                </a:solidFill>
              </a:rPr>
              <a:t>2</a:t>
            </a:r>
            <a:endParaRPr lang="en-US" sz="1600" dirty="0">
              <a:solidFill>
                <a:srgbClr val="00677F"/>
              </a:solidFill>
            </a:endParaRPr>
          </a:p>
        </p:txBody>
      </p:sp>
      <p:grpSp>
        <p:nvGrpSpPr>
          <p:cNvPr id="27" name="Group 112"/>
          <p:cNvGrpSpPr>
            <a:grpSpLocks noChangeAspect="1"/>
          </p:cNvGrpSpPr>
          <p:nvPr/>
        </p:nvGrpSpPr>
        <p:grpSpPr>
          <a:xfrm>
            <a:off x="1741410" y="3994189"/>
            <a:ext cx="635336" cy="635336"/>
            <a:chOff x="1563866" y="3369910"/>
            <a:chExt cx="994581" cy="994581"/>
          </a:xfrm>
        </p:grpSpPr>
        <p:grpSp>
          <p:nvGrpSpPr>
            <p:cNvPr id="28" name="Group 131"/>
            <p:cNvGrpSpPr>
              <a:grpSpLocks noChangeAspect="1"/>
            </p:cNvGrpSpPr>
            <p:nvPr/>
          </p:nvGrpSpPr>
          <p:grpSpPr bwMode="gray">
            <a:xfrm>
              <a:off x="1563866" y="3369910"/>
              <a:ext cx="994581" cy="994581"/>
              <a:chOff x="4814888" y="1222375"/>
              <a:chExt cx="828675" cy="828675"/>
            </a:xfrm>
          </p:grpSpPr>
          <p:sp>
            <p:nvSpPr>
              <p:cNvPr id="30" name="AutoShape 13"/>
              <p:cNvSpPr>
                <a:spLocks noChangeAspect="1" noChangeArrowheads="1" noTextEdit="1"/>
              </p:cNvSpPr>
              <p:nvPr/>
            </p:nvSpPr>
            <p:spPr bwMode="gray">
              <a:xfrm>
                <a:off x="4814888" y="1222375"/>
                <a:ext cx="828675" cy="8286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1" name="Freeform 15"/>
              <p:cNvSpPr>
                <a:spLocks/>
              </p:cNvSpPr>
              <p:nvPr/>
            </p:nvSpPr>
            <p:spPr bwMode="gray">
              <a:xfrm>
                <a:off x="4956176" y="1600200"/>
                <a:ext cx="250825" cy="339725"/>
              </a:xfrm>
              <a:custGeom>
                <a:avLst/>
                <a:gdLst>
                  <a:gd name="T0" fmla="*/ 183 w 439"/>
                  <a:gd name="T1" fmla="*/ 290 h 580"/>
                  <a:gd name="T2" fmla="*/ 214 w 439"/>
                  <a:gd name="T3" fmla="*/ 259 h 580"/>
                  <a:gd name="T4" fmla="*/ 439 w 439"/>
                  <a:gd name="T5" fmla="*/ 259 h 580"/>
                  <a:gd name="T6" fmla="*/ 295 w 439"/>
                  <a:gd name="T7" fmla="*/ 0 h 580"/>
                  <a:gd name="T8" fmla="*/ 189 w 439"/>
                  <a:gd name="T9" fmla="*/ 22 h 580"/>
                  <a:gd name="T10" fmla="*/ 132 w 439"/>
                  <a:gd name="T11" fmla="*/ 76 h 580"/>
                  <a:gd name="T12" fmla="*/ 6 w 439"/>
                  <a:gd name="T13" fmla="*/ 486 h 580"/>
                  <a:gd name="T14" fmla="*/ 19 w 439"/>
                  <a:gd name="T15" fmla="*/ 551 h 580"/>
                  <a:gd name="T16" fmla="*/ 78 w 439"/>
                  <a:gd name="T17" fmla="*/ 580 h 580"/>
                  <a:gd name="T18" fmla="*/ 184 w 439"/>
                  <a:gd name="T19" fmla="*/ 580 h 580"/>
                  <a:gd name="T20" fmla="*/ 183 w 439"/>
                  <a:gd name="T21" fmla="*/ 290 h 580"/>
                  <a:gd name="T22" fmla="*/ 183 w 439"/>
                  <a:gd name="T23" fmla="*/ 290 h 5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39" h="580">
                    <a:moveTo>
                      <a:pt x="183" y="290"/>
                    </a:moveTo>
                    <a:lnTo>
                      <a:pt x="214" y="259"/>
                    </a:lnTo>
                    <a:lnTo>
                      <a:pt x="439" y="259"/>
                    </a:lnTo>
                    <a:lnTo>
                      <a:pt x="295" y="0"/>
                    </a:lnTo>
                    <a:lnTo>
                      <a:pt x="189" y="22"/>
                    </a:lnTo>
                    <a:cubicBezTo>
                      <a:pt x="162" y="27"/>
                      <a:pt x="140" y="48"/>
                      <a:pt x="132" y="76"/>
                    </a:cubicBezTo>
                    <a:lnTo>
                      <a:pt x="6" y="486"/>
                    </a:lnTo>
                    <a:cubicBezTo>
                      <a:pt x="0" y="509"/>
                      <a:pt x="5" y="532"/>
                      <a:pt x="19" y="551"/>
                    </a:cubicBezTo>
                    <a:cubicBezTo>
                      <a:pt x="34" y="569"/>
                      <a:pt x="55" y="580"/>
                      <a:pt x="78" y="580"/>
                    </a:cubicBezTo>
                    <a:lnTo>
                      <a:pt x="184" y="580"/>
                    </a:lnTo>
                    <a:lnTo>
                      <a:pt x="183" y="290"/>
                    </a:lnTo>
                    <a:lnTo>
                      <a:pt x="183" y="290"/>
                    </a:lnTo>
                    <a:close/>
                  </a:path>
                </a:pathLst>
              </a:custGeom>
              <a:solidFill>
                <a:srgbClr val="4D4D4D"/>
              </a:solidFill>
              <a:ln w="0">
                <a:noFill/>
                <a:prstDash val="solid"/>
                <a:round/>
                <a:headEnd/>
                <a:tailEnd/>
              </a:ln>
              <a:extLst>
                <a:ext uri="{91240B29-F687-4F45-9708-019B960494DF}">
                  <a14:hiddenLine xmlns:a14="http://schemas.microsoft.com/office/drawing/2010/main"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2" name="Freeform 16"/>
              <p:cNvSpPr>
                <a:spLocks/>
              </p:cNvSpPr>
              <p:nvPr/>
            </p:nvSpPr>
            <p:spPr bwMode="gray">
              <a:xfrm>
                <a:off x="5229226" y="1600200"/>
                <a:ext cx="252413" cy="339725"/>
              </a:xfrm>
              <a:custGeom>
                <a:avLst/>
                <a:gdLst>
                  <a:gd name="T0" fmla="*/ 433 w 439"/>
                  <a:gd name="T1" fmla="*/ 485 h 579"/>
                  <a:gd name="T2" fmla="*/ 307 w 439"/>
                  <a:gd name="T3" fmla="*/ 75 h 579"/>
                  <a:gd name="T4" fmla="*/ 249 w 439"/>
                  <a:gd name="T5" fmla="*/ 20 h 579"/>
                  <a:gd name="T6" fmla="*/ 143 w 439"/>
                  <a:gd name="T7" fmla="*/ 0 h 579"/>
                  <a:gd name="T8" fmla="*/ 0 w 439"/>
                  <a:gd name="T9" fmla="*/ 258 h 579"/>
                  <a:gd name="T10" fmla="*/ 242 w 439"/>
                  <a:gd name="T11" fmla="*/ 258 h 579"/>
                  <a:gd name="T12" fmla="*/ 273 w 439"/>
                  <a:gd name="T13" fmla="*/ 289 h 579"/>
                  <a:gd name="T14" fmla="*/ 273 w 439"/>
                  <a:gd name="T15" fmla="*/ 579 h 579"/>
                  <a:gd name="T16" fmla="*/ 361 w 439"/>
                  <a:gd name="T17" fmla="*/ 579 h 579"/>
                  <a:gd name="T18" fmla="*/ 420 w 439"/>
                  <a:gd name="T19" fmla="*/ 550 h 579"/>
                  <a:gd name="T20" fmla="*/ 433 w 439"/>
                  <a:gd name="T21" fmla="*/ 485 h 5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39" h="579">
                    <a:moveTo>
                      <a:pt x="433" y="485"/>
                    </a:moveTo>
                    <a:lnTo>
                      <a:pt x="307" y="75"/>
                    </a:lnTo>
                    <a:cubicBezTo>
                      <a:pt x="299" y="47"/>
                      <a:pt x="277" y="26"/>
                      <a:pt x="249" y="20"/>
                    </a:cubicBezTo>
                    <a:lnTo>
                      <a:pt x="143" y="0"/>
                    </a:lnTo>
                    <a:lnTo>
                      <a:pt x="0" y="258"/>
                    </a:lnTo>
                    <a:lnTo>
                      <a:pt x="242" y="258"/>
                    </a:lnTo>
                    <a:lnTo>
                      <a:pt x="273" y="289"/>
                    </a:lnTo>
                    <a:lnTo>
                      <a:pt x="273" y="579"/>
                    </a:lnTo>
                    <a:lnTo>
                      <a:pt x="361" y="579"/>
                    </a:lnTo>
                    <a:cubicBezTo>
                      <a:pt x="384" y="579"/>
                      <a:pt x="406" y="568"/>
                      <a:pt x="420" y="550"/>
                    </a:cubicBezTo>
                    <a:cubicBezTo>
                      <a:pt x="434" y="531"/>
                      <a:pt x="439" y="508"/>
                      <a:pt x="433" y="485"/>
                    </a:cubicBezTo>
                    <a:close/>
                  </a:path>
                </a:pathLst>
              </a:custGeom>
              <a:solidFill>
                <a:srgbClr val="4D4D4D"/>
              </a:solidFill>
              <a:ln w="0">
                <a:noFill/>
                <a:prstDash val="solid"/>
                <a:round/>
                <a:headEnd/>
                <a:tailEnd/>
              </a:ln>
              <a:extLst>
                <a:ext uri="{91240B29-F687-4F45-9708-019B960494DF}">
                  <a14:hiddenLine xmlns:a14="http://schemas.microsoft.com/office/drawing/2010/main"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3" name="Freeform 17"/>
              <p:cNvSpPr>
                <a:spLocks/>
              </p:cNvSpPr>
              <p:nvPr/>
            </p:nvSpPr>
            <p:spPr bwMode="gray">
              <a:xfrm>
                <a:off x="5091113" y="1787525"/>
                <a:ext cx="258763" cy="152400"/>
              </a:xfrm>
              <a:custGeom>
                <a:avLst/>
                <a:gdLst>
                  <a:gd name="T0" fmla="*/ 0 w 163"/>
                  <a:gd name="T1" fmla="*/ 96 h 96"/>
                  <a:gd name="T2" fmla="*/ 160 w 163"/>
                  <a:gd name="T3" fmla="*/ 96 h 96"/>
                  <a:gd name="T4" fmla="*/ 160 w 163"/>
                  <a:gd name="T5" fmla="*/ 96 h 96"/>
                  <a:gd name="T6" fmla="*/ 163 w 163"/>
                  <a:gd name="T7" fmla="*/ 96 h 96"/>
                  <a:gd name="T8" fmla="*/ 163 w 163"/>
                  <a:gd name="T9" fmla="*/ 0 h 96"/>
                  <a:gd name="T10" fmla="*/ 3 w 163"/>
                  <a:gd name="T11" fmla="*/ 0 h 96"/>
                  <a:gd name="T12" fmla="*/ 3 w 163"/>
                  <a:gd name="T13" fmla="*/ 96 h 96"/>
                  <a:gd name="T14" fmla="*/ 0 w 163"/>
                  <a:gd name="T15" fmla="*/ 96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3" h="96">
                    <a:moveTo>
                      <a:pt x="0" y="96"/>
                    </a:moveTo>
                    <a:lnTo>
                      <a:pt x="160" y="96"/>
                    </a:lnTo>
                    <a:lnTo>
                      <a:pt x="160" y="96"/>
                    </a:lnTo>
                    <a:lnTo>
                      <a:pt x="163" y="96"/>
                    </a:lnTo>
                    <a:lnTo>
                      <a:pt x="163" y="0"/>
                    </a:lnTo>
                    <a:lnTo>
                      <a:pt x="3" y="0"/>
                    </a:lnTo>
                    <a:lnTo>
                      <a:pt x="3" y="96"/>
                    </a:lnTo>
                    <a:lnTo>
                      <a:pt x="0" y="96"/>
                    </a:ln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4" name="Rectangle 18"/>
              <p:cNvSpPr>
                <a:spLocks noChangeArrowheads="1"/>
              </p:cNvSpPr>
              <p:nvPr/>
            </p:nvSpPr>
            <p:spPr bwMode="gray">
              <a:xfrm>
                <a:off x="5026026" y="1955800"/>
                <a:ext cx="385763" cy="31750"/>
              </a:xfrm>
              <a:prstGeom prst="rect">
                <a:avLst/>
              </a:prstGeom>
              <a:solidFill>
                <a:srgbClr val="4D4D4D"/>
              </a:solidFill>
              <a:ln w="0">
                <a:noFill/>
                <a:prstDash val="solid"/>
                <a:miter lim="800000"/>
                <a:headEnd/>
                <a:tailEnd/>
              </a:ln>
              <a:extLst>
                <a:ext uri="{91240B29-F687-4F45-9708-019B960494DF}">
                  <a14:hiddenLine xmlns:a14="http://schemas.microsoft.com/office/drawing/2010/main" w="0">
                    <a:solidFill>
                      <a:srgbClr val="000000"/>
                    </a:solidFill>
                    <a:prstDash val="solid"/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5" name="Freeform 19"/>
              <p:cNvSpPr>
                <a:spLocks noEditPoints="1"/>
              </p:cNvSpPr>
              <p:nvPr/>
            </p:nvSpPr>
            <p:spPr bwMode="gray">
              <a:xfrm>
                <a:off x="5073651" y="1284288"/>
                <a:ext cx="287338" cy="346075"/>
              </a:xfrm>
              <a:custGeom>
                <a:avLst/>
                <a:gdLst>
                  <a:gd name="T0" fmla="*/ 13 w 501"/>
                  <a:gd name="T1" fmla="*/ 358 h 591"/>
                  <a:gd name="T2" fmla="*/ 17 w 501"/>
                  <a:gd name="T3" fmla="*/ 368 h 591"/>
                  <a:gd name="T4" fmla="*/ 37 w 501"/>
                  <a:gd name="T5" fmla="*/ 402 h 591"/>
                  <a:gd name="T6" fmla="*/ 252 w 501"/>
                  <a:gd name="T7" fmla="*/ 590 h 591"/>
                  <a:gd name="T8" fmla="*/ 465 w 501"/>
                  <a:gd name="T9" fmla="*/ 401 h 591"/>
                  <a:gd name="T10" fmla="*/ 484 w 501"/>
                  <a:gd name="T11" fmla="*/ 366 h 591"/>
                  <a:gd name="T12" fmla="*/ 488 w 501"/>
                  <a:gd name="T13" fmla="*/ 356 h 591"/>
                  <a:gd name="T14" fmla="*/ 479 w 501"/>
                  <a:gd name="T15" fmla="*/ 288 h 591"/>
                  <a:gd name="T16" fmla="*/ 479 w 501"/>
                  <a:gd name="T17" fmla="*/ 286 h 591"/>
                  <a:gd name="T18" fmla="*/ 250 w 501"/>
                  <a:gd name="T19" fmla="*/ 1 h 591"/>
                  <a:gd name="T20" fmla="*/ 22 w 501"/>
                  <a:gd name="T21" fmla="*/ 287 h 591"/>
                  <a:gd name="T22" fmla="*/ 22 w 501"/>
                  <a:gd name="T23" fmla="*/ 290 h 591"/>
                  <a:gd name="T24" fmla="*/ 13 w 501"/>
                  <a:gd name="T25" fmla="*/ 358 h 591"/>
                  <a:gd name="T26" fmla="*/ 43 w 501"/>
                  <a:gd name="T27" fmla="*/ 313 h 591"/>
                  <a:gd name="T28" fmla="*/ 43 w 501"/>
                  <a:gd name="T29" fmla="*/ 313 h 591"/>
                  <a:gd name="T30" fmla="*/ 51 w 501"/>
                  <a:gd name="T31" fmla="*/ 306 h 591"/>
                  <a:gd name="T32" fmla="*/ 88 w 501"/>
                  <a:gd name="T33" fmla="*/ 312 h 591"/>
                  <a:gd name="T34" fmla="*/ 96 w 501"/>
                  <a:gd name="T35" fmla="*/ 307 h 591"/>
                  <a:gd name="T36" fmla="*/ 119 w 501"/>
                  <a:gd name="T37" fmla="*/ 254 h 591"/>
                  <a:gd name="T38" fmla="*/ 323 w 501"/>
                  <a:gd name="T39" fmla="*/ 282 h 591"/>
                  <a:gd name="T40" fmla="*/ 382 w 501"/>
                  <a:gd name="T41" fmla="*/ 275 h 591"/>
                  <a:gd name="T42" fmla="*/ 397 w 501"/>
                  <a:gd name="T43" fmla="*/ 311 h 591"/>
                  <a:gd name="T44" fmla="*/ 404 w 501"/>
                  <a:gd name="T45" fmla="*/ 316 h 591"/>
                  <a:gd name="T46" fmla="*/ 406 w 501"/>
                  <a:gd name="T47" fmla="*/ 315 h 591"/>
                  <a:gd name="T48" fmla="*/ 449 w 501"/>
                  <a:gd name="T49" fmla="*/ 303 h 591"/>
                  <a:gd name="T50" fmla="*/ 458 w 501"/>
                  <a:gd name="T51" fmla="*/ 312 h 591"/>
                  <a:gd name="T52" fmla="*/ 459 w 501"/>
                  <a:gd name="T53" fmla="*/ 312 h 591"/>
                  <a:gd name="T54" fmla="*/ 460 w 501"/>
                  <a:gd name="T55" fmla="*/ 343 h 591"/>
                  <a:gd name="T56" fmla="*/ 455 w 501"/>
                  <a:gd name="T57" fmla="*/ 355 h 591"/>
                  <a:gd name="T58" fmla="*/ 444 w 501"/>
                  <a:gd name="T59" fmla="*/ 378 h 591"/>
                  <a:gd name="T60" fmla="*/ 437 w 501"/>
                  <a:gd name="T61" fmla="*/ 387 h 591"/>
                  <a:gd name="T62" fmla="*/ 252 w 501"/>
                  <a:gd name="T63" fmla="*/ 559 h 591"/>
                  <a:gd name="T64" fmla="*/ 65 w 501"/>
                  <a:gd name="T65" fmla="*/ 388 h 591"/>
                  <a:gd name="T66" fmla="*/ 58 w 501"/>
                  <a:gd name="T67" fmla="*/ 379 h 591"/>
                  <a:gd name="T68" fmla="*/ 46 w 501"/>
                  <a:gd name="T69" fmla="*/ 356 h 591"/>
                  <a:gd name="T70" fmla="*/ 41 w 501"/>
                  <a:gd name="T71" fmla="*/ 344 h 591"/>
                  <a:gd name="T72" fmla="*/ 43 w 501"/>
                  <a:gd name="T73" fmla="*/ 313 h 5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501" h="591">
                    <a:moveTo>
                      <a:pt x="13" y="358"/>
                    </a:moveTo>
                    <a:cubicBezTo>
                      <a:pt x="14" y="360"/>
                      <a:pt x="16" y="364"/>
                      <a:pt x="17" y="368"/>
                    </a:cubicBezTo>
                    <a:cubicBezTo>
                      <a:pt x="24" y="384"/>
                      <a:pt x="29" y="395"/>
                      <a:pt x="37" y="402"/>
                    </a:cubicBezTo>
                    <a:cubicBezTo>
                      <a:pt x="71" y="513"/>
                      <a:pt x="159" y="591"/>
                      <a:pt x="252" y="590"/>
                    </a:cubicBezTo>
                    <a:cubicBezTo>
                      <a:pt x="346" y="590"/>
                      <a:pt x="433" y="512"/>
                      <a:pt x="465" y="401"/>
                    </a:cubicBezTo>
                    <a:cubicBezTo>
                      <a:pt x="473" y="394"/>
                      <a:pt x="478" y="382"/>
                      <a:pt x="484" y="366"/>
                    </a:cubicBezTo>
                    <a:cubicBezTo>
                      <a:pt x="486" y="362"/>
                      <a:pt x="487" y="359"/>
                      <a:pt x="488" y="356"/>
                    </a:cubicBezTo>
                    <a:cubicBezTo>
                      <a:pt x="501" y="330"/>
                      <a:pt x="497" y="302"/>
                      <a:pt x="479" y="288"/>
                    </a:cubicBezTo>
                    <a:lnTo>
                      <a:pt x="479" y="286"/>
                    </a:lnTo>
                    <a:cubicBezTo>
                      <a:pt x="479" y="147"/>
                      <a:pt x="460" y="0"/>
                      <a:pt x="250" y="1"/>
                    </a:cubicBezTo>
                    <a:cubicBezTo>
                      <a:pt x="39" y="1"/>
                      <a:pt x="21" y="143"/>
                      <a:pt x="22" y="287"/>
                    </a:cubicBezTo>
                    <a:cubicBezTo>
                      <a:pt x="22" y="288"/>
                      <a:pt x="22" y="289"/>
                      <a:pt x="22" y="290"/>
                    </a:cubicBezTo>
                    <a:cubicBezTo>
                      <a:pt x="4" y="304"/>
                      <a:pt x="0" y="332"/>
                      <a:pt x="13" y="358"/>
                    </a:cubicBezTo>
                    <a:close/>
                    <a:moveTo>
                      <a:pt x="43" y="313"/>
                    </a:moveTo>
                    <a:lnTo>
                      <a:pt x="43" y="313"/>
                    </a:lnTo>
                    <a:cubicBezTo>
                      <a:pt x="47" y="312"/>
                      <a:pt x="49" y="309"/>
                      <a:pt x="51" y="306"/>
                    </a:cubicBezTo>
                    <a:lnTo>
                      <a:pt x="88" y="312"/>
                    </a:lnTo>
                    <a:cubicBezTo>
                      <a:pt x="91" y="312"/>
                      <a:pt x="95" y="311"/>
                      <a:pt x="96" y="307"/>
                    </a:cubicBezTo>
                    <a:lnTo>
                      <a:pt x="119" y="254"/>
                    </a:lnTo>
                    <a:cubicBezTo>
                      <a:pt x="146" y="260"/>
                      <a:pt x="245" y="283"/>
                      <a:pt x="323" y="282"/>
                    </a:cubicBezTo>
                    <a:cubicBezTo>
                      <a:pt x="347" y="282"/>
                      <a:pt x="367" y="280"/>
                      <a:pt x="382" y="275"/>
                    </a:cubicBezTo>
                    <a:lnTo>
                      <a:pt x="397" y="311"/>
                    </a:lnTo>
                    <a:cubicBezTo>
                      <a:pt x="398" y="314"/>
                      <a:pt x="401" y="316"/>
                      <a:pt x="404" y="316"/>
                    </a:cubicBezTo>
                    <a:cubicBezTo>
                      <a:pt x="405" y="316"/>
                      <a:pt x="406" y="315"/>
                      <a:pt x="406" y="315"/>
                    </a:cubicBezTo>
                    <a:lnTo>
                      <a:pt x="449" y="303"/>
                    </a:lnTo>
                    <a:cubicBezTo>
                      <a:pt x="451" y="307"/>
                      <a:pt x="454" y="310"/>
                      <a:pt x="458" y="312"/>
                    </a:cubicBezTo>
                    <a:lnTo>
                      <a:pt x="459" y="312"/>
                    </a:lnTo>
                    <a:cubicBezTo>
                      <a:pt x="465" y="315"/>
                      <a:pt x="467" y="329"/>
                      <a:pt x="460" y="343"/>
                    </a:cubicBezTo>
                    <a:cubicBezTo>
                      <a:pt x="459" y="346"/>
                      <a:pt x="457" y="350"/>
                      <a:pt x="455" y="355"/>
                    </a:cubicBezTo>
                    <a:cubicBezTo>
                      <a:pt x="453" y="361"/>
                      <a:pt x="447" y="374"/>
                      <a:pt x="444" y="378"/>
                    </a:cubicBezTo>
                    <a:cubicBezTo>
                      <a:pt x="440" y="380"/>
                      <a:pt x="438" y="383"/>
                      <a:pt x="437" y="387"/>
                    </a:cubicBezTo>
                    <a:cubicBezTo>
                      <a:pt x="409" y="488"/>
                      <a:pt x="333" y="559"/>
                      <a:pt x="252" y="559"/>
                    </a:cubicBezTo>
                    <a:cubicBezTo>
                      <a:pt x="171" y="559"/>
                      <a:pt x="94" y="489"/>
                      <a:pt x="65" y="388"/>
                    </a:cubicBezTo>
                    <a:cubicBezTo>
                      <a:pt x="64" y="384"/>
                      <a:pt x="61" y="381"/>
                      <a:pt x="58" y="379"/>
                    </a:cubicBezTo>
                    <a:cubicBezTo>
                      <a:pt x="54" y="376"/>
                      <a:pt x="49" y="362"/>
                      <a:pt x="46" y="356"/>
                    </a:cubicBezTo>
                    <a:cubicBezTo>
                      <a:pt x="44" y="351"/>
                      <a:pt x="43" y="347"/>
                      <a:pt x="41" y="344"/>
                    </a:cubicBezTo>
                    <a:cubicBezTo>
                      <a:pt x="34" y="330"/>
                      <a:pt x="36" y="316"/>
                      <a:pt x="43" y="313"/>
                    </a:cubicBezTo>
                    <a:close/>
                  </a:path>
                </a:pathLst>
              </a:custGeom>
              <a:solidFill>
                <a:srgbClr val="4D4D4D"/>
              </a:solidFill>
              <a:ln w="0">
                <a:noFill/>
                <a:prstDash val="solid"/>
                <a:round/>
                <a:headEnd/>
                <a:tailEnd/>
              </a:ln>
              <a:extLst>
                <a:ext uri="{91240B29-F687-4F45-9708-019B960494DF}">
                  <a14:hiddenLine xmlns:a14="http://schemas.microsoft.com/office/drawing/2010/main"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pic>
          <p:nvPicPr>
            <p:cNvPr id="29" name="Picture 3" descr="C:\Users\rajarrv\AppData\Local\Microsoft\Windows\Temporary Internet Files\Content.Outlook\3CY2KM7L\B-No Background FORCE LOGO.png"/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919134" y="4095401"/>
              <a:ext cx="276515" cy="7896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6" name="TextBox 96"/>
          <p:cNvSpPr txBox="1"/>
          <p:nvPr/>
        </p:nvSpPr>
        <p:spPr bwMode="auto">
          <a:xfrm>
            <a:off x="1626757" y="3724505"/>
            <a:ext cx="864096" cy="149219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2"/>
            </a:solidFill>
            <a:prstDash val="sysDot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lvl="0" fontAlgn="base">
              <a:defRPr sz="1600">
                <a:solidFill>
                  <a:srgbClr val="000000"/>
                </a:solidFill>
                <a:latin typeface="CorpoS" pitchFamily="2" charset="0"/>
              </a:defRPr>
            </a:lvl1pPr>
          </a:lstStyle>
          <a:p>
            <a:pPr algn="ctr"/>
            <a:r>
              <a:rPr lang="ja-JP" altLang="en-US" sz="1200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整備業務</a:t>
            </a:r>
            <a:endParaRPr lang="en-US" sz="1200" dirty="0"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grpSp>
        <p:nvGrpSpPr>
          <p:cNvPr id="37" name="Group 112"/>
          <p:cNvGrpSpPr>
            <a:grpSpLocks noChangeAspect="1"/>
          </p:cNvGrpSpPr>
          <p:nvPr/>
        </p:nvGrpSpPr>
        <p:grpSpPr>
          <a:xfrm>
            <a:off x="4330662" y="3294654"/>
            <a:ext cx="635336" cy="635336"/>
            <a:chOff x="1563866" y="3369910"/>
            <a:chExt cx="994581" cy="994581"/>
          </a:xfrm>
        </p:grpSpPr>
        <p:grpSp>
          <p:nvGrpSpPr>
            <p:cNvPr id="38" name="Group 131"/>
            <p:cNvGrpSpPr>
              <a:grpSpLocks noChangeAspect="1"/>
            </p:cNvGrpSpPr>
            <p:nvPr/>
          </p:nvGrpSpPr>
          <p:grpSpPr bwMode="gray">
            <a:xfrm>
              <a:off x="1563866" y="3369910"/>
              <a:ext cx="994581" cy="994581"/>
              <a:chOff x="4814888" y="1222375"/>
              <a:chExt cx="828675" cy="828675"/>
            </a:xfrm>
          </p:grpSpPr>
          <p:sp>
            <p:nvSpPr>
              <p:cNvPr id="40" name="AutoShape 13"/>
              <p:cNvSpPr>
                <a:spLocks noChangeAspect="1" noChangeArrowheads="1" noTextEdit="1"/>
              </p:cNvSpPr>
              <p:nvPr/>
            </p:nvSpPr>
            <p:spPr bwMode="gray">
              <a:xfrm>
                <a:off x="4814888" y="1222375"/>
                <a:ext cx="828675" cy="8286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2" name="Freeform 15"/>
              <p:cNvSpPr>
                <a:spLocks/>
              </p:cNvSpPr>
              <p:nvPr/>
            </p:nvSpPr>
            <p:spPr bwMode="gray">
              <a:xfrm>
                <a:off x="4956176" y="1600200"/>
                <a:ext cx="250825" cy="339725"/>
              </a:xfrm>
              <a:custGeom>
                <a:avLst/>
                <a:gdLst>
                  <a:gd name="T0" fmla="*/ 183 w 439"/>
                  <a:gd name="T1" fmla="*/ 290 h 580"/>
                  <a:gd name="T2" fmla="*/ 214 w 439"/>
                  <a:gd name="T3" fmla="*/ 259 h 580"/>
                  <a:gd name="T4" fmla="*/ 439 w 439"/>
                  <a:gd name="T5" fmla="*/ 259 h 580"/>
                  <a:gd name="T6" fmla="*/ 295 w 439"/>
                  <a:gd name="T7" fmla="*/ 0 h 580"/>
                  <a:gd name="T8" fmla="*/ 189 w 439"/>
                  <a:gd name="T9" fmla="*/ 22 h 580"/>
                  <a:gd name="T10" fmla="*/ 132 w 439"/>
                  <a:gd name="T11" fmla="*/ 76 h 580"/>
                  <a:gd name="T12" fmla="*/ 6 w 439"/>
                  <a:gd name="T13" fmla="*/ 486 h 580"/>
                  <a:gd name="T14" fmla="*/ 19 w 439"/>
                  <a:gd name="T15" fmla="*/ 551 h 580"/>
                  <a:gd name="T16" fmla="*/ 78 w 439"/>
                  <a:gd name="T17" fmla="*/ 580 h 580"/>
                  <a:gd name="T18" fmla="*/ 184 w 439"/>
                  <a:gd name="T19" fmla="*/ 580 h 580"/>
                  <a:gd name="T20" fmla="*/ 183 w 439"/>
                  <a:gd name="T21" fmla="*/ 290 h 580"/>
                  <a:gd name="T22" fmla="*/ 183 w 439"/>
                  <a:gd name="T23" fmla="*/ 290 h 5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39" h="580">
                    <a:moveTo>
                      <a:pt x="183" y="290"/>
                    </a:moveTo>
                    <a:lnTo>
                      <a:pt x="214" y="259"/>
                    </a:lnTo>
                    <a:lnTo>
                      <a:pt x="439" y="259"/>
                    </a:lnTo>
                    <a:lnTo>
                      <a:pt x="295" y="0"/>
                    </a:lnTo>
                    <a:lnTo>
                      <a:pt x="189" y="22"/>
                    </a:lnTo>
                    <a:cubicBezTo>
                      <a:pt x="162" y="27"/>
                      <a:pt x="140" y="48"/>
                      <a:pt x="132" y="76"/>
                    </a:cubicBezTo>
                    <a:lnTo>
                      <a:pt x="6" y="486"/>
                    </a:lnTo>
                    <a:cubicBezTo>
                      <a:pt x="0" y="509"/>
                      <a:pt x="5" y="532"/>
                      <a:pt x="19" y="551"/>
                    </a:cubicBezTo>
                    <a:cubicBezTo>
                      <a:pt x="34" y="569"/>
                      <a:pt x="55" y="580"/>
                      <a:pt x="78" y="580"/>
                    </a:cubicBezTo>
                    <a:lnTo>
                      <a:pt x="184" y="580"/>
                    </a:lnTo>
                    <a:lnTo>
                      <a:pt x="183" y="290"/>
                    </a:lnTo>
                    <a:lnTo>
                      <a:pt x="183" y="290"/>
                    </a:lnTo>
                    <a:close/>
                  </a:path>
                </a:pathLst>
              </a:custGeom>
              <a:solidFill>
                <a:srgbClr val="4D4D4D"/>
              </a:solidFill>
              <a:ln w="0">
                <a:noFill/>
                <a:prstDash val="solid"/>
                <a:round/>
                <a:headEnd/>
                <a:tailEnd/>
              </a:ln>
              <a:extLst>
                <a:ext uri="{91240B29-F687-4F45-9708-019B960494DF}">
                  <a14:hiddenLine xmlns:a14="http://schemas.microsoft.com/office/drawing/2010/main"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3" name="Freeform 16"/>
              <p:cNvSpPr>
                <a:spLocks/>
              </p:cNvSpPr>
              <p:nvPr/>
            </p:nvSpPr>
            <p:spPr bwMode="gray">
              <a:xfrm>
                <a:off x="5229226" y="1600200"/>
                <a:ext cx="252413" cy="339725"/>
              </a:xfrm>
              <a:custGeom>
                <a:avLst/>
                <a:gdLst>
                  <a:gd name="T0" fmla="*/ 433 w 439"/>
                  <a:gd name="T1" fmla="*/ 485 h 579"/>
                  <a:gd name="T2" fmla="*/ 307 w 439"/>
                  <a:gd name="T3" fmla="*/ 75 h 579"/>
                  <a:gd name="T4" fmla="*/ 249 w 439"/>
                  <a:gd name="T5" fmla="*/ 20 h 579"/>
                  <a:gd name="T6" fmla="*/ 143 w 439"/>
                  <a:gd name="T7" fmla="*/ 0 h 579"/>
                  <a:gd name="T8" fmla="*/ 0 w 439"/>
                  <a:gd name="T9" fmla="*/ 258 h 579"/>
                  <a:gd name="T10" fmla="*/ 242 w 439"/>
                  <a:gd name="T11" fmla="*/ 258 h 579"/>
                  <a:gd name="T12" fmla="*/ 273 w 439"/>
                  <a:gd name="T13" fmla="*/ 289 h 579"/>
                  <a:gd name="T14" fmla="*/ 273 w 439"/>
                  <a:gd name="T15" fmla="*/ 579 h 579"/>
                  <a:gd name="T16" fmla="*/ 361 w 439"/>
                  <a:gd name="T17" fmla="*/ 579 h 579"/>
                  <a:gd name="T18" fmla="*/ 420 w 439"/>
                  <a:gd name="T19" fmla="*/ 550 h 579"/>
                  <a:gd name="T20" fmla="*/ 433 w 439"/>
                  <a:gd name="T21" fmla="*/ 485 h 5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39" h="579">
                    <a:moveTo>
                      <a:pt x="433" y="485"/>
                    </a:moveTo>
                    <a:lnTo>
                      <a:pt x="307" y="75"/>
                    </a:lnTo>
                    <a:cubicBezTo>
                      <a:pt x="299" y="47"/>
                      <a:pt x="277" y="26"/>
                      <a:pt x="249" y="20"/>
                    </a:cubicBezTo>
                    <a:lnTo>
                      <a:pt x="143" y="0"/>
                    </a:lnTo>
                    <a:lnTo>
                      <a:pt x="0" y="258"/>
                    </a:lnTo>
                    <a:lnTo>
                      <a:pt x="242" y="258"/>
                    </a:lnTo>
                    <a:lnTo>
                      <a:pt x="273" y="289"/>
                    </a:lnTo>
                    <a:lnTo>
                      <a:pt x="273" y="579"/>
                    </a:lnTo>
                    <a:lnTo>
                      <a:pt x="361" y="579"/>
                    </a:lnTo>
                    <a:cubicBezTo>
                      <a:pt x="384" y="579"/>
                      <a:pt x="406" y="568"/>
                      <a:pt x="420" y="550"/>
                    </a:cubicBezTo>
                    <a:cubicBezTo>
                      <a:pt x="434" y="531"/>
                      <a:pt x="439" y="508"/>
                      <a:pt x="433" y="485"/>
                    </a:cubicBezTo>
                    <a:close/>
                  </a:path>
                </a:pathLst>
              </a:custGeom>
              <a:solidFill>
                <a:srgbClr val="4D4D4D"/>
              </a:solidFill>
              <a:ln w="0">
                <a:noFill/>
                <a:prstDash val="solid"/>
                <a:round/>
                <a:headEnd/>
                <a:tailEnd/>
              </a:ln>
              <a:extLst>
                <a:ext uri="{91240B29-F687-4F45-9708-019B960494DF}">
                  <a14:hiddenLine xmlns:a14="http://schemas.microsoft.com/office/drawing/2010/main"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4" name="Freeform 17"/>
              <p:cNvSpPr>
                <a:spLocks/>
              </p:cNvSpPr>
              <p:nvPr/>
            </p:nvSpPr>
            <p:spPr bwMode="gray">
              <a:xfrm>
                <a:off x="5091113" y="1787525"/>
                <a:ext cx="258763" cy="152400"/>
              </a:xfrm>
              <a:custGeom>
                <a:avLst/>
                <a:gdLst>
                  <a:gd name="T0" fmla="*/ 0 w 163"/>
                  <a:gd name="T1" fmla="*/ 96 h 96"/>
                  <a:gd name="T2" fmla="*/ 160 w 163"/>
                  <a:gd name="T3" fmla="*/ 96 h 96"/>
                  <a:gd name="T4" fmla="*/ 160 w 163"/>
                  <a:gd name="T5" fmla="*/ 96 h 96"/>
                  <a:gd name="T6" fmla="*/ 163 w 163"/>
                  <a:gd name="T7" fmla="*/ 96 h 96"/>
                  <a:gd name="T8" fmla="*/ 163 w 163"/>
                  <a:gd name="T9" fmla="*/ 0 h 96"/>
                  <a:gd name="T10" fmla="*/ 3 w 163"/>
                  <a:gd name="T11" fmla="*/ 0 h 96"/>
                  <a:gd name="T12" fmla="*/ 3 w 163"/>
                  <a:gd name="T13" fmla="*/ 96 h 96"/>
                  <a:gd name="T14" fmla="*/ 0 w 163"/>
                  <a:gd name="T15" fmla="*/ 96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3" h="96">
                    <a:moveTo>
                      <a:pt x="0" y="96"/>
                    </a:moveTo>
                    <a:lnTo>
                      <a:pt x="160" y="96"/>
                    </a:lnTo>
                    <a:lnTo>
                      <a:pt x="160" y="96"/>
                    </a:lnTo>
                    <a:lnTo>
                      <a:pt x="163" y="96"/>
                    </a:lnTo>
                    <a:lnTo>
                      <a:pt x="163" y="0"/>
                    </a:lnTo>
                    <a:lnTo>
                      <a:pt x="3" y="0"/>
                    </a:lnTo>
                    <a:lnTo>
                      <a:pt x="3" y="96"/>
                    </a:lnTo>
                    <a:lnTo>
                      <a:pt x="0" y="96"/>
                    </a:ln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6" name="Rectangle 18"/>
              <p:cNvSpPr>
                <a:spLocks noChangeArrowheads="1"/>
              </p:cNvSpPr>
              <p:nvPr/>
            </p:nvSpPr>
            <p:spPr bwMode="gray">
              <a:xfrm>
                <a:off x="5026026" y="1955800"/>
                <a:ext cx="385763" cy="31750"/>
              </a:xfrm>
              <a:prstGeom prst="rect">
                <a:avLst/>
              </a:prstGeom>
              <a:solidFill>
                <a:srgbClr val="4D4D4D"/>
              </a:solidFill>
              <a:ln w="0">
                <a:noFill/>
                <a:prstDash val="solid"/>
                <a:miter lim="800000"/>
                <a:headEnd/>
                <a:tailEnd/>
              </a:ln>
              <a:extLst>
                <a:ext uri="{91240B29-F687-4F45-9708-019B960494DF}">
                  <a14:hiddenLine xmlns:a14="http://schemas.microsoft.com/office/drawing/2010/main" w="0">
                    <a:solidFill>
                      <a:srgbClr val="000000"/>
                    </a:solidFill>
                    <a:prstDash val="solid"/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7" name="Freeform 19"/>
              <p:cNvSpPr>
                <a:spLocks noEditPoints="1"/>
              </p:cNvSpPr>
              <p:nvPr/>
            </p:nvSpPr>
            <p:spPr bwMode="gray">
              <a:xfrm>
                <a:off x="5073651" y="1284288"/>
                <a:ext cx="287338" cy="346075"/>
              </a:xfrm>
              <a:custGeom>
                <a:avLst/>
                <a:gdLst>
                  <a:gd name="T0" fmla="*/ 13 w 501"/>
                  <a:gd name="T1" fmla="*/ 358 h 591"/>
                  <a:gd name="T2" fmla="*/ 17 w 501"/>
                  <a:gd name="T3" fmla="*/ 368 h 591"/>
                  <a:gd name="T4" fmla="*/ 37 w 501"/>
                  <a:gd name="T5" fmla="*/ 402 h 591"/>
                  <a:gd name="T6" fmla="*/ 252 w 501"/>
                  <a:gd name="T7" fmla="*/ 590 h 591"/>
                  <a:gd name="T8" fmla="*/ 465 w 501"/>
                  <a:gd name="T9" fmla="*/ 401 h 591"/>
                  <a:gd name="T10" fmla="*/ 484 w 501"/>
                  <a:gd name="T11" fmla="*/ 366 h 591"/>
                  <a:gd name="T12" fmla="*/ 488 w 501"/>
                  <a:gd name="T13" fmla="*/ 356 h 591"/>
                  <a:gd name="T14" fmla="*/ 479 w 501"/>
                  <a:gd name="T15" fmla="*/ 288 h 591"/>
                  <a:gd name="T16" fmla="*/ 479 w 501"/>
                  <a:gd name="T17" fmla="*/ 286 h 591"/>
                  <a:gd name="T18" fmla="*/ 250 w 501"/>
                  <a:gd name="T19" fmla="*/ 1 h 591"/>
                  <a:gd name="T20" fmla="*/ 22 w 501"/>
                  <a:gd name="T21" fmla="*/ 287 h 591"/>
                  <a:gd name="T22" fmla="*/ 22 w 501"/>
                  <a:gd name="T23" fmla="*/ 290 h 591"/>
                  <a:gd name="T24" fmla="*/ 13 w 501"/>
                  <a:gd name="T25" fmla="*/ 358 h 591"/>
                  <a:gd name="T26" fmla="*/ 43 w 501"/>
                  <a:gd name="T27" fmla="*/ 313 h 591"/>
                  <a:gd name="T28" fmla="*/ 43 w 501"/>
                  <a:gd name="T29" fmla="*/ 313 h 591"/>
                  <a:gd name="T30" fmla="*/ 51 w 501"/>
                  <a:gd name="T31" fmla="*/ 306 h 591"/>
                  <a:gd name="T32" fmla="*/ 88 w 501"/>
                  <a:gd name="T33" fmla="*/ 312 h 591"/>
                  <a:gd name="T34" fmla="*/ 96 w 501"/>
                  <a:gd name="T35" fmla="*/ 307 h 591"/>
                  <a:gd name="T36" fmla="*/ 119 w 501"/>
                  <a:gd name="T37" fmla="*/ 254 h 591"/>
                  <a:gd name="T38" fmla="*/ 323 w 501"/>
                  <a:gd name="T39" fmla="*/ 282 h 591"/>
                  <a:gd name="T40" fmla="*/ 382 w 501"/>
                  <a:gd name="T41" fmla="*/ 275 h 591"/>
                  <a:gd name="T42" fmla="*/ 397 w 501"/>
                  <a:gd name="T43" fmla="*/ 311 h 591"/>
                  <a:gd name="T44" fmla="*/ 404 w 501"/>
                  <a:gd name="T45" fmla="*/ 316 h 591"/>
                  <a:gd name="T46" fmla="*/ 406 w 501"/>
                  <a:gd name="T47" fmla="*/ 315 h 591"/>
                  <a:gd name="T48" fmla="*/ 449 w 501"/>
                  <a:gd name="T49" fmla="*/ 303 h 591"/>
                  <a:gd name="T50" fmla="*/ 458 w 501"/>
                  <a:gd name="T51" fmla="*/ 312 h 591"/>
                  <a:gd name="T52" fmla="*/ 459 w 501"/>
                  <a:gd name="T53" fmla="*/ 312 h 591"/>
                  <a:gd name="T54" fmla="*/ 460 w 501"/>
                  <a:gd name="T55" fmla="*/ 343 h 591"/>
                  <a:gd name="T56" fmla="*/ 455 w 501"/>
                  <a:gd name="T57" fmla="*/ 355 h 591"/>
                  <a:gd name="T58" fmla="*/ 444 w 501"/>
                  <a:gd name="T59" fmla="*/ 378 h 591"/>
                  <a:gd name="T60" fmla="*/ 437 w 501"/>
                  <a:gd name="T61" fmla="*/ 387 h 591"/>
                  <a:gd name="T62" fmla="*/ 252 w 501"/>
                  <a:gd name="T63" fmla="*/ 559 h 591"/>
                  <a:gd name="T64" fmla="*/ 65 w 501"/>
                  <a:gd name="T65" fmla="*/ 388 h 591"/>
                  <a:gd name="T66" fmla="*/ 58 w 501"/>
                  <a:gd name="T67" fmla="*/ 379 h 591"/>
                  <a:gd name="T68" fmla="*/ 46 w 501"/>
                  <a:gd name="T69" fmla="*/ 356 h 591"/>
                  <a:gd name="T70" fmla="*/ 41 w 501"/>
                  <a:gd name="T71" fmla="*/ 344 h 591"/>
                  <a:gd name="T72" fmla="*/ 43 w 501"/>
                  <a:gd name="T73" fmla="*/ 313 h 5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501" h="591">
                    <a:moveTo>
                      <a:pt x="13" y="358"/>
                    </a:moveTo>
                    <a:cubicBezTo>
                      <a:pt x="14" y="360"/>
                      <a:pt x="16" y="364"/>
                      <a:pt x="17" y="368"/>
                    </a:cubicBezTo>
                    <a:cubicBezTo>
                      <a:pt x="24" y="384"/>
                      <a:pt x="29" y="395"/>
                      <a:pt x="37" y="402"/>
                    </a:cubicBezTo>
                    <a:cubicBezTo>
                      <a:pt x="71" y="513"/>
                      <a:pt x="159" y="591"/>
                      <a:pt x="252" y="590"/>
                    </a:cubicBezTo>
                    <a:cubicBezTo>
                      <a:pt x="346" y="590"/>
                      <a:pt x="433" y="512"/>
                      <a:pt x="465" y="401"/>
                    </a:cubicBezTo>
                    <a:cubicBezTo>
                      <a:pt x="473" y="394"/>
                      <a:pt x="478" y="382"/>
                      <a:pt x="484" y="366"/>
                    </a:cubicBezTo>
                    <a:cubicBezTo>
                      <a:pt x="486" y="362"/>
                      <a:pt x="487" y="359"/>
                      <a:pt x="488" y="356"/>
                    </a:cubicBezTo>
                    <a:cubicBezTo>
                      <a:pt x="501" y="330"/>
                      <a:pt x="497" y="302"/>
                      <a:pt x="479" y="288"/>
                    </a:cubicBezTo>
                    <a:lnTo>
                      <a:pt x="479" y="286"/>
                    </a:lnTo>
                    <a:cubicBezTo>
                      <a:pt x="479" y="147"/>
                      <a:pt x="460" y="0"/>
                      <a:pt x="250" y="1"/>
                    </a:cubicBezTo>
                    <a:cubicBezTo>
                      <a:pt x="39" y="1"/>
                      <a:pt x="21" y="143"/>
                      <a:pt x="22" y="287"/>
                    </a:cubicBezTo>
                    <a:cubicBezTo>
                      <a:pt x="22" y="288"/>
                      <a:pt x="22" y="289"/>
                      <a:pt x="22" y="290"/>
                    </a:cubicBezTo>
                    <a:cubicBezTo>
                      <a:pt x="4" y="304"/>
                      <a:pt x="0" y="332"/>
                      <a:pt x="13" y="358"/>
                    </a:cubicBezTo>
                    <a:close/>
                    <a:moveTo>
                      <a:pt x="43" y="313"/>
                    </a:moveTo>
                    <a:lnTo>
                      <a:pt x="43" y="313"/>
                    </a:lnTo>
                    <a:cubicBezTo>
                      <a:pt x="47" y="312"/>
                      <a:pt x="49" y="309"/>
                      <a:pt x="51" y="306"/>
                    </a:cubicBezTo>
                    <a:lnTo>
                      <a:pt x="88" y="312"/>
                    </a:lnTo>
                    <a:cubicBezTo>
                      <a:pt x="91" y="312"/>
                      <a:pt x="95" y="311"/>
                      <a:pt x="96" y="307"/>
                    </a:cubicBezTo>
                    <a:lnTo>
                      <a:pt x="119" y="254"/>
                    </a:lnTo>
                    <a:cubicBezTo>
                      <a:pt x="146" y="260"/>
                      <a:pt x="245" y="283"/>
                      <a:pt x="323" y="282"/>
                    </a:cubicBezTo>
                    <a:cubicBezTo>
                      <a:pt x="347" y="282"/>
                      <a:pt x="367" y="280"/>
                      <a:pt x="382" y="275"/>
                    </a:cubicBezTo>
                    <a:lnTo>
                      <a:pt x="397" y="311"/>
                    </a:lnTo>
                    <a:cubicBezTo>
                      <a:pt x="398" y="314"/>
                      <a:pt x="401" y="316"/>
                      <a:pt x="404" y="316"/>
                    </a:cubicBezTo>
                    <a:cubicBezTo>
                      <a:pt x="405" y="316"/>
                      <a:pt x="406" y="315"/>
                      <a:pt x="406" y="315"/>
                    </a:cubicBezTo>
                    <a:lnTo>
                      <a:pt x="449" y="303"/>
                    </a:lnTo>
                    <a:cubicBezTo>
                      <a:pt x="451" y="307"/>
                      <a:pt x="454" y="310"/>
                      <a:pt x="458" y="312"/>
                    </a:cubicBezTo>
                    <a:lnTo>
                      <a:pt x="459" y="312"/>
                    </a:lnTo>
                    <a:cubicBezTo>
                      <a:pt x="465" y="315"/>
                      <a:pt x="467" y="329"/>
                      <a:pt x="460" y="343"/>
                    </a:cubicBezTo>
                    <a:cubicBezTo>
                      <a:pt x="459" y="346"/>
                      <a:pt x="457" y="350"/>
                      <a:pt x="455" y="355"/>
                    </a:cubicBezTo>
                    <a:cubicBezTo>
                      <a:pt x="453" y="361"/>
                      <a:pt x="447" y="374"/>
                      <a:pt x="444" y="378"/>
                    </a:cubicBezTo>
                    <a:cubicBezTo>
                      <a:pt x="440" y="380"/>
                      <a:pt x="438" y="383"/>
                      <a:pt x="437" y="387"/>
                    </a:cubicBezTo>
                    <a:cubicBezTo>
                      <a:pt x="409" y="488"/>
                      <a:pt x="333" y="559"/>
                      <a:pt x="252" y="559"/>
                    </a:cubicBezTo>
                    <a:cubicBezTo>
                      <a:pt x="171" y="559"/>
                      <a:pt x="94" y="489"/>
                      <a:pt x="65" y="388"/>
                    </a:cubicBezTo>
                    <a:cubicBezTo>
                      <a:pt x="64" y="384"/>
                      <a:pt x="61" y="381"/>
                      <a:pt x="58" y="379"/>
                    </a:cubicBezTo>
                    <a:cubicBezTo>
                      <a:pt x="54" y="376"/>
                      <a:pt x="49" y="362"/>
                      <a:pt x="46" y="356"/>
                    </a:cubicBezTo>
                    <a:cubicBezTo>
                      <a:pt x="44" y="351"/>
                      <a:pt x="43" y="347"/>
                      <a:pt x="41" y="344"/>
                    </a:cubicBezTo>
                    <a:cubicBezTo>
                      <a:pt x="34" y="330"/>
                      <a:pt x="36" y="316"/>
                      <a:pt x="43" y="313"/>
                    </a:cubicBezTo>
                    <a:close/>
                  </a:path>
                </a:pathLst>
              </a:custGeom>
              <a:solidFill>
                <a:srgbClr val="4D4D4D"/>
              </a:solidFill>
              <a:ln w="0">
                <a:noFill/>
                <a:prstDash val="solid"/>
                <a:round/>
                <a:headEnd/>
                <a:tailEnd/>
              </a:ln>
              <a:extLst>
                <a:ext uri="{91240B29-F687-4F45-9708-019B960494DF}">
                  <a14:hiddenLine xmlns:a14="http://schemas.microsoft.com/office/drawing/2010/main"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pic>
          <p:nvPicPr>
            <p:cNvPr id="39" name="Picture 3" descr="C:\Users\rajarrv\AppData\Local\Microsoft\Windows\Temporary Internet Files\Content.Outlook\3CY2KM7L\B-No Background FORCE LOGO.png"/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919134" y="4095401"/>
              <a:ext cx="276515" cy="7896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48" name="TextBox 96"/>
          <p:cNvSpPr txBox="1"/>
          <p:nvPr/>
        </p:nvSpPr>
        <p:spPr bwMode="auto">
          <a:xfrm>
            <a:off x="3951802" y="3906578"/>
            <a:ext cx="1382198" cy="206444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2"/>
            </a:solidFill>
            <a:prstDash val="sysDot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lvl="0" fontAlgn="base">
              <a:defRPr sz="1600">
                <a:solidFill>
                  <a:srgbClr val="000000"/>
                </a:solidFill>
                <a:latin typeface="CorpoS" pitchFamily="2" charset="0"/>
              </a:defRPr>
            </a:lvl1pPr>
          </a:lstStyle>
          <a:p>
            <a:pPr algn="ctr"/>
            <a:r>
              <a:rPr lang="ja-JP" altLang="en-US" sz="1200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支店整備マネージャ</a:t>
            </a:r>
            <a:endParaRPr lang="en-US" sz="1200" dirty="0"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pic>
        <p:nvPicPr>
          <p:cNvPr id="49" name="図 4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27750" y="3661997"/>
            <a:ext cx="682250" cy="260463"/>
          </a:xfrm>
          <a:prstGeom prst="rect">
            <a:avLst/>
          </a:prstGeom>
        </p:spPr>
      </p:pic>
      <p:sp>
        <p:nvSpPr>
          <p:cNvPr id="50" name="Rectangle 46"/>
          <p:cNvSpPr/>
          <p:nvPr/>
        </p:nvSpPr>
        <p:spPr>
          <a:xfrm>
            <a:off x="8674359" y="1433958"/>
            <a:ext cx="3074296" cy="2071772"/>
          </a:xfrm>
          <a:prstGeom prst="rect">
            <a:avLst/>
          </a:prstGeom>
          <a:noFill/>
          <a:ln w="15875" cap="flat" cmpd="sng" algn="ctr">
            <a:solidFill>
              <a:srgbClr val="C8C8C8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E9E9E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0" rIns="9144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82550" lvl="1">
              <a:buClr>
                <a:srgbClr val="000000"/>
              </a:buClr>
              <a:buSzPct val="100000"/>
            </a:pPr>
            <a:endParaRPr lang="en-US" altLang="ja-JP" sz="1200" dirty="0"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marL="82550" lvl="1">
              <a:buClr>
                <a:srgbClr val="000000"/>
              </a:buClr>
              <a:buSzPct val="100000"/>
            </a:pPr>
            <a:r>
              <a:rPr lang="ja-JP" altLang="en-US" sz="1200" dirty="0" smtClean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■社員マスター</a:t>
            </a:r>
            <a:r>
              <a:rPr lang="ja-JP" altLang="en-US" sz="12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の「マネージャ情報」に</a:t>
            </a:r>
            <a:r>
              <a:rPr lang="ja-JP" altLang="en-US" sz="1200" dirty="0" smtClean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は</a:t>
            </a:r>
            <a:endParaRPr lang="en-US" altLang="ja-JP" sz="1200" dirty="0" smtClean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marL="82550" lvl="1">
              <a:buClr>
                <a:srgbClr val="000000"/>
              </a:buClr>
              <a:buSzPct val="100000"/>
            </a:pPr>
            <a:r>
              <a:rPr lang="ja-JP" altLang="en-US" sz="12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　 </a:t>
            </a:r>
            <a:r>
              <a:rPr lang="ja-JP" altLang="en-US" sz="1200" noProof="1" smtClean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直属の上司（図では支店整備マネージャ）</a:t>
            </a:r>
            <a:endParaRPr lang="en-US" altLang="ja-JP" sz="1200" noProof="1" smtClean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marL="82550" lvl="1">
              <a:buClr>
                <a:srgbClr val="000000"/>
              </a:buClr>
              <a:buSzPct val="100000"/>
            </a:pPr>
            <a:r>
              <a:rPr lang="ja-JP" altLang="en-US" sz="1200" noProof="1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　 </a:t>
            </a:r>
            <a:r>
              <a:rPr lang="ja-JP" altLang="en-US" sz="1200" noProof="1" smtClean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を設定すること。</a:t>
            </a:r>
            <a:endParaRPr lang="en-US" altLang="ja-JP" sz="1200" noProof="1" smtClean="0">
              <a:solidFill>
                <a:srgbClr val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marL="0" lvl="1">
              <a:buClr>
                <a:srgbClr val="000000"/>
              </a:buClr>
              <a:buSzPct val="100000"/>
            </a:pPr>
            <a:endParaRPr lang="en-US" sz="1400" noProof="1" smtClean="0">
              <a:solidFill>
                <a:srgbClr val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marL="0" lvl="1">
              <a:buClr>
                <a:srgbClr val="000000"/>
              </a:buClr>
              <a:buSzPct val="100000"/>
            </a:pPr>
            <a:endParaRPr lang="en-US" sz="1400" noProof="1">
              <a:solidFill>
                <a:srgbClr val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marL="0" lvl="1">
              <a:buClr>
                <a:srgbClr val="000000"/>
              </a:buClr>
              <a:buSzPct val="100000"/>
            </a:pPr>
            <a:endParaRPr lang="en-US" sz="1400" noProof="1" smtClean="0">
              <a:solidFill>
                <a:srgbClr val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marL="0" lvl="1">
              <a:buClr>
                <a:srgbClr val="000000"/>
              </a:buClr>
              <a:buSzPct val="100000"/>
            </a:pPr>
            <a:endParaRPr lang="en-US" sz="1400" noProof="1">
              <a:solidFill>
                <a:srgbClr val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51" name="Rectangle 48"/>
          <p:cNvSpPr/>
          <p:nvPr/>
        </p:nvSpPr>
        <p:spPr>
          <a:xfrm>
            <a:off x="8926618" y="1310518"/>
            <a:ext cx="937818" cy="196529"/>
          </a:xfrm>
          <a:prstGeom prst="rect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FFFFFF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ja-JP" altLang="en-US" sz="1600" i="1" noProof="1" smtClean="0">
                <a:solidFill>
                  <a:schemeClr val="folHlin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注意点</a:t>
            </a:r>
            <a:endParaRPr lang="en-US" sz="1600" i="1" noProof="1" smtClean="0">
              <a:solidFill>
                <a:schemeClr val="folHlink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53" name="フローチャート: 処理 52"/>
          <p:cNvSpPr/>
          <p:nvPr/>
        </p:nvSpPr>
        <p:spPr>
          <a:xfrm>
            <a:off x="1255166" y="3237001"/>
            <a:ext cx="1626579" cy="2445363"/>
          </a:xfrm>
          <a:prstGeom prst="flowChartProcess">
            <a:avLst/>
          </a:prstGeom>
          <a:noFill/>
          <a:ln w="12700">
            <a:solidFill>
              <a:srgbClr val="00206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 sz="1600" dirty="0" smtClean="0"/>
          </a:p>
        </p:txBody>
      </p:sp>
      <p:sp>
        <p:nvSpPr>
          <p:cNvPr id="54" name="Rectangle 77"/>
          <p:cNvSpPr/>
          <p:nvPr/>
        </p:nvSpPr>
        <p:spPr>
          <a:xfrm>
            <a:off x="1435817" y="3136929"/>
            <a:ext cx="1327355" cy="350240"/>
          </a:xfrm>
          <a:prstGeom prst="rect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FFFFFF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ja-JP" sz="1200" i="1" noProof="1" smtClean="0">
                <a:solidFill>
                  <a:schemeClr val="folHlin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【</a:t>
            </a:r>
            <a:r>
              <a:rPr lang="ja-JP" altLang="en-US" sz="1200" i="1" noProof="1" smtClean="0">
                <a:solidFill>
                  <a:schemeClr val="folHlin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支店</a:t>
            </a:r>
            <a:r>
              <a:rPr lang="en-US" altLang="ja-JP" sz="1200" i="1" noProof="1" smtClean="0">
                <a:solidFill>
                  <a:schemeClr val="folHlin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CS</a:t>
            </a:r>
            <a:r>
              <a:rPr lang="ja-JP" altLang="en-US" sz="1200" i="1" noProof="1">
                <a:solidFill>
                  <a:schemeClr val="folHlin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スタッフ</a:t>
            </a:r>
            <a:r>
              <a:rPr lang="en-US" altLang="ja-JP" sz="1200" i="1" noProof="1" smtClean="0">
                <a:solidFill>
                  <a:schemeClr val="folHlin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】</a:t>
            </a:r>
            <a:endParaRPr lang="en-US" altLang="ja-JP" sz="1200" i="1" noProof="1">
              <a:solidFill>
                <a:schemeClr val="folHlink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algn="ctr"/>
            <a:r>
              <a:rPr lang="ja-JP" altLang="en-US" sz="1200" i="1" noProof="1" smtClean="0">
                <a:solidFill>
                  <a:schemeClr val="folHlin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主は整備業務</a:t>
            </a:r>
            <a:endParaRPr lang="ja-JP" altLang="en-US" sz="1200" i="1" noProof="1">
              <a:solidFill>
                <a:schemeClr val="folHlink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pic>
        <p:nvPicPr>
          <p:cNvPr id="55" name="図 5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75898" y="3689992"/>
            <a:ext cx="682250" cy="260463"/>
          </a:xfrm>
          <a:prstGeom prst="rect">
            <a:avLst/>
          </a:prstGeom>
        </p:spPr>
      </p:pic>
      <p:sp>
        <p:nvSpPr>
          <p:cNvPr id="56" name="Rectangle 46"/>
          <p:cNvSpPr/>
          <p:nvPr/>
        </p:nvSpPr>
        <p:spPr>
          <a:xfrm>
            <a:off x="8674358" y="3799902"/>
            <a:ext cx="3074297" cy="2528750"/>
          </a:xfrm>
          <a:prstGeom prst="rect">
            <a:avLst/>
          </a:prstGeom>
          <a:noFill/>
          <a:ln w="15875" cap="flat" cmpd="sng" algn="ctr">
            <a:solidFill>
              <a:srgbClr val="C8C8C8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E9E9E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0" rIns="9144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1">
              <a:buClr>
                <a:srgbClr val="000000"/>
              </a:buClr>
              <a:buSzPct val="100000"/>
            </a:pPr>
            <a:endParaRPr lang="en-US" altLang="ja-JP" sz="1400" dirty="0" smtClean="0"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marL="82550" lvl="1">
              <a:buClr>
                <a:srgbClr val="000000"/>
              </a:buClr>
              <a:buSzPct val="100000"/>
            </a:pPr>
            <a:r>
              <a:rPr lang="ja-JP" altLang="en-US" sz="1200" dirty="0" smtClean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■承認のフローは業務プロセスごとに</a:t>
            </a:r>
            <a:endParaRPr lang="en-US" altLang="ja-JP" sz="1200" dirty="0" smtClean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marL="82550" lvl="1">
              <a:buClr>
                <a:srgbClr val="000000"/>
              </a:buClr>
              <a:buSzPct val="100000"/>
            </a:pPr>
            <a:r>
              <a:rPr lang="ja-JP" altLang="en-US" sz="12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　</a:t>
            </a:r>
            <a:r>
              <a:rPr lang="ja-JP" altLang="en-US" sz="1200" dirty="0" smtClean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 定義されている。</a:t>
            </a:r>
            <a:endParaRPr lang="en-US" altLang="ja-JP" sz="1200" dirty="0" smtClean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marL="82550" lvl="1">
              <a:buClr>
                <a:srgbClr val="000000"/>
              </a:buClr>
              <a:buSzPct val="100000"/>
            </a:pPr>
            <a:endParaRPr lang="en-US" altLang="ja-JP" sz="1200" dirty="0" smtClean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marL="82550" lvl="1">
              <a:buClr>
                <a:srgbClr val="000000"/>
              </a:buClr>
              <a:buSzPct val="100000"/>
            </a:pPr>
            <a:r>
              <a:rPr lang="ja-JP" altLang="en-US" sz="1200" dirty="0" smtClean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（例）整備業務の場合</a:t>
            </a:r>
            <a:endParaRPr lang="en-US" altLang="ja-JP" sz="1200" dirty="0" smtClean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marL="263525" lvl="1">
              <a:buClr>
                <a:srgbClr val="000000"/>
              </a:buClr>
              <a:buSzPct val="100000"/>
            </a:pPr>
            <a:r>
              <a:rPr lang="ja-JP" altLang="en-US" sz="1200" dirty="0" smtClean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承認依頼：</a:t>
            </a:r>
            <a:r>
              <a:rPr lang="ja-JP" altLang="en-US" sz="1200" dirty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支店整備スタッフ</a:t>
            </a:r>
          </a:p>
          <a:p>
            <a:pPr marL="263525" lvl="1">
              <a:buClr>
                <a:srgbClr val="000000"/>
              </a:buClr>
              <a:buSzPct val="100000"/>
            </a:pPr>
            <a:r>
              <a:rPr lang="ja-JP" altLang="en-US" sz="1200" dirty="0" smtClean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承認　　　：</a:t>
            </a:r>
            <a:r>
              <a:rPr lang="ja-JP" altLang="en-US" sz="1200" dirty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支店整備</a:t>
            </a:r>
            <a:r>
              <a:rPr lang="en-US" altLang="ja-JP" sz="1200" dirty="0" smtClea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MGR</a:t>
            </a:r>
          </a:p>
          <a:p>
            <a:pPr marL="263525" lvl="1">
              <a:buClr>
                <a:srgbClr val="000000"/>
              </a:buClr>
              <a:buSzPct val="100000"/>
            </a:pPr>
            <a:r>
              <a:rPr lang="en-US" altLang="ja-JP" sz="1200" dirty="0" smtClean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NEXT</a:t>
            </a:r>
            <a:r>
              <a:rPr lang="ja-JP" altLang="en-US" sz="1200" dirty="0" smtClean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　　：</a:t>
            </a:r>
            <a:r>
              <a:rPr lang="ja-JP" altLang="en-US" sz="1200" dirty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支店長</a:t>
            </a:r>
          </a:p>
          <a:p>
            <a:pPr marL="263525" lvl="1">
              <a:buClr>
                <a:srgbClr val="000000"/>
              </a:buClr>
              <a:buSzPct val="100000"/>
            </a:pPr>
            <a:r>
              <a:rPr lang="ja-JP" altLang="en-US" sz="1200" dirty="0" smtClean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　　　　　　　　　　　　・</a:t>
            </a:r>
            <a:endParaRPr lang="en-US" altLang="ja-JP" sz="1200" dirty="0" smtClean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marL="263525" lvl="1">
              <a:buClr>
                <a:srgbClr val="000000"/>
              </a:buClr>
              <a:buSzPct val="100000"/>
            </a:pPr>
            <a:r>
              <a:rPr lang="ja-JP" altLang="en-US" sz="1200" dirty="0" smtClean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　　　　　　　　　　　　・</a:t>
            </a:r>
            <a:endParaRPr lang="en-US" altLang="ja-JP" sz="1200" dirty="0" smtClean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marL="82550" lvl="1">
              <a:buClr>
                <a:srgbClr val="000000"/>
              </a:buClr>
              <a:buSzPct val="100000"/>
            </a:pPr>
            <a:endParaRPr lang="en-US" sz="1200" noProof="1" smtClean="0">
              <a:solidFill>
                <a:srgbClr val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marL="82550" lvl="1">
              <a:buClr>
                <a:srgbClr val="000000"/>
              </a:buClr>
              <a:buSzPct val="100000"/>
            </a:pPr>
            <a:endParaRPr lang="en-US" sz="1200" noProof="1">
              <a:solidFill>
                <a:srgbClr val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marL="82550" lvl="1">
              <a:buClr>
                <a:srgbClr val="000000"/>
              </a:buClr>
              <a:buSzPct val="100000"/>
            </a:pPr>
            <a:endParaRPr lang="en-US" sz="1400" noProof="1" smtClean="0">
              <a:solidFill>
                <a:srgbClr val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marL="82550" lvl="1">
              <a:buClr>
                <a:srgbClr val="000000"/>
              </a:buClr>
              <a:buSzPct val="100000"/>
            </a:pPr>
            <a:endParaRPr lang="en-US" sz="1400" noProof="1">
              <a:solidFill>
                <a:srgbClr val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57" name="Rectangle 48"/>
          <p:cNvSpPr/>
          <p:nvPr/>
        </p:nvSpPr>
        <p:spPr>
          <a:xfrm>
            <a:off x="8968178" y="3693573"/>
            <a:ext cx="937818" cy="196529"/>
          </a:xfrm>
          <a:prstGeom prst="rect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FFFFFF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ja-JP" altLang="en-US" sz="1600" i="1" noProof="1" smtClean="0">
                <a:solidFill>
                  <a:schemeClr val="folHlin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その他</a:t>
            </a:r>
            <a:endParaRPr lang="en-US" sz="1600" i="1" noProof="1" smtClean="0">
              <a:solidFill>
                <a:schemeClr val="folHlink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grpSp>
        <p:nvGrpSpPr>
          <p:cNvPr id="58" name="Group 112"/>
          <p:cNvGrpSpPr>
            <a:grpSpLocks noChangeAspect="1"/>
          </p:cNvGrpSpPr>
          <p:nvPr/>
        </p:nvGrpSpPr>
        <p:grpSpPr>
          <a:xfrm>
            <a:off x="6840011" y="3341005"/>
            <a:ext cx="635336" cy="635336"/>
            <a:chOff x="1563866" y="3369910"/>
            <a:chExt cx="994581" cy="994581"/>
          </a:xfrm>
        </p:grpSpPr>
        <p:grpSp>
          <p:nvGrpSpPr>
            <p:cNvPr id="59" name="Group 131"/>
            <p:cNvGrpSpPr>
              <a:grpSpLocks noChangeAspect="1"/>
            </p:cNvGrpSpPr>
            <p:nvPr/>
          </p:nvGrpSpPr>
          <p:grpSpPr bwMode="gray">
            <a:xfrm>
              <a:off x="1563866" y="3369910"/>
              <a:ext cx="994581" cy="994581"/>
              <a:chOff x="4814888" y="1222375"/>
              <a:chExt cx="828675" cy="828675"/>
            </a:xfrm>
          </p:grpSpPr>
          <p:sp>
            <p:nvSpPr>
              <p:cNvPr id="61" name="AutoShape 13"/>
              <p:cNvSpPr>
                <a:spLocks noChangeAspect="1" noChangeArrowheads="1" noTextEdit="1"/>
              </p:cNvSpPr>
              <p:nvPr/>
            </p:nvSpPr>
            <p:spPr bwMode="gray">
              <a:xfrm>
                <a:off x="4814888" y="1222375"/>
                <a:ext cx="828675" cy="8286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2" name="Freeform 15"/>
              <p:cNvSpPr>
                <a:spLocks/>
              </p:cNvSpPr>
              <p:nvPr/>
            </p:nvSpPr>
            <p:spPr bwMode="gray">
              <a:xfrm>
                <a:off x="4956176" y="1600200"/>
                <a:ext cx="250825" cy="339725"/>
              </a:xfrm>
              <a:custGeom>
                <a:avLst/>
                <a:gdLst>
                  <a:gd name="T0" fmla="*/ 183 w 439"/>
                  <a:gd name="T1" fmla="*/ 290 h 580"/>
                  <a:gd name="T2" fmla="*/ 214 w 439"/>
                  <a:gd name="T3" fmla="*/ 259 h 580"/>
                  <a:gd name="T4" fmla="*/ 439 w 439"/>
                  <a:gd name="T5" fmla="*/ 259 h 580"/>
                  <a:gd name="T6" fmla="*/ 295 w 439"/>
                  <a:gd name="T7" fmla="*/ 0 h 580"/>
                  <a:gd name="T8" fmla="*/ 189 w 439"/>
                  <a:gd name="T9" fmla="*/ 22 h 580"/>
                  <a:gd name="T10" fmla="*/ 132 w 439"/>
                  <a:gd name="T11" fmla="*/ 76 h 580"/>
                  <a:gd name="T12" fmla="*/ 6 w 439"/>
                  <a:gd name="T13" fmla="*/ 486 h 580"/>
                  <a:gd name="T14" fmla="*/ 19 w 439"/>
                  <a:gd name="T15" fmla="*/ 551 h 580"/>
                  <a:gd name="T16" fmla="*/ 78 w 439"/>
                  <a:gd name="T17" fmla="*/ 580 h 580"/>
                  <a:gd name="T18" fmla="*/ 184 w 439"/>
                  <a:gd name="T19" fmla="*/ 580 h 580"/>
                  <a:gd name="T20" fmla="*/ 183 w 439"/>
                  <a:gd name="T21" fmla="*/ 290 h 580"/>
                  <a:gd name="T22" fmla="*/ 183 w 439"/>
                  <a:gd name="T23" fmla="*/ 290 h 5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39" h="580">
                    <a:moveTo>
                      <a:pt x="183" y="290"/>
                    </a:moveTo>
                    <a:lnTo>
                      <a:pt x="214" y="259"/>
                    </a:lnTo>
                    <a:lnTo>
                      <a:pt x="439" y="259"/>
                    </a:lnTo>
                    <a:lnTo>
                      <a:pt x="295" y="0"/>
                    </a:lnTo>
                    <a:lnTo>
                      <a:pt x="189" y="22"/>
                    </a:lnTo>
                    <a:cubicBezTo>
                      <a:pt x="162" y="27"/>
                      <a:pt x="140" y="48"/>
                      <a:pt x="132" y="76"/>
                    </a:cubicBezTo>
                    <a:lnTo>
                      <a:pt x="6" y="486"/>
                    </a:lnTo>
                    <a:cubicBezTo>
                      <a:pt x="0" y="509"/>
                      <a:pt x="5" y="532"/>
                      <a:pt x="19" y="551"/>
                    </a:cubicBezTo>
                    <a:cubicBezTo>
                      <a:pt x="34" y="569"/>
                      <a:pt x="55" y="580"/>
                      <a:pt x="78" y="580"/>
                    </a:cubicBezTo>
                    <a:lnTo>
                      <a:pt x="184" y="580"/>
                    </a:lnTo>
                    <a:lnTo>
                      <a:pt x="183" y="290"/>
                    </a:lnTo>
                    <a:lnTo>
                      <a:pt x="183" y="290"/>
                    </a:lnTo>
                    <a:close/>
                  </a:path>
                </a:pathLst>
              </a:custGeom>
              <a:solidFill>
                <a:srgbClr val="4D4D4D"/>
              </a:solidFill>
              <a:ln w="0">
                <a:noFill/>
                <a:prstDash val="solid"/>
                <a:round/>
                <a:headEnd/>
                <a:tailEnd/>
              </a:ln>
              <a:extLst>
                <a:ext uri="{91240B29-F687-4F45-9708-019B960494DF}">
                  <a14:hiddenLine xmlns:a14="http://schemas.microsoft.com/office/drawing/2010/main"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3" name="Freeform 16"/>
              <p:cNvSpPr>
                <a:spLocks/>
              </p:cNvSpPr>
              <p:nvPr/>
            </p:nvSpPr>
            <p:spPr bwMode="gray">
              <a:xfrm>
                <a:off x="5229226" y="1600200"/>
                <a:ext cx="252413" cy="339725"/>
              </a:xfrm>
              <a:custGeom>
                <a:avLst/>
                <a:gdLst>
                  <a:gd name="T0" fmla="*/ 433 w 439"/>
                  <a:gd name="T1" fmla="*/ 485 h 579"/>
                  <a:gd name="T2" fmla="*/ 307 w 439"/>
                  <a:gd name="T3" fmla="*/ 75 h 579"/>
                  <a:gd name="T4" fmla="*/ 249 w 439"/>
                  <a:gd name="T5" fmla="*/ 20 h 579"/>
                  <a:gd name="T6" fmla="*/ 143 w 439"/>
                  <a:gd name="T7" fmla="*/ 0 h 579"/>
                  <a:gd name="T8" fmla="*/ 0 w 439"/>
                  <a:gd name="T9" fmla="*/ 258 h 579"/>
                  <a:gd name="T10" fmla="*/ 242 w 439"/>
                  <a:gd name="T11" fmla="*/ 258 h 579"/>
                  <a:gd name="T12" fmla="*/ 273 w 439"/>
                  <a:gd name="T13" fmla="*/ 289 h 579"/>
                  <a:gd name="T14" fmla="*/ 273 w 439"/>
                  <a:gd name="T15" fmla="*/ 579 h 579"/>
                  <a:gd name="T16" fmla="*/ 361 w 439"/>
                  <a:gd name="T17" fmla="*/ 579 h 579"/>
                  <a:gd name="T18" fmla="*/ 420 w 439"/>
                  <a:gd name="T19" fmla="*/ 550 h 579"/>
                  <a:gd name="T20" fmla="*/ 433 w 439"/>
                  <a:gd name="T21" fmla="*/ 485 h 5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39" h="579">
                    <a:moveTo>
                      <a:pt x="433" y="485"/>
                    </a:moveTo>
                    <a:lnTo>
                      <a:pt x="307" y="75"/>
                    </a:lnTo>
                    <a:cubicBezTo>
                      <a:pt x="299" y="47"/>
                      <a:pt x="277" y="26"/>
                      <a:pt x="249" y="20"/>
                    </a:cubicBezTo>
                    <a:lnTo>
                      <a:pt x="143" y="0"/>
                    </a:lnTo>
                    <a:lnTo>
                      <a:pt x="0" y="258"/>
                    </a:lnTo>
                    <a:lnTo>
                      <a:pt x="242" y="258"/>
                    </a:lnTo>
                    <a:lnTo>
                      <a:pt x="273" y="289"/>
                    </a:lnTo>
                    <a:lnTo>
                      <a:pt x="273" y="579"/>
                    </a:lnTo>
                    <a:lnTo>
                      <a:pt x="361" y="579"/>
                    </a:lnTo>
                    <a:cubicBezTo>
                      <a:pt x="384" y="579"/>
                      <a:pt x="406" y="568"/>
                      <a:pt x="420" y="550"/>
                    </a:cubicBezTo>
                    <a:cubicBezTo>
                      <a:pt x="434" y="531"/>
                      <a:pt x="439" y="508"/>
                      <a:pt x="433" y="485"/>
                    </a:cubicBezTo>
                    <a:close/>
                  </a:path>
                </a:pathLst>
              </a:custGeom>
              <a:solidFill>
                <a:srgbClr val="4D4D4D"/>
              </a:solidFill>
              <a:ln w="0">
                <a:noFill/>
                <a:prstDash val="solid"/>
                <a:round/>
                <a:headEnd/>
                <a:tailEnd/>
              </a:ln>
              <a:extLst>
                <a:ext uri="{91240B29-F687-4F45-9708-019B960494DF}">
                  <a14:hiddenLine xmlns:a14="http://schemas.microsoft.com/office/drawing/2010/main"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4" name="Freeform 17"/>
              <p:cNvSpPr>
                <a:spLocks/>
              </p:cNvSpPr>
              <p:nvPr/>
            </p:nvSpPr>
            <p:spPr bwMode="gray">
              <a:xfrm>
                <a:off x="5091113" y="1787525"/>
                <a:ext cx="258763" cy="152400"/>
              </a:xfrm>
              <a:custGeom>
                <a:avLst/>
                <a:gdLst>
                  <a:gd name="T0" fmla="*/ 0 w 163"/>
                  <a:gd name="T1" fmla="*/ 96 h 96"/>
                  <a:gd name="T2" fmla="*/ 160 w 163"/>
                  <a:gd name="T3" fmla="*/ 96 h 96"/>
                  <a:gd name="T4" fmla="*/ 160 w 163"/>
                  <a:gd name="T5" fmla="*/ 96 h 96"/>
                  <a:gd name="T6" fmla="*/ 163 w 163"/>
                  <a:gd name="T7" fmla="*/ 96 h 96"/>
                  <a:gd name="T8" fmla="*/ 163 w 163"/>
                  <a:gd name="T9" fmla="*/ 0 h 96"/>
                  <a:gd name="T10" fmla="*/ 3 w 163"/>
                  <a:gd name="T11" fmla="*/ 0 h 96"/>
                  <a:gd name="T12" fmla="*/ 3 w 163"/>
                  <a:gd name="T13" fmla="*/ 96 h 96"/>
                  <a:gd name="T14" fmla="*/ 0 w 163"/>
                  <a:gd name="T15" fmla="*/ 96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3" h="96">
                    <a:moveTo>
                      <a:pt x="0" y="96"/>
                    </a:moveTo>
                    <a:lnTo>
                      <a:pt x="160" y="96"/>
                    </a:lnTo>
                    <a:lnTo>
                      <a:pt x="160" y="96"/>
                    </a:lnTo>
                    <a:lnTo>
                      <a:pt x="163" y="96"/>
                    </a:lnTo>
                    <a:lnTo>
                      <a:pt x="163" y="0"/>
                    </a:lnTo>
                    <a:lnTo>
                      <a:pt x="3" y="0"/>
                    </a:lnTo>
                    <a:lnTo>
                      <a:pt x="3" y="96"/>
                    </a:lnTo>
                    <a:lnTo>
                      <a:pt x="0" y="96"/>
                    </a:ln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5" name="Rectangle 18"/>
              <p:cNvSpPr>
                <a:spLocks noChangeArrowheads="1"/>
              </p:cNvSpPr>
              <p:nvPr/>
            </p:nvSpPr>
            <p:spPr bwMode="gray">
              <a:xfrm>
                <a:off x="5026026" y="1955800"/>
                <a:ext cx="385763" cy="31750"/>
              </a:xfrm>
              <a:prstGeom prst="rect">
                <a:avLst/>
              </a:prstGeom>
              <a:solidFill>
                <a:srgbClr val="4D4D4D"/>
              </a:solidFill>
              <a:ln w="0">
                <a:noFill/>
                <a:prstDash val="solid"/>
                <a:miter lim="800000"/>
                <a:headEnd/>
                <a:tailEnd/>
              </a:ln>
              <a:extLst>
                <a:ext uri="{91240B29-F687-4F45-9708-019B960494DF}">
                  <a14:hiddenLine xmlns:a14="http://schemas.microsoft.com/office/drawing/2010/main" w="0">
                    <a:solidFill>
                      <a:srgbClr val="000000"/>
                    </a:solidFill>
                    <a:prstDash val="solid"/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6" name="Freeform 19"/>
              <p:cNvSpPr>
                <a:spLocks noEditPoints="1"/>
              </p:cNvSpPr>
              <p:nvPr/>
            </p:nvSpPr>
            <p:spPr bwMode="gray">
              <a:xfrm>
                <a:off x="5073651" y="1284288"/>
                <a:ext cx="287338" cy="346075"/>
              </a:xfrm>
              <a:custGeom>
                <a:avLst/>
                <a:gdLst>
                  <a:gd name="T0" fmla="*/ 13 w 501"/>
                  <a:gd name="T1" fmla="*/ 358 h 591"/>
                  <a:gd name="T2" fmla="*/ 17 w 501"/>
                  <a:gd name="T3" fmla="*/ 368 h 591"/>
                  <a:gd name="T4" fmla="*/ 37 w 501"/>
                  <a:gd name="T5" fmla="*/ 402 h 591"/>
                  <a:gd name="T6" fmla="*/ 252 w 501"/>
                  <a:gd name="T7" fmla="*/ 590 h 591"/>
                  <a:gd name="T8" fmla="*/ 465 w 501"/>
                  <a:gd name="T9" fmla="*/ 401 h 591"/>
                  <a:gd name="T10" fmla="*/ 484 w 501"/>
                  <a:gd name="T11" fmla="*/ 366 h 591"/>
                  <a:gd name="T12" fmla="*/ 488 w 501"/>
                  <a:gd name="T13" fmla="*/ 356 h 591"/>
                  <a:gd name="T14" fmla="*/ 479 w 501"/>
                  <a:gd name="T15" fmla="*/ 288 h 591"/>
                  <a:gd name="T16" fmla="*/ 479 w 501"/>
                  <a:gd name="T17" fmla="*/ 286 h 591"/>
                  <a:gd name="T18" fmla="*/ 250 w 501"/>
                  <a:gd name="T19" fmla="*/ 1 h 591"/>
                  <a:gd name="T20" fmla="*/ 22 w 501"/>
                  <a:gd name="T21" fmla="*/ 287 h 591"/>
                  <a:gd name="T22" fmla="*/ 22 w 501"/>
                  <a:gd name="T23" fmla="*/ 290 h 591"/>
                  <a:gd name="T24" fmla="*/ 13 w 501"/>
                  <a:gd name="T25" fmla="*/ 358 h 591"/>
                  <a:gd name="T26" fmla="*/ 43 w 501"/>
                  <a:gd name="T27" fmla="*/ 313 h 591"/>
                  <a:gd name="T28" fmla="*/ 43 w 501"/>
                  <a:gd name="T29" fmla="*/ 313 h 591"/>
                  <a:gd name="T30" fmla="*/ 51 w 501"/>
                  <a:gd name="T31" fmla="*/ 306 h 591"/>
                  <a:gd name="T32" fmla="*/ 88 w 501"/>
                  <a:gd name="T33" fmla="*/ 312 h 591"/>
                  <a:gd name="T34" fmla="*/ 96 w 501"/>
                  <a:gd name="T35" fmla="*/ 307 h 591"/>
                  <a:gd name="T36" fmla="*/ 119 w 501"/>
                  <a:gd name="T37" fmla="*/ 254 h 591"/>
                  <a:gd name="T38" fmla="*/ 323 w 501"/>
                  <a:gd name="T39" fmla="*/ 282 h 591"/>
                  <a:gd name="T40" fmla="*/ 382 w 501"/>
                  <a:gd name="T41" fmla="*/ 275 h 591"/>
                  <a:gd name="T42" fmla="*/ 397 w 501"/>
                  <a:gd name="T43" fmla="*/ 311 h 591"/>
                  <a:gd name="T44" fmla="*/ 404 w 501"/>
                  <a:gd name="T45" fmla="*/ 316 h 591"/>
                  <a:gd name="T46" fmla="*/ 406 w 501"/>
                  <a:gd name="T47" fmla="*/ 315 h 591"/>
                  <a:gd name="T48" fmla="*/ 449 w 501"/>
                  <a:gd name="T49" fmla="*/ 303 h 591"/>
                  <a:gd name="T50" fmla="*/ 458 w 501"/>
                  <a:gd name="T51" fmla="*/ 312 h 591"/>
                  <a:gd name="T52" fmla="*/ 459 w 501"/>
                  <a:gd name="T53" fmla="*/ 312 h 591"/>
                  <a:gd name="T54" fmla="*/ 460 w 501"/>
                  <a:gd name="T55" fmla="*/ 343 h 591"/>
                  <a:gd name="T56" fmla="*/ 455 w 501"/>
                  <a:gd name="T57" fmla="*/ 355 h 591"/>
                  <a:gd name="T58" fmla="*/ 444 w 501"/>
                  <a:gd name="T59" fmla="*/ 378 h 591"/>
                  <a:gd name="T60" fmla="*/ 437 w 501"/>
                  <a:gd name="T61" fmla="*/ 387 h 591"/>
                  <a:gd name="T62" fmla="*/ 252 w 501"/>
                  <a:gd name="T63" fmla="*/ 559 h 591"/>
                  <a:gd name="T64" fmla="*/ 65 w 501"/>
                  <a:gd name="T65" fmla="*/ 388 h 591"/>
                  <a:gd name="T66" fmla="*/ 58 w 501"/>
                  <a:gd name="T67" fmla="*/ 379 h 591"/>
                  <a:gd name="T68" fmla="*/ 46 w 501"/>
                  <a:gd name="T69" fmla="*/ 356 h 591"/>
                  <a:gd name="T70" fmla="*/ 41 w 501"/>
                  <a:gd name="T71" fmla="*/ 344 h 591"/>
                  <a:gd name="T72" fmla="*/ 43 w 501"/>
                  <a:gd name="T73" fmla="*/ 313 h 5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501" h="591">
                    <a:moveTo>
                      <a:pt x="13" y="358"/>
                    </a:moveTo>
                    <a:cubicBezTo>
                      <a:pt x="14" y="360"/>
                      <a:pt x="16" y="364"/>
                      <a:pt x="17" y="368"/>
                    </a:cubicBezTo>
                    <a:cubicBezTo>
                      <a:pt x="24" y="384"/>
                      <a:pt x="29" y="395"/>
                      <a:pt x="37" y="402"/>
                    </a:cubicBezTo>
                    <a:cubicBezTo>
                      <a:pt x="71" y="513"/>
                      <a:pt x="159" y="591"/>
                      <a:pt x="252" y="590"/>
                    </a:cubicBezTo>
                    <a:cubicBezTo>
                      <a:pt x="346" y="590"/>
                      <a:pt x="433" y="512"/>
                      <a:pt x="465" y="401"/>
                    </a:cubicBezTo>
                    <a:cubicBezTo>
                      <a:pt x="473" y="394"/>
                      <a:pt x="478" y="382"/>
                      <a:pt x="484" y="366"/>
                    </a:cubicBezTo>
                    <a:cubicBezTo>
                      <a:pt x="486" y="362"/>
                      <a:pt x="487" y="359"/>
                      <a:pt x="488" y="356"/>
                    </a:cubicBezTo>
                    <a:cubicBezTo>
                      <a:pt x="501" y="330"/>
                      <a:pt x="497" y="302"/>
                      <a:pt x="479" y="288"/>
                    </a:cubicBezTo>
                    <a:lnTo>
                      <a:pt x="479" y="286"/>
                    </a:lnTo>
                    <a:cubicBezTo>
                      <a:pt x="479" y="147"/>
                      <a:pt x="460" y="0"/>
                      <a:pt x="250" y="1"/>
                    </a:cubicBezTo>
                    <a:cubicBezTo>
                      <a:pt x="39" y="1"/>
                      <a:pt x="21" y="143"/>
                      <a:pt x="22" y="287"/>
                    </a:cubicBezTo>
                    <a:cubicBezTo>
                      <a:pt x="22" y="288"/>
                      <a:pt x="22" y="289"/>
                      <a:pt x="22" y="290"/>
                    </a:cubicBezTo>
                    <a:cubicBezTo>
                      <a:pt x="4" y="304"/>
                      <a:pt x="0" y="332"/>
                      <a:pt x="13" y="358"/>
                    </a:cubicBezTo>
                    <a:close/>
                    <a:moveTo>
                      <a:pt x="43" y="313"/>
                    </a:moveTo>
                    <a:lnTo>
                      <a:pt x="43" y="313"/>
                    </a:lnTo>
                    <a:cubicBezTo>
                      <a:pt x="47" y="312"/>
                      <a:pt x="49" y="309"/>
                      <a:pt x="51" y="306"/>
                    </a:cubicBezTo>
                    <a:lnTo>
                      <a:pt x="88" y="312"/>
                    </a:lnTo>
                    <a:cubicBezTo>
                      <a:pt x="91" y="312"/>
                      <a:pt x="95" y="311"/>
                      <a:pt x="96" y="307"/>
                    </a:cubicBezTo>
                    <a:lnTo>
                      <a:pt x="119" y="254"/>
                    </a:lnTo>
                    <a:cubicBezTo>
                      <a:pt x="146" y="260"/>
                      <a:pt x="245" y="283"/>
                      <a:pt x="323" y="282"/>
                    </a:cubicBezTo>
                    <a:cubicBezTo>
                      <a:pt x="347" y="282"/>
                      <a:pt x="367" y="280"/>
                      <a:pt x="382" y="275"/>
                    </a:cubicBezTo>
                    <a:lnTo>
                      <a:pt x="397" y="311"/>
                    </a:lnTo>
                    <a:cubicBezTo>
                      <a:pt x="398" y="314"/>
                      <a:pt x="401" y="316"/>
                      <a:pt x="404" y="316"/>
                    </a:cubicBezTo>
                    <a:cubicBezTo>
                      <a:pt x="405" y="316"/>
                      <a:pt x="406" y="315"/>
                      <a:pt x="406" y="315"/>
                    </a:cubicBezTo>
                    <a:lnTo>
                      <a:pt x="449" y="303"/>
                    </a:lnTo>
                    <a:cubicBezTo>
                      <a:pt x="451" y="307"/>
                      <a:pt x="454" y="310"/>
                      <a:pt x="458" y="312"/>
                    </a:cubicBezTo>
                    <a:lnTo>
                      <a:pt x="459" y="312"/>
                    </a:lnTo>
                    <a:cubicBezTo>
                      <a:pt x="465" y="315"/>
                      <a:pt x="467" y="329"/>
                      <a:pt x="460" y="343"/>
                    </a:cubicBezTo>
                    <a:cubicBezTo>
                      <a:pt x="459" y="346"/>
                      <a:pt x="457" y="350"/>
                      <a:pt x="455" y="355"/>
                    </a:cubicBezTo>
                    <a:cubicBezTo>
                      <a:pt x="453" y="361"/>
                      <a:pt x="447" y="374"/>
                      <a:pt x="444" y="378"/>
                    </a:cubicBezTo>
                    <a:cubicBezTo>
                      <a:pt x="440" y="380"/>
                      <a:pt x="438" y="383"/>
                      <a:pt x="437" y="387"/>
                    </a:cubicBezTo>
                    <a:cubicBezTo>
                      <a:pt x="409" y="488"/>
                      <a:pt x="333" y="559"/>
                      <a:pt x="252" y="559"/>
                    </a:cubicBezTo>
                    <a:cubicBezTo>
                      <a:pt x="171" y="559"/>
                      <a:pt x="94" y="489"/>
                      <a:pt x="65" y="388"/>
                    </a:cubicBezTo>
                    <a:cubicBezTo>
                      <a:pt x="64" y="384"/>
                      <a:pt x="61" y="381"/>
                      <a:pt x="58" y="379"/>
                    </a:cubicBezTo>
                    <a:cubicBezTo>
                      <a:pt x="54" y="376"/>
                      <a:pt x="49" y="362"/>
                      <a:pt x="46" y="356"/>
                    </a:cubicBezTo>
                    <a:cubicBezTo>
                      <a:pt x="44" y="351"/>
                      <a:pt x="43" y="347"/>
                      <a:pt x="41" y="344"/>
                    </a:cubicBezTo>
                    <a:cubicBezTo>
                      <a:pt x="34" y="330"/>
                      <a:pt x="36" y="316"/>
                      <a:pt x="43" y="313"/>
                    </a:cubicBezTo>
                    <a:close/>
                  </a:path>
                </a:pathLst>
              </a:custGeom>
              <a:solidFill>
                <a:srgbClr val="4D4D4D"/>
              </a:solidFill>
              <a:ln w="0">
                <a:noFill/>
                <a:prstDash val="solid"/>
                <a:round/>
                <a:headEnd/>
                <a:tailEnd/>
              </a:ln>
              <a:extLst>
                <a:ext uri="{91240B29-F687-4F45-9708-019B960494DF}">
                  <a14:hiddenLine xmlns:a14="http://schemas.microsoft.com/office/drawing/2010/main"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pic>
          <p:nvPicPr>
            <p:cNvPr id="60" name="Picture 3" descr="C:\Users\rajarrv\AppData\Local\Microsoft\Windows\Temporary Internet Files\Content.Outlook\3CY2KM7L\B-No Background FORCE LOGO.png"/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919134" y="4095401"/>
              <a:ext cx="276515" cy="7896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67" name="TextBox 96"/>
          <p:cNvSpPr txBox="1"/>
          <p:nvPr/>
        </p:nvSpPr>
        <p:spPr bwMode="auto">
          <a:xfrm>
            <a:off x="6705761" y="3952929"/>
            <a:ext cx="936104" cy="160093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2"/>
            </a:solidFill>
            <a:prstDash val="sysDot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lvl="0" fontAlgn="base">
              <a:defRPr sz="1600">
                <a:solidFill>
                  <a:srgbClr val="000000"/>
                </a:solidFill>
                <a:latin typeface="CorpoS" pitchFamily="2" charset="0"/>
              </a:defRPr>
            </a:lvl1pPr>
          </a:lstStyle>
          <a:p>
            <a:pPr algn="ctr"/>
            <a:r>
              <a:rPr lang="ja-JP" altLang="en-US" sz="1200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支店長　他</a:t>
            </a:r>
            <a:endParaRPr lang="en-US" sz="1200" dirty="0"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68" name="TextBox 96"/>
          <p:cNvSpPr txBox="1"/>
          <p:nvPr/>
        </p:nvSpPr>
        <p:spPr bwMode="auto">
          <a:xfrm>
            <a:off x="1626757" y="4602383"/>
            <a:ext cx="864096" cy="14921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solidFill>
              <a:schemeClr val="tx2"/>
            </a:solidFill>
            <a:prstDash val="sysDot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lvl="0" fontAlgn="base">
              <a:defRPr sz="1600">
                <a:solidFill>
                  <a:srgbClr val="000000"/>
                </a:solidFill>
                <a:latin typeface="CorpoS" pitchFamily="2" charset="0"/>
              </a:defRPr>
            </a:lvl1pPr>
          </a:lstStyle>
          <a:p>
            <a:pPr algn="ctr"/>
            <a:r>
              <a:rPr lang="en-US" altLang="ja-JP" sz="1200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UID01</a:t>
            </a:r>
            <a:endParaRPr lang="en-US" sz="1200" dirty="0"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grpSp>
        <p:nvGrpSpPr>
          <p:cNvPr id="70" name="Group 112"/>
          <p:cNvGrpSpPr>
            <a:grpSpLocks noChangeAspect="1"/>
          </p:cNvGrpSpPr>
          <p:nvPr/>
        </p:nvGrpSpPr>
        <p:grpSpPr>
          <a:xfrm>
            <a:off x="4330663" y="4642805"/>
            <a:ext cx="635336" cy="635336"/>
            <a:chOff x="1563866" y="3369910"/>
            <a:chExt cx="994581" cy="994581"/>
          </a:xfrm>
        </p:grpSpPr>
        <p:grpSp>
          <p:nvGrpSpPr>
            <p:cNvPr id="71" name="Group 131"/>
            <p:cNvGrpSpPr>
              <a:grpSpLocks noChangeAspect="1"/>
            </p:cNvGrpSpPr>
            <p:nvPr/>
          </p:nvGrpSpPr>
          <p:grpSpPr bwMode="gray">
            <a:xfrm>
              <a:off x="1563866" y="3369910"/>
              <a:ext cx="994581" cy="994581"/>
              <a:chOff x="4814888" y="1222375"/>
              <a:chExt cx="828675" cy="828675"/>
            </a:xfrm>
          </p:grpSpPr>
          <p:sp>
            <p:nvSpPr>
              <p:cNvPr id="73" name="AutoShape 13"/>
              <p:cNvSpPr>
                <a:spLocks noChangeAspect="1" noChangeArrowheads="1" noTextEdit="1"/>
              </p:cNvSpPr>
              <p:nvPr/>
            </p:nvSpPr>
            <p:spPr bwMode="gray">
              <a:xfrm>
                <a:off x="4814888" y="1222375"/>
                <a:ext cx="828675" cy="8286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4" name="Freeform 15"/>
              <p:cNvSpPr>
                <a:spLocks/>
              </p:cNvSpPr>
              <p:nvPr/>
            </p:nvSpPr>
            <p:spPr bwMode="gray">
              <a:xfrm>
                <a:off x="4956176" y="1600200"/>
                <a:ext cx="250825" cy="339725"/>
              </a:xfrm>
              <a:custGeom>
                <a:avLst/>
                <a:gdLst>
                  <a:gd name="T0" fmla="*/ 183 w 439"/>
                  <a:gd name="T1" fmla="*/ 290 h 580"/>
                  <a:gd name="T2" fmla="*/ 214 w 439"/>
                  <a:gd name="T3" fmla="*/ 259 h 580"/>
                  <a:gd name="T4" fmla="*/ 439 w 439"/>
                  <a:gd name="T5" fmla="*/ 259 h 580"/>
                  <a:gd name="T6" fmla="*/ 295 w 439"/>
                  <a:gd name="T7" fmla="*/ 0 h 580"/>
                  <a:gd name="T8" fmla="*/ 189 w 439"/>
                  <a:gd name="T9" fmla="*/ 22 h 580"/>
                  <a:gd name="T10" fmla="*/ 132 w 439"/>
                  <a:gd name="T11" fmla="*/ 76 h 580"/>
                  <a:gd name="T12" fmla="*/ 6 w 439"/>
                  <a:gd name="T13" fmla="*/ 486 h 580"/>
                  <a:gd name="T14" fmla="*/ 19 w 439"/>
                  <a:gd name="T15" fmla="*/ 551 h 580"/>
                  <a:gd name="T16" fmla="*/ 78 w 439"/>
                  <a:gd name="T17" fmla="*/ 580 h 580"/>
                  <a:gd name="T18" fmla="*/ 184 w 439"/>
                  <a:gd name="T19" fmla="*/ 580 h 580"/>
                  <a:gd name="T20" fmla="*/ 183 w 439"/>
                  <a:gd name="T21" fmla="*/ 290 h 580"/>
                  <a:gd name="T22" fmla="*/ 183 w 439"/>
                  <a:gd name="T23" fmla="*/ 290 h 5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39" h="580">
                    <a:moveTo>
                      <a:pt x="183" y="290"/>
                    </a:moveTo>
                    <a:lnTo>
                      <a:pt x="214" y="259"/>
                    </a:lnTo>
                    <a:lnTo>
                      <a:pt x="439" y="259"/>
                    </a:lnTo>
                    <a:lnTo>
                      <a:pt x="295" y="0"/>
                    </a:lnTo>
                    <a:lnTo>
                      <a:pt x="189" y="22"/>
                    </a:lnTo>
                    <a:cubicBezTo>
                      <a:pt x="162" y="27"/>
                      <a:pt x="140" y="48"/>
                      <a:pt x="132" y="76"/>
                    </a:cubicBezTo>
                    <a:lnTo>
                      <a:pt x="6" y="486"/>
                    </a:lnTo>
                    <a:cubicBezTo>
                      <a:pt x="0" y="509"/>
                      <a:pt x="5" y="532"/>
                      <a:pt x="19" y="551"/>
                    </a:cubicBezTo>
                    <a:cubicBezTo>
                      <a:pt x="34" y="569"/>
                      <a:pt x="55" y="580"/>
                      <a:pt x="78" y="580"/>
                    </a:cubicBezTo>
                    <a:lnTo>
                      <a:pt x="184" y="580"/>
                    </a:lnTo>
                    <a:lnTo>
                      <a:pt x="183" y="290"/>
                    </a:lnTo>
                    <a:lnTo>
                      <a:pt x="183" y="290"/>
                    </a:lnTo>
                    <a:close/>
                  </a:path>
                </a:pathLst>
              </a:custGeom>
              <a:solidFill>
                <a:srgbClr val="4D4D4D"/>
              </a:solidFill>
              <a:ln w="0">
                <a:noFill/>
                <a:prstDash val="solid"/>
                <a:round/>
                <a:headEnd/>
                <a:tailEnd/>
              </a:ln>
              <a:extLst>
                <a:ext uri="{91240B29-F687-4F45-9708-019B960494DF}">
                  <a14:hiddenLine xmlns:a14="http://schemas.microsoft.com/office/drawing/2010/main"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5" name="Freeform 16"/>
              <p:cNvSpPr>
                <a:spLocks/>
              </p:cNvSpPr>
              <p:nvPr/>
            </p:nvSpPr>
            <p:spPr bwMode="gray">
              <a:xfrm>
                <a:off x="5229226" y="1600200"/>
                <a:ext cx="252413" cy="339725"/>
              </a:xfrm>
              <a:custGeom>
                <a:avLst/>
                <a:gdLst>
                  <a:gd name="T0" fmla="*/ 433 w 439"/>
                  <a:gd name="T1" fmla="*/ 485 h 579"/>
                  <a:gd name="T2" fmla="*/ 307 w 439"/>
                  <a:gd name="T3" fmla="*/ 75 h 579"/>
                  <a:gd name="T4" fmla="*/ 249 w 439"/>
                  <a:gd name="T5" fmla="*/ 20 h 579"/>
                  <a:gd name="T6" fmla="*/ 143 w 439"/>
                  <a:gd name="T7" fmla="*/ 0 h 579"/>
                  <a:gd name="T8" fmla="*/ 0 w 439"/>
                  <a:gd name="T9" fmla="*/ 258 h 579"/>
                  <a:gd name="T10" fmla="*/ 242 w 439"/>
                  <a:gd name="T11" fmla="*/ 258 h 579"/>
                  <a:gd name="T12" fmla="*/ 273 w 439"/>
                  <a:gd name="T13" fmla="*/ 289 h 579"/>
                  <a:gd name="T14" fmla="*/ 273 w 439"/>
                  <a:gd name="T15" fmla="*/ 579 h 579"/>
                  <a:gd name="T16" fmla="*/ 361 w 439"/>
                  <a:gd name="T17" fmla="*/ 579 h 579"/>
                  <a:gd name="T18" fmla="*/ 420 w 439"/>
                  <a:gd name="T19" fmla="*/ 550 h 579"/>
                  <a:gd name="T20" fmla="*/ 433 w 439"/>
                  <a:gd name="T21" fmla="*/ 485 h 5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39" h="579">
                    <a:moveTo>
                      <a:pt x="433" y="485"/>
                    </a:moveTo>
                    <a:lnTo>
                      <a:pt x="307" y="75"/>
                    </a:lnTo>
                    <a:cubicBezTo>
                      <a:pt x="299" y="47"/>
                      <a:pt x="277" y="26"/>
                      <a:pt x="249" y="20"/>
                    </a:cubicBezTo>
                    <a:lnTo>
                      <a:pt x="143" y="0"/>
                    </a:lnTo>
                    <a:lnTo>
                      <a:pt x="0" y="258"/>
                    </a:lnTo>
                    <a:lnTo>
                      <a:pt x="242" y="258"/>
                    </a:lnTo>
                    <a:lnTo>
                      <a:pt x="273" y="289"/>
                    </a:lnTo>
                    <a:lnTo>
                      <a:pt x="273" y="579"/>
                    </a:lnTo>
                    <a:lnTo>
                      <a:pt x="361" y="579"/>
                    </a:lnTo>
                    <a:cubicBezTo>
                      <a:pt x="384" y="579"/>
                      <a:pt x="406" y="568"/>
                      <a:pt x="420" y="550"/>
                    </a:cubicBezTo>
                    <a:cubicBezTo>
                      <a:pt x="434" y="531"/>
                      <a:pt x="439" y="508"/>
                      <a:pt x="433" y="485"/>
                    </a:cubicBezTo>
                    <a:close/>
                  </a:path>
                </a:pathLst>
              </a:custGeom>
              <a:solidFill>
                <a:srgbClr val="4D4D4D"/>
              </a:solidFill>
              <a:ln w="0">
                <a:noFill/>
                <a:prstDash val="solid"/>
                <a:round/>
                <a:headEnd/>
                <a:tailEnd/>
              </a:ln>
              <a:extLst>
                <a:ext uri="{91240B29-F687-4F45-9708-019B960494DF}">
                  <a14:hiddenLine xmlns:a14="http://schemas.microsoft.com/office/drawing/2010/main"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6" name="Freeform 17"/>
              <p:cNvSpPr>
                <a:spLocks/>
              </p:cNvSpPr>
              <p:nvPr/>
            </p:nvSpPr>
            <p:spPr bwMode="gray">
              <a:xfrm>
                <a:off x="5091113" y="1787525"/>
                <a:ext cx="258763" cy="152400"/>
              </a:xfrm>
              <a:custGeom>
                <a:avLst/>
                <a:gdLst>
                  <a:gd name="T0" fmla="*/ 0 w 163"/>
                  <a:gd name="T1" fmla="*/ 96 h 96"/>
                  <a:gd name="T2" fmla="*/ 160 w 163"/>
                  <a:gd name="T3" fmla="*/ 96 h 96"/>
                  <a:gd name="T4" fmla="*/ 160 w 163"/>
                  <a:gd name="T5" fmla="*/ 96 h 96"/>
                  <a:gd name="T6" fmla="*/ 163 w 163"/>
                  <a:gd name="T7" fmla="*/ 96 h 96"/>
                  <a:gd name="T8" fmla="*/ 163 w 163"/>
                  <a:gd name="T9" fmla="*/ 0 h 96"/>
                  <a:gd name="T10" fmla="*/ 3 w 163"/>
                  <a:gd name="T11" fmla="*/ 0 h 96"/>
                  <a:gd name="T12" fmla="*/ 3 w 163"/>
                  <a:gd name="T13" fmla="*/ 96 h 96"/>
                  <a:gd name="T14" fmla="*/ 0 w 163"/>
                  <a:gd name="T15" fmla="*/ 96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3" h="96">
                    <a:moveTo>
                      <a:pt x="0" y="96"/>
                    </a:moveTo>
                    <a:lnTo>
                      <a:pt x="160" y="96"/>
                    </a:lnTo>
                    <a:lnTo>
                      <a:pt x="160" y="96"/>
                    </a:lnTo>
                    <a:lnTo>
                      <a:pt x="163" y="96"/>
                    </a:lnTo>
                    <a:lnTo>
                      <a:pt x="163" y="0"/>
                    </a:lnTo>
                    <a:lnTo>
                      <a:pt x="3" y="0"/>
                    </a:lnTo>
                    <a:lnTo>
                      <a:pt x="3" y="96"/>
                    </a:lnTo>
                    <a:lnTo>
                      <a:pt x="0" y="96"/>
                    </a:ln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7" name="Rectangle 18"/>
              <p:cNvSpPr>
                <a:spLocks noChangeArrowheads="1"/>
              </p:cNvSpPr>
              <p:nvPr/>
            </p:nvSpPr>
            <p:spPr bwMode="gray">
              <a:xfrm>
                <a:off x="5026026" y="1955800"/>
                <a:ext cx="385763" cy="31750"/>
              </a:xfrm>
              <a:prstGeom prst="rect">
                <a:avLst/>
              </a:prstGeom>
              <a:solidFill>
                <a:srgbClr val="4D4D4D"/>
              </a:solidFill>
              <a:ln w="0">
                <a:noFill/>
                <a:prstDash val="solid"/>
                <a:miter lim="800000"/>
                <a:headEnd/>
                <a:tailEnd/>
              </a:ln>
              <a:extLst>
                <a:ext uri="{91240B29-F687-4F45-9708-019B960494DF}">
                  <a14:hiddenLine xmlns:a14="http://schemas.microsoft.com/office/drawing/2010/main" w="0">
                    <a:solidFill>
                      <a:srgbClr val="000000"/>
                    </a:solidFill>
                    <a:prstDash val="solid"/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8" name="Freeform 19"/>
              <p:cNvSpPr>
                <a:spLocks noEditPoints="1"/>
              </p:cNvSpPr>
              <p:nvPr/>
            </p:nvSpPr>
            <p:spPr bwMode="gray">
              <a:xfrm>
                <a:off x="5073651" y="1284288"/>
                <a:ext cx="287338" cy="346075"/>
              </a:xfrm>
              <a:custGeom>
                <a:avLst/>
                <a:gdLst>
                  <a:gd name="T0" fmla="*/ 13 w 501"/>
                  <a:gd name="T1" fmla="*/ 358 h 591"/>
                  <a:gd name="T2" fmla="*/ 17 w 501"/>
                  <a:gd name="T3" fmla="*/ 368 h 591"/>
                  <a:gd name="T4" fmla="*/ 37 w 501"/>
                  <a:gd name="T5" fmla="*/ 402 h 591"/>
                  <a:gd name="T6" fmla="*/ 252 w 501"/>
                  <a:gd name="T7" fmla="*/ 590 h 591"/>
                  <a:gd name="T8" fmla="*/ 465 w 501"/>
                  <a:gd name="T9" fmla="*/ 401 h 591"/>
                  <a:gd name="T10" fmla="*/ 484 w 501"/>
                  <a:gd name="T11" fmla="*/ 366 h 591"/>
                  <a:gd name="T12" fmla="*/ 488 w 501"/>
                  <a:gd name="T13" fmla="*/ 356 h 591"/>
                  <a:gd name="T14" fmla="*/ 479 w 501"/>
                  <a:gd name="T15" fmla="*/ 288 h 591"/>
                  <a:gd name="T16" fmla="*/ 479 w 501"/>
                  <a:gd name="T17" fmla="*/ 286 h 591"/>
                  <a:gd name="T18" fmla="*/ 250 w 501"/>
                  <a:gd name="T19" fmla="*/ 1 h 591"/>
                  <a:gd name="T20" fmla="*/ 22 w 501"/>
                  <a:gd name="T21" fmla="*/ 287 h 591"/>
                  <a:gd name="T22" fmla="*/ 22 w 501"/>
                  <a:gd name="T23" fmla="*/ 290 h 591"/>
                  <a:gd name="T24" fmla="*/ 13 w 501"/>
                  <a:gd name="T25" fmla="*/ 358 h 591"/>
                  <a:gd name="T26" fmla="*/ 43 w 501"/>
                  <a:gd name="T27" fmla="*/ 313 h 591"/>
                  <a:gd name="T28" fmla="*/ 43 w 501"/>
                  <a:gd name="T29" fmla="*/ 313 h 591"/>
                  <a:gd name="T30" fmla="*/ 51 w 501"/>
                  <a:gd name="T31" fmla="*/ 306 h 591"/>
                  <a:gd name="T32" fmla="*/ 88 w 501"/>
                  <a:gd name="T33" fmla="*/ 312 h 591"/>
                  <a:gd name="T34" fmla="*/ 96 w 501"/>
                  <a:gd name="T35" fmla="*/ 307 h 591"/>
                  <a:gd name="T36" fmla="*/ 119 w 501"/>
                  <a:gd name="T37" fmla="*/ 254 h 591"/>
                  <a:gd name="T38" fmla="*/ 323 w 501"/>
                  <a:gd name="T39" fmla="*/ 282 h 591"/>
                  <a:gd name="T40" fmla="*/ 382 w 501"/>
                  <a:gd name="T41" fmla="*/ 275 h 591"/>
                  <a:gd name="T42" fmla="*/ 397 w 501"/>
                  <a:gd name="T43" fmla="*/ 311 h 591"/>
                  <a:gd name="T44" fmla="*/ 404 w 501"/>
                  <a:gd name="T45" fmla="*/ 316 h 591"/>
                  <a:gd name="T46" fmla="*/ 406 w 501"/>
                  <a:gd name="T47" fmla="*/ 315 h 591"/>
                  <a:gd name="T48" fmla="*/ 449 w 501"/>
                  <a:gd name="T49" fmla="*/ 303 h 591"/>
                  <a:gd name="T50" fmla="*/ 458 w 501"/>
                  <a:gd name="T51" fmla="*/ 312 h 591"/>
                  <a:gd name="T52" fmla="*/ 459 w 501"/>
                  <a:gd name="T53" fmla="*/ 312 h 591"/>
                  <a:gd name="T54" fmla="*/ 460 w 501"/>
                  <a:gd name="T55" fmla="*/ 343 h 591"/>
                  <a:gd name="T56" fmla="*/ 455 w 501"/>
                  <a:gd name="T57" fmla="*/ 355 h 591"/>
                  <a:gd name="T58" fmla="*/ 444 w 501"/>
                  <a:gd name="T59" fmla="*/ 378 h 591"/>
                  <a:gd name="T60" fmla="*/ 437 w 501"/>
                  <a:gd name="T61" fmla="*/ 387 h 591"/>
                  <a:gd name="T62" fmla="*/ 252 w 501"/>
                  <a:gd name="T63" fmla="*/ 559 h 591"/>
                  <a:gd name="T64" fmla="*/ 65 w 501"/>
                  <a:gd name="T65" fmla="*/ 388 h 591"/>
                  <a:gd name="T66" fmla="*/ 58 w 501"/>
                  <a:gd name="T67" fmla="*/ 379 h 591"/>
                  <a:gd name="T68" fmla="*/ 46 w 501"/>
                  <a:gd name="T69" fmla="*/ 356 h 591"/>
                  <a:gd name="T70" fmla="*/ 41 w 501"/>
                  <a:gd name="T71" fmla="*/ 344 h 591"/>
                  <a:gd name="T72" fmla="*/ 43 w 501"/>
                  <a:gd name="T73" fmla="*/ 313 h 5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501" h="591">
                    <a:moveTo>
                      <a:pt x="13" y="358"/>
                    </a:moveTo>
                    <a:cubicBezTo>
                      <a:pt x="14" y="360"/>
                      <a:pt x="16" y="364"/>
                      <a:pt x="17" y="368"/>
                    </a:cubicBezTo>
                    <a:cubicBezTo>
                      <a:pt x="24" y="384"/>
                      <a:pt x="29" y="395"/>
                      <a:pt x="37" y="402"/>
                    </a:cubicBezTo>
                    <a:cubicBezTo>
                      <a:pt x="71" y="513"/>
                      <a:pt x="159" y="591"/>
                      <a:pt x="252" y="590"/>
                    </a:cubicBezTo>
                    <a:cubicBezTo>
                      <a:pt x="346" y="590"/>
                      <a:pt x="433" y="512"/>
                      <a:pt x="465" y="401"/>
                    </a:cubicBezTo>
                    <a:cubicBezTo>
                      <a:pt x="473" y="394"/>
                      <a:pt x="478" y="382"/>
                      <a:pt x="484" y="366"/>
                    </a:cubicBezTo>
                    <a:cubicBezTo>
                      <a:pt x="486" y="362"/>
                      <a:pt x="487" y="359"/>
                      <a:pt x="488" y="356"/>
                    </a:cubicBezTo>
                    <a:cubicBezTo>
                      <a:pt x="501" y="330"/>
                      <a:pt x="497" y="302"/>
                      <a:pt x="479" y="288"/>
                    </a:cubicBezTo>
                    <a:lnTo>
                      <a:pt x="479" y="286"/>
                    </a:lnTo>
                    <a:cubicBezTo>
                      <a:pt x="479" y="147"/>
                      <a:pt x="460" y="0"/>
                      <a:pt x="250" y="1"/>
                    </a:cubicBezTo>
                    <a:cubicBezTo>
                      <a:pt x="39" y="1"/>
                      <a:pt x="21" y="143"/>
                      <a:pt x="22" y="287"/>
                    </a:cubicBezTo>
                    <a:cubicBezTo>
                      <a:pt x="22" y="288"/>
                      <a:pt x="22" y="289"/>
                      <a:pt x="22" y="290"/>
                    </a:cubicBezTo>
                    <a:cubicBezTo>
                      <a:pt x="4" y="304"/>
                      <a:pt x="0" y="332"/>
                      <a:pt x="13" y="358"/>
                    </a:cubicBezTo>
                    <a:close/>
                    <a:moveTo>
                      <a:pt x="43" y="313"/>
                    </a:moveTo>
                    <a:lnTo>
                      <a:pt x="43" y="313"/>
                    </a:lnTo>
                    <a:cubicBezTo>
                      <a:pt x="47" y="312"/>
                      <a:pt x="49" y="309"/>
                      <a:pt x="51" y="306"/>
                    </a:cubicBezTo>
                    <a:lnTo>
                      <a:pt x="88" y="312"/>
                    </a:lnTo>
                    <a:cubicBezTo>
                      <a:pt x="91" y="312"/>
                      <a:pt x="95" y="311"/>
                      <a:pt x="96" y="307"/>
                    </a:cubicBezTo>
                    <a:lnTo>
                      <a:pt x="119" y="254"/>
                    </a:lnTo>
                    <a:cubicBezTo>
                      <a:pt x="146" y="260"/>
                      <a:pt x="245" y="283"/>
                      <a:pt x="323" y="282"/>
                    </a:cubicBezTo>
                    <a:cubicBezTo>
                      <a:pt x="347" y="282"/>
                      <a:pt x="367" y="280"/>
                      <a:pt x="382" y="275"/>
                    </a:cubicBezTo>
                    <a:lnTo>
                      <a:pt x="397" y="311"/>
                    </a:lnTo>
                    <a:cubicBezTo>
                      <a:pt x="398" y="314"/>
                      <a:pt x="401" y="316"/>
                      <a:pt x="404" y="316"/>
                    </a:cubicBezTo>
                    <a:cubicBezTo>
                      <a:pt x="405" y="316"/>
                      <a:pt x="406" y="315"/>
                      <a:pt x="406" y="315"/>
                    </a:cubicBezTo>
                    <a:lnTo>
                      <a:pt x="449" y="303"/>
                    </a:lnTo>
                    <a:cubicBezTo>
                      <a:pt x="451" y="307"/>
                      <a:pt x="454" y="310"/>
                      <a:pt x="458" y="312"/>
                    </a:cubicBezTo>
                    <a:lnTo>
                      <a:pt x="459" y="312"/>
                    </a:lnTo>
                    <a:cubicBezTo>
                      <a:pt x="465" y="315"/>
                      <a:pt x="467" y="329"/>
                      <a:pt x="460" y="343"/>
                    </a:cubicBezTo>
                    <a:cubicBezTo>
                      <a:pt x="459" y="346"/>
                      <a:pt x="457" y="350"/>
                      <a:pt x="455" y="355"/>
                    </a:cubicBezTo>
                    <a:cubicBezTo>
                      <a:pt x="453" y="361"/>
                      <a:pt x="447" y="374"/>
                      <a:pt x="444" y="378"/>
                    </a:cubicBezTo>
                    <a:cubicBezTo>
                      <a:pt x="440" y="380"/>
                      <a:pt x="438" y="383"/>
                      <a:pt x="437" y="387"/>
                    </a:cubicBezTo>
                    <a:cubicBezTo>
                      <a:pt x="409" y="488"/>
                      <a:pt x="333" y="559"/>
                      <a:pt x="252" y="559"/>
                    </a:cubicBezTo>
                    <a:cubicBezTo>
                      <a:pt x="171" y="559"/>
                      <a:pt x="94" y="489"/>
                      <a:pt x="65" y="388"/>
                    </a:cubicBezTo>
                    <a:cubicBezTo>
                      <a:pt x="64" y="384"/>
                      <a:pt x="61" y="381"/>
                      <a:pt x="58" y="379"/>
                    </a:cubicBezTo>
                    <a:cubicBezTo>
                      <a:pt x="54" y="376"/>
                      <a:pt x="49" y="362"/>
                      <a:pt x="46" y="356"/>
                    </a:cubicBezTo>
                    <a:cubicBezTo>
                      <a:pt x="44" y="351"/>
                      <a:pt x="43" y="347"/>
                      <a:pt x="41" y="344"/>
                    </a:cubicBezTo>
                    <a:cubicBezTo>
                      <a:pt x="34" y="330"/>
                      <a:pt x="36" y="316"/>
                      <a:pt x="43" y="313"/>
                    </a:cubicBezTo>
                    <a:close/>
                  </a:path>
                </a:pathLst>
              </a:custGeom>
              <a:solidFill>
                <a:srgbClr val="4D4D4D"/>
              </a:solidFill>
              <a:ln w="0">
                <a:noFill/>
                <a:prstDash val="solid"/>
                <a:round/>
                <a:headEnd/>
                <a:tailEnd/>
              </a:ln>
              <a:extLst>
                <a:ext uri="{91240B29-F687-4F45-9708-019B960494DF}">
                  <a14:hiddenLine xmlns:a14="http://schemas.microsoft.com/office/drawing/2010/main"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pic>
          <p:nvPicPr>
            <p:cNvPr id="72" name="Picture 3" descr="C:\Users\rajarrv\AppData\Local\Microsoft\Windows\Temporary Internet Files\Content.Outlook\3CY2KM7L\B-No Background FORCE LOGO.png"/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919134" y="4095401"/>
              <a:ext cx="276515" cy="7896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79" name="TextBox 96"/>
          <p:cNvSpPr txBox="1"/>
          <p:nvPr/>
        </p:nvSpPr>
        <p:spPr bwMode="auto">
          <a:xfrm>
            <a:off x="3970853" y="5320989"/>
            <a:ext cx="1382197" cy="206444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2"/>
            </a:solidFill>
            <a:prstDash val="sysDot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lvl="0" fontAlgn="base">
              <a:defRPr sz="1600">
                <a:solidFill>
                  <a:srgbClr val="000000"/>
                </a:solidFill>
                <a:latin typeface="CorpoS" pitchFamily="2" charset="0"/>
              </a:defRPr>
            </a:lvl1pPr>
          </a:lstStyle>
          <a:p>
            <a:pPr algn="ctr"/>
            <a:r>
              <a:rPr lang="ja-JP" altLang="en-US" sz="1200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支店部品マネージャ</a:t>
            </a:r>
            <a:endParaRPr lang="en-US" sz="1200" dirty="0"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pic>
        <p:nvPicPr>
          <p:cNvPr id="80" name="図 7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27751" y="5010148"/>
            <a:ext cx="682250" cy="260463"/>
          </a:xfrm>
          <a:prstGeom prst="rect">
            <a:avLst/>
          </a:prstGeom>
        </p:spPr>
      </p:pic>
      <p:pic>
        <p:nvPicPr>
          <p:cNvPr id="81" name="図 8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75899" y="5038143"/>
            <a:ext cx="682250" cy="260463"/>
          </a:xfrm>
          <a:prstGeom prst="rect">
            <a:avLst/>
          </a:prstGeom>
        </p:spPr>
      </p:pic>
      <p:grpSp>
        <p:nvGrpSpPr>
          <p:cNvPr id="82" name="Group 112"/>
          <p:cNvGrpSpPr>
            <a:grpSpLocks noChangeAspect="1"/>
          </p:cNvGrpSpPr>
          <p:nvPr/>
        </p:nvGrpSpPr>
        <p:grpSpPr>
          <a:xfrm>
            <a:off x="6840012" y="4689156"/>
            <a:ext cx="635336" cy="635336"/>
            <a:chOff x="1563866" y="3369910"/>
            <a:chExt cx="994581" cy="994581"/>
          </a:xfrm>
        </p:grpSpPr>
        <p:grpSp>
          <p:nvGrpSpPr>
            <p:cNvPr id="83" name="Group 131"/>
            <p:cNvGrpSpPr>
              <a:grpSpLocks noChangeAspect="1"/>
            </p:cNvGrpSpPr>
            <p:nvPr/>
          </p:nvGrpSpPr>
          <p:grpSpPr bwMode="gray">
            <a:xfrm>
              <a:off x="1563866" y="3369910"/>
              <a:ext cx="994581" cy="994581"/>
              <a:chOff x="4814888" y="1222375"/>
              <a:chExt cx="828675" cy="828675"/>
            </a:xfrm>
          </p:grpSpPr>
          <p:sp>
            <p:nvSpPr>
              <p:cNvPr id="85" name="AutoShape 13"/>
              <p:cNvSpPr>
                <a:spLocks noChangeAspect="1" noChangeArrowheads="1" noTextEdit="1"/>
              </p:cNvSpPr>
              <p:nvPr/>
            </p:nvSpPr>
            <p:spPr bwMode="gray">
              <a:xfrm>
                <a:off x="4814888" y="1222375"/>
                <a:ext cx="828675" cy="8286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6" name="Freeform 15"/>
              <p:cNvSpPr>
                <a:spLocks/>
              </p:cNvSpPr>
              <p:nvPr/>
            </p:nvSpPr>
            <p:spPr bwMode="gray">
              <a:xfrm>
                <a:off x="4956176" y="1600200"/>
                <a:ext cx="250825" cy="339725"/>
              </a:xfrm>
              <a:custGeom>
                <a:avLst/>
                <a:gdLst>
                  <a:gd name="T0" fmla="*/ 183 w 439"/>
                  <a:gd name="T1" fmla="*/ 290 h 580"/>
                  <a:gd name="T2" fmla="*/ 214 w 439"/>
                  <a:gd name="T3" fmla="*/ 259 h 580"/>
                  <a:gd name="T4" fmla="*/ 439 w 439"/>
                  <a:gd name="T5" fmla="*/ 259 h 580"/>
                  <a:gd name="T6" fmla="*/ 295 w 439"/>
                  <a:gd name="T7" fmla="*/ 0 h 580"/>
                  <a:gd name="T8" fmla="*/ 189 w 439"/>
                  <a:gd name="T9" fmla="*/ 22 h 580"/>
                  <a:gd name="T10" fmla="*/ 132 w 439"/>
                  <a:gd name="T11" fmla="*/ 76 h 580"/>
                  <a:gd name="T12" fmla="*/ 6 w 439"/>
                  <a:gd name="T13" fmla="*/ 486 h 580"/>
                  <a:gd name="T14" fmla="*/ 19 w 439"/>
                  <a:gd name="T15" fmla="*/ 551 h 580"/>
                  <a:gd name="T16" fmla="*/ 78 w 439"/>
                  <a:gd name="T17" fmla="*/ 580 h 580"/>
                  <a:gd name="T18" fmla="*/ 184 w 439"/>
                  <a:gd name="T19" fmla="*/ 580 h 580"/>
                  <a:gd name="T20" fmla="*/ 183 w 439"/>
                  <a:gd name="T21" fmla="*/ 290 h 580"/>
                  <a:gd name="T22" fmla="*/ 183 w 439"/>
                  <a:gd name="T23" fmla="*/ 290 h 5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39" h="580">
                    <a:moveTo>
                      <a:pt x="183" y="290"/>
                    </a:moveTo>
                    <a:lnTo>
                      <a:pt x="214" y="259"/>
                    </a:lnTo>
                    <a:lnTo>
                      <a:pt x="439" y="259"/>
                    </a:lnTo>
                    <a:lnTo>
                      <a:pt x="295" y="0"/>
                    </a:lnTo>
                    <a:lnTo>
                      <a:pt x="189" y="22"/>
                    </a:lnTo>
                    <a:cubicBezTo>
                      <a:pt x="162" y="27"/>
                      <a:pt x="140" y="48"/>
                      <a:pt x="132" y="76"/>
                    </a:cubicBezTo>
                    <a:lnTo>
                      <a:pt x="6" y="486"/>
                    </a:lnTo>
                    <a:cubicBezTo>
                      <a:pt x="0" y="509"/>
                      <a:pt x="5" y="532"/>
                      <a:pt x="19" y="551"/>
                    </a:cubicBezTo>
                    <a:cubicBezTo>
                      <a:pt x="34" y="569"/>
                      <a:pt x="55" y="580"/>
                      <a:pt x="78" y="580"/>
                    </a:cubicBezTo>
                    <a:lnTo>
                      <a:pt x="184" y="580"/>
                    </a:lnTo>
                    <a:lnTo>
                      <a:pt x="183" y="290"/>
                    </a:lnTo>
                    <a:lnTo>
                      <a:pt x="183" y="290"/>
                    </a:lnTo>
                    <a:close/>
                  </a:path>
                </a:pathLst>
              </a:custGeom>
              <a:solidFill>
                <a:srgbClr val="4D4D4D"/>
              </a:solidFill>
              <a:ln w="0">
                <a:noFill/>
                <a:prstDash val="solid"/>
                <a:round/>
                <a:headEnd/>
                <a:tailEnd/>
              </a:ln>
              <a:extLst>
                <a:ext uri="{91240B29-F687-4F45-9708-019B960494DF}">
                  <a14:hiddenLine xmlns:a14="http://schemas.microsoft.com/office/drawing/2010/main"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7" name="Freeform 16"/>
              <p:cNvSpPr>
                <a:spLocks/>
              </p:cNvSpPr>
              <p:nvPr/>
            </p:nvSpPr>
            <p:spPr bwMode="gray">
              <a:xfrm>
                <a:off x="5229226" y="1600200"/>
                <a:ext cx="252413" cy="339725"/>
              </a:xfrm>
              <a:custGeom>
                <a:avLst/>
                <a:gdLst>
                  <a:gd name="T0" fmla="*/ 433 w 439"/>
                  <a:gd name="T1" fmla="*/ 485 h 579"/>
                  <a:gd name="T2" fmla="*/ 307 w 439"/>
                  <a:gd name="T3" fmla="*/ 75 h 579"/>
                  <a:gd name="T4" fmla="*/ 249 w 439"/>
                  <a:gd name="T5" fmla="*/ 20 h 579"/>
                  <a:gd name="T6" fmla="*/ 143 w 439"/>
                  <a:gd name="T7" fmla="*/ 0 h 579"/>
                  <a:gd name="T8" fmla="*/ 0 w 439"/>
                  <a:gd name="T9" fmla="*/ 258 h 579"/>
                  <a:gd name="T10" fmla="*/ 242 w 439"/>
                  <a:gd name="T11" fmla="*/ 258 h 579"/>
                  <a:gd name="T12" fmla="*/ 273 w 439"/>
                  <a:gd name="T13" fmla="*/ 289 h 579"/>
                  <a:gd name="T14" fmla="*/ 273 w 439"/>
                  <a:gd name="T15" fmla="*/ 579 h 579"/>
                  <a:gd name="T16" fmla="*/ 361 w 439"/>
                  <a:gd name="T17" fmla="*/ 579 h 579"/>
                  <a:gd name="T18" fmla="*/ 420 w 439"/>
                  <a:gd name="T19" fmla="*/ 550 h 579"/>
                  <a:gd name="T20" fmla="*/ 433 w 439"/>
                  <a:gd name="T21" fmla="*/ 485 h 5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39" h="579">
                    <a:moveTo>
                      <a:pt x="433" y="485"/>
                    </a:moveTo>
                    <a:lnTo>
                      <a:pt x="307" y="75"/>
                    </a:lnTo>
                    <a:cubicBezTo>
                      <a:pt x="299" y="47"/>
                      <a:pt x="277" y="26"/>
                      <a:pt x="249" y="20"/>
                    </a:cubicBezTo>
                    <a:lnTo>
                      <a:pt x="143" y="0"/>
                    </a:lnTo>
                    <a:lnTo>
                      <a:pt x="0" y="258"/>
                    </a:lnTo>
                    <a:lnTo>
                      <a:pt x="242" y="258"/>
                    </a:lnTo>
                    <a:lnTo>
                      <a:pt x="273" y="289"/>
                    </a:lnTo>
                    <a:lnTo>
                      <a:pt x="273" y="579"/>
                    </a:lnTo>
                    <a:lnTo>
                      <a:pt x="361" y="579"/>
                    </a:lnTo>
                    <a:cubicBezTo>
                      <a:pt x="384" y="579"/>
                      <a:pt x="406" y="568"/>
                      <a:pt x="420" y="550"/>
                    </a:cubicBezTo>
                    <a:cubicBezTo>
                      <a:pt x="434" y="531"/>
                      <a:pt x="439" y="508"/>
                      <a:pt x="433" y="485"/>
                    </a:cubicBezTo>
                    <a:close/>
                  </a:path>
                </a:pathLst>
              </a:custGeom>
              <a:solidFill>
                <a:srgbClr val="4D4D4D"/>
              </a:solidFill>
              <a:ln w="0">
                <a:noFill/>
                <a:prstDash val="solid"/>
                <a:round/>
                <a:headEnd/>
                <a:tailEnd/>
              </a:ln>
              <a:extLst>
                <a:ext uri="{91240B29-F687-4F45-9708-019B960494DF}">
                  <a14:hiddenLine xmlns:a14="http://schemas.microsoft.com/office/drawing/2010/main"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8" name="Freeform 17"/>
              <p:cNvSpPr>
                <a:spLocks/>
              </p:cNvSpPr>
              <p:nvPr/>
            </p:nvSpPr>
            <p:spPr bwMode="gray">
              <a:xfrm>
                <a:off x="5091113" y="1787525"/>
                <a:ext cx="258763" cy="152400"/>
              </a:xfrm>
              <a:custGeom>
                <a:avLst/>
                <a:gdLst>
                  <a:gd name="T0" fmla="*/ 0 w 163"/>
                  <a:gd name="T1" fmla="*/ 96 h 96"/>
                  <a:gd name="T2" fmla="*/ 160 w 163"/>
                  <a:gd name="T3" fmla="*/ 96 h 96"/>
                  <a:gd name="T4" fmla="*/ 160 w 163"/>
                  <a:gd name="T5" fmla="*/ 96 h 96"/>
                  <a:gd name="T6" fmla="*/ 163 w 163"/>
                  <a:gd name="T7" fmla="*/ 96 h 96"/>
                  <a:gd name="T8" fmla="*/ 163 w 163"/>
                  <a:gd name="T9" fmla="*/ 0 h 96"/>
                  <a:gd name="T10" fmla="*/ 3 w 163"/>
                  <a:gd name="T11" fmla="*/ 0 h 96"/>
                  <a:gd name="T12" fmla="*/ 3 w 163"/>
                  <a:gd name="T13" fmla="*/ 96 h 96"/>
                  <a:gd name="T14" fmla="*/ 0 w 163"/>
                  <a:gd name="T15" fmla="*/ 96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3" h="96">
                    <a:moveTo>
                      <a:pt x="0" y="96"/>
                    </a:moveTo>
                    <a:lnTo>
                      <a:pt x="160" y="96"/>
                    </a:lnTo>
                    <a:lnTo>
                      <a:pt x="160" y="96"/>
                    </a:lnTo>
                    <a:lnTo>
                      <a:pt x="163" y="96"/>
                    </a:lnTo>
                    <a:lnTo>
                      <a:pt x="163" y="0"/>
                    </a:lnTo>
                    <a:lnTo>
                      <a:pt x="3" y="0"/>
                    </a:lnTo>
                    <a:lnTo>
                      <a:pt x="3" y="96"/>
                    </a:lnTo>
                    <a:lnTo>
                      <a:pt x="0" y="96"/>
                    </a:ln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9" name="Rectangle 18"/>
              <p:cNvSpPr>
                <a:spLocks noChangeArrowheads="1"/>
              </p:cNvSpPr>
              <p:nvPr/>
            </p:nvSpPr>
            <p:spPr bwMode="gray">
              <a:xfrm>
                <a:off x="5026026" y="1955800"/>
                <a:ext cx="385763" cy="31750"/>
              </a:xfrm>
              <a:prstGeom prst="rect">
                <a:avLst/>
              </a:prstGeom>
              <a:solidFill>
                <a:srgbClr val="4D4D4D"/>
              </a:solidFill>
              <a:ln w="0">
                <a:noFill/>
                <a:prstDash val="solid"/>
                <a:miter lim="800000"/>
                <a:headEnd/>
                <a:tailEnd/>
              </a:ln>
              <a:extLst>
                <a:ext uri="{91240B29-F687-4F45-9708-019B960494DF}">
                  <a14:hiddenLine xmlns:a14="http://schemas.microsoft.com/office/drawing/2010/main" w="0">
                    <a:solidFill>
                      <a:srgbClr val="000000"/>
                    </a:solidFill>
                    <a:prstDash val="solid"/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0" name="Freeform 19"/>
              <p:cNvSpPr>
                <a:spLocks noEditPoints="1"/>
              </p:cNvSpPr>
              <p:nvPr/>
            </p:nvSpPr>
            <p:spPr bwMode="gray">
              <a:xfrm>
                <a:off x="5073651" y="1284288"/>
                <a:ext cx="287338" cy="346075"/>
              </a:xfrm>
              <a:custGeom>
                <a:avLst/>
                <a:gdLst>
                  <a:gd name="T0" fmla="*/ 13 w 501"/>
                  <a:gd name="T1" fmla="*/ 358 h 591"/>
                  <a:gd name="T2" fmla="*/ 17 w 501"/>
                  <a:gd name="T3" fmla="*/ 368 h 591"/>
                  <a:gd name="T4" fmla="*/ 37 w 501"/>
                  <a:gd name="T5" fmla="*/ 402 h 591"/>
                  <a:gd name="T6" fmla="*/ 252 w 501"/>
                  <a:gd name="T7" fmla="*/ 590 h 591"/>
                  <a:gd name="T8" fmla="*/ 465 w 501"/>
                  <a:gd name="T9" fmla="*/ 401 h 591"/>
                  <a:gd name="T10" fmla="*/ 484 w 501"/>
                  <a:gd name="T11" fmla="*/ 366 h 591"/>
                  <a:gd name="T12" fmla="*/ 488 w 501"/>
                  <a:gd name="T13" fmla="*/ 356 h 591"/>
                  <a:gd name="T14" fmla="*/ 479 w 501"/>
                  <a:gd name="T15" fmla="*/ 288 h 591"/>
                  <a:gd name="T16" fmla="*/ 479 w 501"/>
                  <a:gd name="T17" fmla="*/ 286 h 591"/>
                  <a:gd name="T18" fmla="*/ 250 w 501"/>
                  <a:gd name="T19" fmla="*/ 1 h 591"/>
                  <a:gd name="T20" fmla="*/ 22 w 501"/>
                  <a:gd name="T21" fmla="*/ 287 h 591"/>
                  <a:gd name="T22" fmla="*/ 22 w 501"/>
                  <a:gd name="T23" fmla="*/ 290 h 591"/>
                  <a:gd name="T24" fmla="*/ 13 w 501"/>
                  <a:gd name="T25" fmla="*/ 358 h 591"/>
                  <a:gd name="T26" fmla="*/ 43 w 501"/>
                  <a:gd name="T27" fmla="*/ 313 h 591"/>
                  <a:gd name="T28" fmla="*/ 43 w 501"/>
                  <a:gd name="T29" fmla="*/ 313 h 591"/>
                  <a:gd name="T30" fmla="*/ 51 w 501"/>
                  <a:gd name="T31" fmla="*/ 306 h 591"/>
                  <a:gd name="T32" fmla="*/ 88 w 501"/>
                  <a:gd name="T33" fmla="*/ 312 h 591"/>
                  <a:gd name="T34" fmla="*/ 96 w 501"/>
                  <a:gd name="T35" fmla="*/ 307 h 591"/>
                  <a:gd name="T36" fmla="*/ 119 w 501"/>
                  <a:gd name="T37" fmla="*/ 254 h 591"/>
                  <a:gd name="T38" fmla="*/ 323 w 501"/>
                  <a:gd name="T39" fmla="*/ 282 h 591"/>
                  <a:gd name="T40" fmla="*/ 382 w 501"/>
                  <a:gd name="T41" fmla="*/ 275 h 591"/>
                  <a:gd name="T42" fmla="*/ 397 w 501"/>
                  <a:gd name="T43" fmla="*/ 311 h 591"/>
                  <a:gd name="T44" fmla="*/ 404 w 501"/>
                  <a:gd name="T45" fmla="*/ 316 h 591"/>
                  <a:gd name="T46" fmla="*/ 406 w 501"/>
                  <a:gd name="T47" fmla="*/ 315 h 591"/>
                  <a:gd name="T48" fmla="*/ 449 w 501"/>
                  <a:gd name="T49" fmla="*/ 303 h 591"/>
                  <a:gd name="T50" fmla="*/ 458 w 501"/>
                  <a:gd name="T51" fmla="*/ 312 h 591"/>
                  <a:gd name="T52" fmla="*/ 459 w 501"/>
                  <a:gd name="T53" fmla="*/ 312 h 591"/>
                  <a:gd name="T54" fmla="*/ 460 w 501"/>
                  <a:gd name="T55" fmla="*/ 343 h 591"/>
                  <a:gd name="T56" fmla="*/ 455 w 501"/>
                  <a:gd name="T57" fmla="*/ 355 h 591"/>
                  <a:gd name="T58" fmla="*/ 444 w 501"/>
                  <a:gd name="T59" fmla="*/ 378 h 591"/>
                  <a:gd name="T60" fmla="*/ 437 w 501"/>
                  <a:gd name="T61" fmla="*/ 387 h 591"/>
                  <a:gd name="T62" fmla="*/ 252 w 501"/>
                  <a:gd name="T63" fmla="*/ 559 h 591"/>
                  <a:gd name="T64" fmla="*/ 65 w 501"/>
                  <a:gd name="T65" fmla="*/ 388 h 591"/>
                  <a:gd name="T66" fmla="*/ 58 w 501"/>
                  <a:gd name="T67" fmla="*/ 379 h 591"/>
                  <a:gd name="T68" fmla="*/ 46 w 501"/>
                  <a:gd name="T69" fmla="*/ 356 h 591"/>
                  <a:gd name="T70" fmla="*/ 41 w 501"/>
                  <a:gd name="T71" fmla="*/ 344 h 591"/>
                  <a:gd name="T72" fmla="*/ 43 w 501"/>
                  <a:gd name="T73" fmla="*/ 313 h 5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501" h="591">
                    <a:moveTo>
                      <a:pt x="13" y="358"/>
                    </a:moveTo>
                    <a:cubicBezTo>
                      <a:pt x="14" y="360"/>
                      <a:pt x="16" y="364"/>
                      <a:pt x="17" y="368"/>
                    </a:cubicBezTo>
                    <a:cubicBezTo>
                      <a:pt x="24" y="384"/>
                      <a:pt x="29" y="395"/>
                      <a:pt x="37" y="402"/>
                    </a:cubicBezTo>
                    <a:cubicBezTo>
                      <a:pt x="71" y="513"/>
                      <a:pt x="159" y="591"/>
                      <a:pt x="252" y="590"/>
                    </a:cubicBezTo>
                    <a:cubicBezTo>
                      <a:pt x="346" y="590"/>
                      <a:pt x="433" y="512"/>
                      <a:pt x="465" y="401"/>
                    </a:cubicBezTo>
                    <a:cubicBezTo>
                      <a:pt x="473" y="394"/>
                      <a:pt x="478" y="382"/>
                      <a:pt x="484" y="366"/>
                    </a:cubicBezTo>
                    <a:cubicBezTo>
                      <a:pt x="486" y="362"/>
                      <a:pt x="487" y="359"/>
                      <a:pt x="488" y="356"/>
                    </a:cubicBezTo>
                    <a:cubicBezTo>
                      <a:pt x="501" y="330"/>
                      <a:pt x="497" y="302"/>
                      <a:pt x="479" y="288"/>
                    </a:cubicBezTo>
                    <a:lnTo>
                      <a:pt x="479" y="286"/>
                    </a:lnTo>
                    <a:cubicBezTo>
                      <a:pt x="479" y="147"/>
                      <a:pt x="460" y="0"/>
                      <a:pt x="250" y="1"/>
                    </a:cubicBezTo>
                    <a:cubicBezTo>
                      <a:pt x="39" y="1"/>
                      <a:pt x="21" y="143"/>
                      <a:pt x="22" y="287"/>
                    </a:cubicBezTo>
                    <a:cubicBezTo>
                      <a:pt x="22" y="288"/>
                      <a:pt x="22" y="289"/>
                      <a:pt x="22" y="290"/>
                    </a:cubicBezTo>
                    <a:cubicBezTo>
                      <a:pt x="4" y="304"/>
                      <a:pt x="0" y="332"/>
                      <a:pt x="13" y="358"/>
                    </a:cubicBezTo>
                    <a:close/>
                    <a:moveTo>
                      <a:pt x="43" y="313"/>
                    </a:moveTo>
                    <a:lnTo>
                      <a:pt x="43" y="313"/>
                    </a:lnTo>
                    <a:cubicBezTo>
                      <a:pt x="47" y="312"/>
                      <a:pt x="49" y="309"/>
                      <a:pt x="51" y="306"/>
                    </a:cubicBezTo>
                    <a:lnTo>
                      <a:pt x="88" y="312"/>
                    </a:lnTo>
                    <a:cubicBezTo>
                      <a:pt x="91" y="312"/>
                      <a:pt x="95" y="311"/>
                      <a:pt x="96" y="307"/>
                    </a:cubicBezTo>
                    <a:lnTo>
                      <a:pt x="119" y="254"/>
                    </a:lnTo>
                    <a:cubicBezTo>
                      <a:pt x="146" y="260"/>
                      <a:pt x="245" y="283"/>
                      <a:pt x="323" y="282"/>
                    </a:cubicBezTo>
                    <a:cubicBezTo>
                      <a:pt x="347" y="282"/>
                      <a:pt x="367" y="280"/>
                      <a:pt x="382" y="275"/>
                    </a:cubicBezTo>
                    <a:lnTo>
                      <a:pt x="397" y="311"/>
                    </a:lnTo>
                    <a:cubicBezTo>
                      <a:pt x="398" y="314"/>
                      <a:pt x="401" y="316"/>
                      <a:pt x="404" y="316"/>
                    </a:cubicBezTo>
                    <a:cubicBezTo>
                      <a:pt x="405" y="316"/>
                      <a:pt x="406" y="315"/>
                      <a:pt x="406" y="315"/>
                    </a:cubicBezTo>
                    <a:lnTo>
                      <a:pt x="449" y="303"/>
                    </a:lnTo>
                    <a:cubicBezTo>
                      <a:pt x="451" y="307"/>
                      <a:pt x="454" y="310"/>
                      <a:pt x="458" y="312"/>
                    </a:cubicBezTo>
                    <a:lnTo>
                      <a:pt x="459" y="312"/>
                    </a:lnTo>
                    <a:cubicBezTo>
                      <a:pt x="465" y="315"/>
                      <a:pt x="467" y="329"/>
                      <a:pt x="460" y="343"/>
                    </a:cubicBezTo>
                    <a:cubicBezTo>
                      <a:pt x="459" y="346"/>
                      <a:pt x="457" y="350"/>
                      <a:pt x="455" y="355"/>
                    </a:cubicBezTo>
                    <a:cubicBezTo>
                      <a:pt x="453" y="361"/>
                      <a:pt x="447" y="374"/>
                      <a:pt x="444" y="378"/>
                    </a:cubicBezTo>
                    <a:cubicBezTo>
                      <a:pt x="440" y="380"/>
                      <a:pt x="438" y="383"/>
                      <a:pt x="437" y="387"/>
                    </a:cubicBezTo>
                    <a:cubicBezTo>
                      <a:pt x="409" y="488"/>
                      <a:pt x="333" y="559"/>
                      <a:pt x="252" y="559"/>
                    </a:cubicBezTo>
                    <a:cubicBezTo>
                      <a:pt x="171" y="559"/>
                      <a:pt x="94" y="489"/>
                      <a:pt x="65" y="388"/>
                    </a:cubicBezTo>
                    <a:cubicBezTo>
                      <a:pt x="64" y="384"/>
                      <a:pt x="61" y="381"/>
                      <a:pt x="58" y="379"/>
                    </a:cubicBezTo>
                    <a:cubicBezTo>
                      <a:pt x="54" y="376"/>
                      <a:pt x="49" y="362"/>
                      <a:pt x="46" y="356"/>
                    </a:cubicBezTo>
                    <a:cubicBezTo>
                      <a:pt x="44" y="351"/>
                      <a:pt x="43" y="347"/>
                      <a:pt x="41" y="344"/>
                    </a:cubicBezTo>
                    <a:cubicBezTo>
                      <a:pt x="34" y="330"/>
                      <a:pt x="36" y="316"/>
                      <a:pt x="43" y="313"/>
                    </a:cubicBezTo>
                    <a:close/>
                  </a:path>
                </a:pathLst>
              </a:custGeom>
              <a:solidFill>
                <a:srgbClr val="4D4D4D"/>
              </a:solidFill>
              <a:ln w="0">
                <a:noFill/>
                <a:prstDash val="solid"/>
                <a:round/>
                <a:headEnd/>
                <a:tailEnd/>
              </a:ln>
              <a:extLst>
                <a:ext uri="{91240B29-F687-4F45-9708-019B960494DF}">
                  <a14:hiddenLine xmlns:a14="http://schemas.microsoft.com/office/drawing/2010/main"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pic>
          <p:nvPicPr>
            <p:cNvPr id="84" name="Picture 3" descr="C:\Users\rajarrv\AppData\Local\Microsoft\Windows\Temporary Internet Files\Content.Outlook\3CY2KM7L\B-No Background FORCE LOGO.png"/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919134" y="4095401"/>
              <a:ext cx="276515" cy="7896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91" name="TextBox 96"/>
          <p:cNvSpPr txBox="1"/>
          <p:nvPr/>
        </p:nvSpPr>
        <p:spPr bwMode="auto">
          <a:xfrm>
            <a:off x="6705762" y="5367340"/>
            <a:ext cx="936104" cy="160093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2"/>
            </a:solidFill>
            <a:prstDash val="sysDot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lvl="0" fontAlgn="base">
              <a:defRPr sz="1600">
                <a:solidFill>
                  <a:srgbClr val="000000"/>
                </a:solidFill>
                <a:latin typeface="CorpoS" pitchFamily="2" charset="0"/>
              </a:defRPr>
            </a:lvl1pPr>
          </a:lstStyle>
          <a:p>
            <a:pPr algn="ctr"/>
            <a:r>
              <a:rPr lang="ja-JP" altLang="en-US" sz="1200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支店長　他</a:t>
            </a:r>
            <a:endParaRPr lang="en-US" sz="1200" dirty="0"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92" name="TextBox 96"/>
          <p:cNvSpPr txBox="1"/>
          <p:nvPr/>
        </p:nvSpPr>
        <p:spPr bwMode="auto">
          <a:xfrm>
            <a:off x="1593926" y="5101045"/>
            <a:ext cx="864096" cy="149219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2"/>
            </a:solidFill>
            <a:prstDash val="sysDot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lvl="0" fontAlgn="base">
              <a:defRPr sz="1600">
                <a:solidFill>
                  <a:srgbClr val="000000"/>
                </a:solidFill>
                <a:latin typeface="CorpoS" pitchFamily="2" charset="0"/>
              </a:defRPr>
            </a:lvl1pPr>
          </a:lstStyle>
          <a:p>
            <a:pPr algn="ctr"/>
            <a:r>
              <a:rPr lang="ja-JP" altLang="en-US" sz="1200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部品</a:t>
            </a:r>
            <a:r>
              <a:rPr lang="ja-JP" altLang="en-US" sz="1200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業務</a:t>
            </a:r>
            <a:endParaRPr lang="en-US" sz="1200" dirty="0"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93" name="Rectangle 77"/>
          <p:cNvSpPr/>
          <p:nvPr/>
        </p:nvSpPr>
        <p:spPr>
          <a:xfrm>
            <a:off x="757556" y="2661461"/>
            <a:ext cx="6676008" cy="39378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ja-JP" altLang="en-US" sz="1400" noProof="1" smtClean="0">
                <a:solidFill>
                  <a:schemeClr val="folHlin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■</a:t>
            </a:r>
            <a:r>
              <a:rPr lang="en-US" altLang="ja-JP" sz="1400" noProof="1" smtClean="0">
                <a:solidFill>
                  <a:schemeClr val="folHlin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1</a:t>
            </a:r>
            <a:r>
              <a:rPr lang="ja-JP" altLang="en-US" sz="1400" noProof="1" smtClean="0">
                <a:solidFill>
                  <a:schemeClr val="folHlin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つの</a:t>
            </a:r>
            <a:r>
              <a:rPr lang="en-US" altLang="ja-JP" sz="1400" noProof="1" smtClean="0">
                <a:solidFill>
                  <a:schemeClr val="folHlin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UID</a:t>
            </a:r>
            <a:r>
              <a:rPr lang="ja-JP" altLang="en-US" sz="1400" noProof="1" smtClean="0">
                <a:solidFill>
                  <a:schemeClr val="folHlin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（下図では</a:t>
            </a:r>
            <a:r>
              <a:rPr lang="en-US" altLang="ja-JP" sz="1400" noProof="1" smtClean="0">
                <a:solidFill>
                  <a:schemeClr val="folHlin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UID01</a:t>
            </a:r>
            <a:r>
              <a:rPr lang="ja-JP" altLang="en-US" sz="1400" noProof="1" smtClean="0">
                <a:solidFill>
                  <a:schemeClr val="folHlin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）で整備、部品の</a:t>
            </a:r>
            <a:r>
              <a:rPr lang="en-US" altLang="ja-JP" sz="1400" noProof="1" smtClean="0">
                <a:solidFill>
                  <a:schemeClr val="folHlin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2</a:t>
            </a:r>
            <a:r>
              <a:rPr lang="ja-JP" altLang="en-US" sz="1400" noProof="1" smtClean="0">
                <a:solidFill>
                  <a:schemeClr val="folHlin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つの業務の実施が可能</a:t>
            </a:r>
            <a:endParaRPr lang="en-US" altLang="ja-JP" sz="1400" noProof="1" smtClean="0">
              <a:solidFill>
                <a:schemeClr val="folHlink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95" name="Rectangle 77"/>
          <p:cNvSpPr/>
          <p:nvPr/>
        </p:nvSpPr>
        <p:spPr>
          <a:xfrm>
            <a:off x="3040417" y="4377992"/>
            <a:ext cx="2835041" cy="37361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ja-JP" altLang="en-US" sz="1200" i="1" noProof="1">
                <a:solidFill>
                  <a:schemeClr val="folHlin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システム</a:t>
            </a:r>
            <a:r>
              <a:rPr lang="ja-JP" altLang="en-US" sz="1200" i="1" noProof="1" smtClean="0">
                <a:solidFill>
                  <a:schemeClr val="folHlin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が拠点内の部品</a:t>
            </a:r>
            <a:r>
              <a:rPr lang="ja-JP" altLang="en-US" sz="1200" i="1" noProof="1">
                <a:solidFill>
                  <a:schemeClr val="folHlin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マネージャを検索し、承認者を判定</a:t>
            </a:r>
          </a:p>
        </p:txBody>
      </p:sp>
      <p:sp>
        <p:nvSpPr>
          <p:cNvPr id="96" name="Rectangle 77"/>
          <p:cNvSpPr/>
          <p:nvPr/>
        </p:nvSpPr>
        <p:spPr>
          <a:xfrm>
            <a:off x="3056705" y="3068459"/>
            <a:ext cx="2124889" cy="458174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ja-JP" altLang="en-US" sz="1200" i="1" noProof="1" smtClean="0">
                <a:solidFill>
                  <a:schemeClr val="folHlin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社員マスタのマネージャ情報から</a:t>
            </a:r>
            <a:endParaRPr lang="en-US" altLang="ja-JP" sz="1200" i="1" noProof="1" smtClean="0">
              <a:solidFill>
                <a:schemeClr val="folHlink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r>
              <a:rPr lang="ja-JP" altLang="en-US" sz="1200" i="1" noProof="1" smtClean="0">
                <a:solidFill>
                  <a:schemeClr val="folHlin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承認者判定</a:t>
            </a:r>
            <a:endParaRPr lang="ja-JP" altLang="en-US" sz="1200" i="1" noProof="1">
              <a:solidFill>
                <a:schemeClr val="folHlink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94" name="Rechteck 13">
            <a:extLst>
              <a:ext uri="{FF2B5EF4-FFF2-40B4-BE49-F238E27FC236}">
                <a16:creationId xmlns:a16="http://schemas.microsoft.com/office/drawing/2014/main" id="{FB03C564-73F6-43DE-83D5-F23FDFB7F3F8}"/>
              </a:ext>
            </a:extLst>
          </p:cNvPr>
          <p:cNvSpPr/>
          <p:nvPr/>
        </p:nvSpPr>
        <p:spPr bwMode="gray">
          <a:xfrm>
            <a:off x="985118" y="549275"/>
            <a:ext cx="2783318" cy="562201"/>
          </a:xfrm>
          <a:prstGeom prst="rect">
            <a:avLst/>
          </a:prstGeom>
          <a:solidFill>
            <a:srgbClr val="00647F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128016" tIns="0" rIns="0" bIns="0" anchor="ctr"/>
          <a:lstStyle/>
          <a:p>
            <a:pPr marL="0" marR="0" lvl="0" indent="0" algn="l" defTabSz="801688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ja-JP" sz="2000" kern="0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FORCE</a:t>
            </a:r>
            <a:r>
              <a:rPr lang="ja-JP" altLang="en-US" sz="2000" kern="0" dirty="0" smtClean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のユーザー</a:t>
            </a:r>
            <a:r>
              <a:rPr lang="en-US" altLang="ja-JP" sz="2000" kern="0" dirty="0" smtClean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ID</a:t>
            </a:r>
            <a:r>
              <a:rPr lang="ja-JP" altLang="en-US" sz="2000" kern="0" dirty="0" smtClean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と役割設定</a:t>
            </a:r>
            <a:endParaRPr kumimoji="0" lang="en-US" sz="20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75728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タイトル 2"/>
          <p:cNvSpPr txBox="1">
            <a:spLocks/>
          </p:cNvSpPr>
          <p:nvPr/>
        </p:nvSpPr>
        <p:spPr>
          <a:xfrm>
            <a:off x="630328" y="622944"/>
            <a:ext cx="10938894" cy="47100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3943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3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CorpoS" pitchFamily="2" charset="0"/>
              </a:defRPr>
            </a:lvl1pPr>
          </a:lstStyle>
          <a:p>
            <a:pPr marL="0" marR="0" lvl="0" indent="0" algn="l" defTabSz="91394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3300" b="0" i="0" u="none" strike="noStrike" kern="1200" cap="none" spc="0" normalizeH="0" baseline="0" noProof="0" dirty="0">
              <a:ln>
                <a:noFill/>
              </a:ln>
              <a:solidFill>
                <a:srgbClr val="00647F">
                  <a:lumMod val="100000"/>
                </a:srgbClr>
              </a:solidFill>
              <a:effectLst/>
              <a:uLnTx/>
              <a:uFillTx/>
              <a:latin typeface="CorpoS"/>
              <a:ea typeface="+mj-ea"/>
              <a:cs typeface="+mj-cs"/>
              <a:sym typeface="CorpoS" pitchFamily="2" charset="0"/>
            </a:endParaRPr>
          </a:p>
        </p:txBody>
      </p:sp>
      <p:sp>
        <p:nvSpPr>
          <p:cNvPr id="6" name="タイトル 4"/>
          <p:cNvSpPr txBox="1">
            <a:spLocks/>
          </p:cNvSpPr>
          <p:nvPr/>
        </p:nvSpPr>
        <p:spPr>
          <a:xfrm>
            <a:off x="3782287" y="549275"/>
            <a:ext cx="7662239" cy="561600"/>
          </a:xfrm>
          <a:prstGeom prst="rect">
            <a:avLst/>
          </a:prstGeom>
          <a:solidFill>
            <a:sysClr val="window" lastClr="FFFFFF"/>
          </a:solidFill>
          <a:ln w="10795" cap="flat" cmpd="sng" algn="ctr">
            <a:noFill/>
            <a:prstDash val="solid"/>
          </a:ln>
          <a:effectLst/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de-DE"/>
            </a:defPPr>
            <a:lvl1pPr marR="0" lvl="0" indent="0" defTabSz="913943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1" sz="2800" b="0" i="0" u="none" strike="noStrike" cap="none" spc="0" normalizeH="0" baseline="0">
                <a:ln>
                  <a:noFill/>
                </a:ln>
                <a:solidFill>
                  <a:srgbClr val="00647F">
                    <a:lumMod val="100000"/>
                  </a:srgbClr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ja-JP" altLang="en-US" sz="2000" dirty="0" smtClean="0">
                <a:solidFill>
                  <a:schemeClr val="tx1"/>
                </a:solidFill>
                <a:sym typeface="CorpoS" pitchFamily="2" charset="0"/>
              </a:rPr>
              <a:t> </a:t>
            </a:r>
            <a:r>
              <a:rPr lang="en-US" altLang="ja-JP" sz="2000" dirty="0">
                <a:solidFill>
                  <a:schemeClr val="tx1"/>
                </a:solidFill>
                <a:sym typeface="CorpoS" pitchFamily="2" charset="0"/>
              </a:rPr>
              <a:t>1.2 </a:t>
            </a:r>
            <a:r>
              <a:rPr lang="ja-JP" altLang="en-US" sz="2000" dirty="0">
                <a:solidFill>
                  <a:schemeClr val="tx1"/>
                </a:solidFill>
                <a:sym typeface="CorpoS" pitchFamily="2" charset="0"/>
              </a:rPr>
              <a:t>複数</a:t>
            </a:r>
            <a:r>
              <a:rPr lang="ja-JP" altLang="en-US" sz="2000" dirty="0" smtClean="0">
                <a:solidFill>
                  <a:schemeClr val="tx1"/>
                </a:solidFill>
                <a:sym typeface="CorpoS" pitchFamily="2" charset="0"/>
              </a:rPr>
              <a:t>業務が処理可能な役割</a:t>
            </a:r>
            <a:r>
              <a:rPr lang="ja-JP" altLang="en-US" sz="2000" dirty="0">
                <a:solidFill>
                  <a:schemeClr val="tx1"/>
                </a:solidFill>
                <a:sym typeface="CorpoS" pitchFamily="2" charset="0"/>
              </a:rPr>
              <a:t>　</a:t>
            </a:r>
            <a:r>
              <a:rPr lang="en-US" altLang="ja-JP" sz="2000" dirty="0">
                <a:solidFill>
                  <a:schemeClr val="tx1"/>
                </a:solidFill>
                <a:sym typeface="CorpoS" pitchFamily="2" charset="0"/>
              </a:rPr>
              <a:t>- </a:t>
            </a:r>
            <a:r>
              <a:rPr lang="ja-JP" altLang="en-US" sz="2000" dirty="0" smtClean="0">
                <a:solidFill>
                  <a:schemeClr val="tx1"/>
                </a:solidFill>
                <a:sym typeface="CorpoS" pitchFamily="2" charset="0"/>
              </a:rPr>
              <a:t>② </a:t>
            </a:r>
            <a:r>
              <a:rPr lang="ja-JP" altLang="en-US" sz="2000" noProof="1" smtClean="0">
                <a:solidFill>
                  <a:srgbClr val="000000"/>
                </a:solidFill>
              </a:rPr>
              <a:t>支店アシスタントスタッフ</a:t>
            </a:r>
            <a:endParaRPr lang="ja-JP" altLang="en-US" sz="2000" dirty="0">
              <a:solidFill>
                <a:schemeClr val="tx1"/>
              </a:solidFill>
              <a:sym typeface="CorpoS" pitchFamily="2" charset="0"/>
            </a:endParaRPr>
          </a:p>
        </p:txBody>
      </p:sp>
      <p:sp>
        <p:nvSpPr>
          <p:cNvPr id="7" name="Rechteck 12">
            <a:extLst>
              <a:ext uri="{FF2B5EF4-FFF2-40B4-BE49-F238E27FC236}">
                <a16:creationId xmlns:a16="http://schemas.microsoft.com/office/drawing/2014/main" id="{B247BD26-CC3F-4252-A978-DB140B45A001}"/>
              </a:ext>
            </a:extLst>
          </p:cNvPr>
          <p:cNvSpPr/>
          <p:nvPr/>
        </p:nvSpPr>
        <p:spPr bwMode="gray">
          <a:xfrm>
            <a:off x="628650" y="549275"/>
            <a:ext cx="357372" cy="562201"/>
          </a:xfrm>
          <a:prstGeom prst="rect">
            <a:avLst/>
          </a:prstGeom>
          <a:solidFill>
            <a:sysClr val="windowText" lastClr="000000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marL="0" marR="0" lvl="0" indent="0" algn="ctr" defTabSz="801688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36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1</a:t>
            </a:r>
            <a:endParaRPr kumimoji="0" lang="en-US" sz="36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629999" y="1433960"/>
            <a:ext cx="7828201" cy="879750"/>
          </a:xfrm>
          <a:prstGeom prst="rect">
            <a:avLst/>
          </a:prstGeom>
          <a:noFill/>
          <a:ln w="15875" cap="flat" cmpd="sng" algn="ctr">
            <a:solidFill>
              <a:srgbClr val="C8C8C8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E9E9E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18000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1">
              <a:buClr>
                <a:srgbClr val="000000"/>
              </a:buClr>
              <a:buSzPct val="100000"/>
            </a:pPr>
            <a:r>
              <a:rPr lang="ja-JP" altLang="en-US" sz="1400" noProof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■</a:t>
            </a:r>
            <a:r>
              <a:rPr lang="ja-JP" altLang="en-US" sz="1400" noProof="1" smtClea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 役割が「支店アシスタントスタッフ」場合、拠点の全業務スタッフとしての処理が可能。</a:t>
            </a:r>
            <a:endParaRPr lang="en-US" altLang="ja-JP" sz="1400" noProof="1" smtClean="0">
              <a:solidFill>
                <a:srgbClr val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marL="0" lvl="1">
              <a:buClr>
                <a:srgbClr val="000000"/>
              </a:buClr>
              <a:buSzPct val="100000"/>
            </a:pPr>
            <a:r>
              <a:rPr lang="ja-JP" altLang="en-US" sz="1400" noProof="1" smtClea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■ 承認が必要な場合、各業務担当マネージャに承認依頼が提出される。</a:t>
            </a:r>
            <a:endParaRPr lang="en-US" altLang="ja-JP" sz="1400" noProof="1" smtClean="0">
              <a:solidFill>
                <a:srgbClr val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18" name="Rectangle 10"/>
          <p:cNvSpPr/>
          <p:nvPr/>
        </p:nvSpPr>
        <p:spPr>
          <a:xfrm>
            <a:off x="629999" y="2584114"/>
            <a:ext cx="7828201" cy="3744538"/>
          </a:xfrm>
          <a:prstGeom prst="rect">
            <a:avLst/>
          </a:prstGeom>
          <a:noFill/>
          <a:ln w="15875" cap="flat" cmpd="sng" algn="ctr">
            <a:solidFill>
              <a:srgbClr val="C8C8C8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E9E9E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noProof="1"/>
          </a:p>
        </p:txBody>
      </p:sp>
      <p:sp>
        <p:nvSpPr>
          <p:cNvPr id="19" name="Rectangle 77"/>
          <p:cNvSpPr/>
          <p:nvPr/>
        </p:nvSpPr>
        <p:spPr>
          <a:xfrm>
            <a:off x="792369" y="2444750"/>
            <a:ext cx="925595" cy="289205"/>
          </a:xfrm>
          <a:prstGeom prst="rect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FFFFFF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ja-JP" altLang="en-US" sz="1600" i="1" noProof="1" smtClean="0">
                <a:solidFill>
                  <a:schemeClr val="folHlin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詳細</a:t>
            </a:r>
            <a:endParaRPr lang="ja-JP" altLang="en-US" sz="1600" i="1" noProof="1">
              <a:solidFill>
                <a:schemeClr val="folHlink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20" name="Rectangle 57"/>
          <p:cNvSpPr/>
          <p:nvPr/>
        </p:nvSpPr>
        <p:spPr>
          <a:xfrm>
            <a:off x="792370" y="1337293"/>
            <a:ext cx="729000" cy="169754"/>
          </a:xfrm>
          <a:prstGeom prst="rect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FFFFFF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ja-JP" altLang="en-US" sz="1600" i="1" noProof="1" smtClean="0">
                <a:solidFill>
                  <a:schemeClr val="folHlin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概要</a:t>
            </a:r>
            <a:endParaRPr lang="ja-JP" altLang="en-US" sz="1600" i="1" noProof="1">
              <a:solidFill>
                <a:schemeClr val="folHlink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21" name="Pentagon 39"/>
          <p:cNvSpPr/>
          <p:nvPr/>
        </p:nvSpPr>
        <p:spPr>
          <a:xfrm>
            <a:off x="882860" y="5753896"/>
            <a:ext cx="3877774" cy="539193"/>
          </a:xfrm>
          <a:prstGeom prst="homePlate">
            <a:avLst>
              <a:gd name="adj" fmla="val 20648"/>
            </a:avLst>
          </a:prstGeom>
          <a:solidFill>
            <a:schemeClr val="accent2"/>
          </a:solidFill>
          <a:ln>
            <a:solidFill>
              <a:srgbClr val="0067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ja-JP" altLang="en-US" sz="1400" dirty="0" smtClean="0">
                <a:solidFill>
                  <a:prstClr val="white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業務処理・承認依頼</a:t>
            </a:r>
            <a:endParaRPr lang="en-US" altLang="ja-JP" sz="1400" dirty="0">
              <a:solidFill>
                <a:prstClr val="white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22" name="Chevron 40"/>
          <p:cNvSpPr/>
          <p:nvPr/>
        </p:nvSpPr>
        <p:spPr>
          <a:xfrm>
            <a:off x="6705600" y="5753896"/>
            <a:ext cx="1647826" cy="539193"/>
          </a:xfrm>
          <a:prstGeom prst="chevron">
            <a:avLst>
              <a:gd name="adj" fmla="val 23020"/>
            </a:avLst>
          </a:prstGeom>
          <a:solidFill>
            <a:schemeClr val="accent2"/>
          </a:solidFill>
          <a:ln>
            <a:solidFill>
              <a:srgbClr val="0067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ja-JP" altLang="en-US" sz="1400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次処理へ</a:t>
            </a:r>
            <a:endParaRPr lang="ja-JP" altLang="en-US" sz="1400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3" name="Chevron 40"/>
          <p:cNvSpPr/>
          <p:nvPr/>
        </p:nvSpPr>
        <p:spPr>
          <a:xfrm>
            <a:off x="4760634" y="5753896"/>
            <a:ext cx="1912029" cy="539193"/>
          </a:xfrm>
          <a:prstGeom prst="chevron">
            <a:avLst>
              <a:gd name="adj" fmla="val 23020"/>
            </a:avLst>
          </a:prstGeom>
          <a:solidFill>
            <a:schemeClr val="accent2"/>
          </a:solidFill>
          <a:ln>
            <a:solidFill>
              <a:srgbClr val="0067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ja-JP" altLang="en-US" sz="1400" dirty="0" smtClean="0">
                <a:solidFill>
                  <a:prstClr val="white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確認・承認</a:t>
            </a:r>
            <a:endParaRPr lang="ja-JP" altLang="en-US" sz="1400" dirty="0">
              <a:solidFill>
                <a:prstClr val="white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24" name="Oval invers 1"/>
          <p:cNvSpPr>
            <a:spLocks noChangeArrowheads="1"/>
          </p:cNvSpPr>
          <p:nvPr/>
        </p:nvSpPr>
        <p:spPr bwMode="gray">
          <a:xfrm>
            <a:off x="842591" y="5616105"/>
            <a:ext cx="295275" cy="295275"/>
          </a:xfrm>
          <a:prstGeom prst="ellipse">
            <a:avLst/>
          </a:prstGeom>
          <a:solidFill>
            <a:srgbClr val="FFFFFF"/>
          </a:solidFill>
          <a:ln w="15875" algn="ctr">
            <a:solidFill>
              <a:srgbClr val="00677F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1600" dirty="0" smtClean="0">
                <a:solidFill>
                  <a:srgbClr val="00677F"/>
                </a:solidFill>
              </a:rPr>
              <a:t>1</a:t>
            </a:r>
            <a:endParaRPr lang="en-US" sz="1600" dirty="0">
              <a:solidFill>
                <a:srgbClr val="00677F"/>
              </a:solidFill>
            </a:endParaRPr>
          </a:p>
        </p:txBody>
      </p:sp>
      <p:sp>
        <p:nvSpPr>
          <p:cNvPr id="25" name="Oval invers 1"/>
          <p:cNvSpPr>
            <a:spLocks noChangeArrowheads="1"/>
          </p:cNvSpPr>
          <p:nvPr/>
        </p:nvSpPr>
        <p:spPr bwMode="gray">
          <a:xfrm>
            <a:off x="6794523" y="5616105"/>
            <a:ext cx="295275" cy="295275"/>
          </a:xfrm>
          <a:prstGeom prst="ellipse">
            <a:avLst/>
          </a:prstGeom>
          <a:solidFill>
            <a:srgbClr val="FFFFFF"/>
          </a:solidFill>
          <a:ln w="15875" algn="ctr">
            <a:solidFill>
              <a:srgbClr val="00677F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1600" dirty="0" smtClean="0">
                <a:solidFill>
                  <a:srgbClr val="00677F"/>
                </a:solidFill>
              </a:rPr>
              <a:t>3</a:t>
            </a:r>
            <a:endParaRPr lang="en-US" sz="1600" dirty="0">
              <a:solidFill>
                <a:srgbClr val="00677F"/>
              </a:solidFill>
            </a:endParaRPr>
          </a:p>
        </p:txBody>
      </p:sp>
      <p:sp>
        <p:nvSpPr>
          <p:cNvPr id="26" name="Oval invers 1"/>
          <p:cNvSpPr>
            <a:spLocks noChangeArrowheads="1"/>
          </p:cNvSpPr>
          <p:nvPr/>
        </p:nvSpPr>
        <p:spPr bwMode="gray">
          <a:xfrm>
            <a:off x="4823445" y="5616105"/>
            <a:ext cx="295275" cy="295275"/>
          </a:xfrm>
          <a:prstGeom prst="ellipse">
            <a:avLst/>
          </a:prstGeom>
          <a:solidFill>
            <a:srgbClr val="FFFFFF"/>
          </a:solidFill>
          <a:ln w="15875" algn="ctr">
            <a:solidFill>
              <a:srgbClr val="00677F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1600" dirty="0" smtClean="0">
                <a:solidFill>
                  <a:srgbClr val="00677F"/>
                </a:solidFill>
              </a:rPr>
              <a:t>2</a:t>
            </a:r>
            <a:endParaRPr lang="en-US" sz="1600" dirty="0">
              <a:solidFill>
                <a:srgbClr val="00677F"/>
              </a:solidFill>
            </a:endParaRPr>
          </a:p>
        </p:txBody>
      </p:sp>
      <p:grpSp>
        <p:nvGrpSpPr>
          <p:cNvPr id="27" name="Group 112"/>
          <p:cNvGrpSpPr>
            <a:grpSpLocks noChangeAspect="1"/>
          </p:cNvGrpSpPr>
          <p:nvPr/>
        </p:nvGrpSpPr>
        <p:grpSpPr>
          <a:xfrm>
            <a:off x="2208135" y="3851314"/>
            <a:ext cx="635336" cy="635336"/>
            <a:chOff x="1563866" y="3369910"/>
            <a:chExt cx="994581" cy="994581"/>
          </a:xfrm>
        </p:grpSpPr>
        <p:grpSp>
          <p:nvGrpSpPr>
            <p:cNvPr id="28" name="Group 131"/>
            <p:cNvGrpSpPr>
              <a:grpSpLocks noChangeAspect="1"/>
            </p:cNvGrpSpPr>
            <p:nvPr/>
          </p:nvGrpSpPr>
          <p:grpSpPr bwMode="gray">
            <a:xfrm>
              <a:off x="1563866" y="3369910"/>
              <a:ext cx="994581" cy="994581"/>
              <a:chOff x="4814888" y="1222375"/>
              <a:chExt cx="828675" cy="828675"/>
            </a:xfrm>
          </p:grpSpPr>
          <p:sp>
            <p:nvSpPr>
              <p:cNvPr id="30" name="AutoShape 13"/>
              <p:cNvSpPr>
                <a:spLocks noChangeAspect="1" noChangeArrowheads="1" noTextEdit="1"/>
              </p:cNvSpPr>
              <p:nvPr/>
            </p:nvSpPr>
            <p:spPr bwMode="gray">
              <a:xfrm>
                <a:off x="4814888" y="1222375"/>
                <a:ext cx="828675" cy="8286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1" name="Freeform 15"/>
              <p:cNvSpPr>
                <a:spLocks/>
              </p:cNvSpPr>
              <p:nvPr/>
            </p:nvSpPr>
            <p:spPr bwMode="gray">
              <a:xfrm>
                <a:off x="4956176" y="1600200"/>
                <a:ext cx="250825" cy="339725"/>
              </a:xfrm>
              <a:custGeom>
                <a:avLst/>
                <a:gdLst>
                  <a:gd name="T0" fmla="*/ 183 w 439"/>
                  <a:gd name="T1" fmla="*/ 290 h 580"/>
                  <a:gd name="T2" fmla="*/ 214 w 439"/>
                  <a:gd name="T3" fmla="*/ 259 h 580"/>
                  <a:gd name="T4" fmla="*/ 439 w 439"/>
                  <a:gd name="T5" fmla="*/ 259 h 580"/>
                  <a:gd name="T6" fmla="*/ 295 w 439"/>
                  <a:gd name="T7" fmla="*/ 0 h 580"/>
                  <a:gd name="T8" fmla="*/ 189 w 439"/>
                  <a:gd name="T9" fmla="*/ 22 h 580"/>
                  <a:gd name="T10" fmla="*/ 132 w 439"/>
                  <a:gd name="T11" fmla="*/ 76 h 580"/>
                  <a:gd name="T12" fmla="*/ 6 w 439"/>
                  <a:gd name="T13" fmla="*/ 486 h 580"/>
                  <a:gd name="T14" fmla="*/ 19 w 439"/>
                  <a:gd name="T15" fmla="*/ 551 h 580"/>
                  <a:gd name="T16" fmla="*/ 78 w 439"/>
                  <a:gd name="T17" fmla="*/ 580 h 580"/>
                  <a:gd name="T18" fmla="*/ 184 w 439"/>
                  <a:gd name="T19" fmla="*/ 580 h 580"/>
                  <a:gd name="T20" fmla="*/ 183 w 439"/>
                  <a:gd name="T21" fmla="*/ 290 h 580"/>
                  <a:gd name="T22" fmla="*/ 183 w 439"/>
                  <a:gd name="T23" fmla="*/ 290 h 5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39" h="580">
                    <a:moveTo>
                      <a:pt x="183" y="290"/>
                    </a:moveTo>
                    <a:lnTo>
                      <a:pt x="214" y="259"/>
                    </a:lnTo>
                    <a:lnTo>
                      <a:pt x="439" y="259"/>
                    </a:lnTo>
                    <a:lnTo>
                      <a:pt x="295" y="0"/>
                    </a:lnTo>
                    <a:lnTo>
                      <a:pt x="189" y="22"/>
                    </a:lnTo>
                    <a:cubicBezTo>
                      <a:pt x="162" y="27"/>
                      <a:pt x="140" y="48"/>
                      <a:pt x="132" y="76"/>
                    </a:cubicBezTo>
                    <a:lnTo>
                      <a:pt x="6" y="486"/>
                    </a:lnTo>
                    <a:cubicBezTo>
                      <a:pt x="0" y="509"/>
                      <a:pt x="5" y="532"/>
                      <a:pt x="19" y="551"/>
                    </a:cubicBezTo>
                    <a:cubicBezTo>
                      <a:pt x="34" y="569"/>
                      <a:pt x="55" y="580"/>
                      <a:pt x="78" y="580"/>
                    </a:cubicBezTo>
                    <a:lnTo>
                      <a:pt x="184" y="580"/>
                    </a:lnTo>
                    <a:lnTo>
                      <a:pt x="183" y="290"/>
                    </a:lnTo>
                    <a:lnTo>
                      <a:pt x="183" y="290"/>
                    </a:lnTo>
                    <a:close/>
                  </a:path>
                </a:pathLst>
              </a:custGeom>
              <a:solidFill>
                <a:srgbClr val="4D4D4D"/>
              </a:solidFill>
              <a:ln w="0">
                <a:noFill/>
                <a:prstDash val="solid"/>
                <a:round/>
                <a:headEnd/>
                <a:tailEnd/>
              </a:ln>
              <a:extLst>
                <a:ext uri="{91240B29-F687-4F45-9708-019B960494DF}">
                  <a14:hiddenLine xmlns:a14="http://schemas.microsoft.com/office/drawing/2010/main"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2" name="Freeform 16"/>
              <p:cNvSpPr>
                <a:spLocks/>
              </p:cNvSpPr>
              <p:nvPr/>
            </p:nvSpPr>
            <p:spPr bwMode="gray">
              <a:xfrm>
                <a:off x="5229226" y="1600200"/>
                <a:ext cx="252413" cy="339725"/>
              </a:xfrm>
              <a:custGeom>
                <a:avLst/>
                <a:gdLst>
                  <a:gd name="T0" fmla="*/ 433 w 439"/>
                  <a:gd name="T1" fmla="*/ 485 h 579"/>
                  <a:gd name="T2" fmla="*/ 307 w 439"/>
                  <a:gd name="T3" fmla="*/ 75 h 579"/>
                  <a:gd name="T4" fmla="*/ 249 w 439"/>
                  <a:gd name="T5" fmla="*/ 20 h 579"/>
                  <a:gd name="T6" fmla="*/ 143 w 439"/>
                  <a:gd name="T7" fmla="*/ 0 h 579"/>
                  <a:gd name="T8" fmla="*/ 0 w 439"/>
                  <a:gd name="T9" fmla="*/ 258 h 579"/>
                  <a:gd name="T10" fmla="*/ 242 w 439"/>
                  <a:gd name="T11" fmla="*/ 258 h 579"/>
                  <a:gd name="T12" fmla="*/ 273 w 439"/>
                  <a:gd name="T13" fmla="*/ 289 h 579"/>
                  <a:gd name="T14" fmla="*/ 273 w 439"/>
                  <a:gd name="T15" fmla="*/ 579 h 579"/>
                  <a:gd name="T16" fmla="*/ 361 w 439"/>
                  <a:gd name="T17" fmla="*/ 579 h 579"/>
                  <a:gd name="T18" fmla="*/ 420 w 439"/>
                  <a:gd name="T19" fmla="*/ 550 h 579"/>
                  <a:gd name="T20" fmla="*/ 433 w 439"/>
                  <a:gd name="T21" fmla="*/ 485 h 5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39" h="579">
                    <a:moveTo>
                      <a:pt x="433" y="485"/>
                    </a:moveTo>
                    <a:lnTo>
                      <a:pt x="307" y="75"/>
                    </a:lnTo>
                    <a:cubicBezTo>
                      <a:pt x="299" y="47"/>
                      <a:pt x="277" y="26"/>
                      <a:pt x="249" y="20"/>
                    </a:cubicBezTo>
                    <a:lnTo>
                      <a:pt x="143" y="0"/>
                    </a:lnTo>
                    <a:lnTo>
                      <a:pt x="0" y="258"/>
                    </a:lnTo>
                    <a:lnTo>
                      <a:pt x="242" y="258"/>
                    </a:lnTo>
                    <a:lnTo>
                      <a:pt x="273" y="289"/>
                    </a:lnTo>
                    <a:lnTo>
                      <a:pt x="273" y="579"/>
                    </a:lnTo>
                    <a:lnTo>
                      <a:pt x="361" y="579"/>
                    </a:lnTo>
                    <a:cubicBezTo>
                      <a:pt x="384" y="579"/>
                      <a:pt x="406" y="568"/>
                      <a:pt x="420" y="550"/>
                    </a:cubicBezTo>
                    <a:cubicBezTo>
                      <a:pt x="434" y="531"/>
                      <a:pt x="439" y="508"/>
                      <a:pt x="433" y="485"/>
                    </a:cubicBezTo>
                    <a:close/>
                  </a:path>
                </a:pathLst>
              </a:custGeom>
              <a:solidFill>
                <a:srgbClr val="4D4D4D"/>
              </a:solidFill>
              <a:ln w="0">
                <a:noFill/>
                <a:prstDash val="solid"/>
                <a:round/>
                <a:headEnd/>
                <a:tailEnd/>
              </a:ln>
              <a:extLst>
                <a:ext uri="{91240B29-F687-4F45-9708-019B960494DF}">
                  <a14:hiddenLine xmlns:a14="http://schemas.microsoft.com/office/drawing/2010/main"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3" name="Freeform 17"/>
              <p:cNvSpPr>
                <a:spLocks/>
              </p:cNvSpPr>
              <p:nvPr/>
            </p:nvSpPr>
            <p:spPr bwMode="gray">
              <a:xfrm>
                <a:off x="5091113" y="1787525"/>
                <a:ext cx="258763" cy="152400"/>
              </a:xfrm>
              <a:custGeom>
                <a:avLst/>
                <a:gdLst>
                  <a:gd name="T0" fmla="*/ 0 w 163"/>
                  <a:gd name="T1" fmla="*/ 96 h 96"/>
                  <a:gd name="T2" fmla="*/ 160 w 163"/>
                  <a:gd name="T3" fmla="*/ 96 h 96"/>
                  <a:gd name="T4" fmla="*/ 160 w 163"/>
                  <a:gd name="T5" fmla="*/ 96 h 96"/>
                  <a:gd name="T6" fmla="*/ 163 w 163"/>
                  <a:gd name="T7" fmla="*/ 96 h 96"/>
                  <a:gd name="T8" fmla="*/ 163 w 163"/>
                  <a:gd name="T9" fmla="*/ 0 h 96"/>
                  <a:gd name="T10" fmla="*/ 3 w 163"/>
                  <a:gd name="T11" fmla="*/ 0 h 96"/>
                  <a:gd name="T12" fmla="*/ 3 w 163"/>
                  <a:gd name="T13" fmla="*/ 96 h 96"/>
                  <a:gd name="T14" fmla="*/ 0 w 163"/>
                  <a:gd name="T15" fmla="*/ 96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3" h="96">
                    <a:moveTo>
                      <a:pt x="0" y="96"/>
                    </a:moveTo>
                    <a:lnTo>
                      <a:pt x="160" y="96"/>
                    </a:lnTo>
                    <a:lnTo>
                      <a:pt x="160" y="96"/>
                    </a:lnTo>
                    <a:lnTo>
                      <a:pt x="163" y="96"/>
                    </a:lnTo>
                    <a:lnTo>
                      <a:pt x="163" y="0"/>
                    </a:lnTo>
                    <a:lnTo>
                      <a:pt x="3" y="0"/>
                    </a:lnTo>
                    <a:lnTo>
                      <a:pt x="3" y="96"/>
                    </a:lnTo>
                    <a:lnTo>
                      <a:pt x="0" y="96"/>
                    </a:ln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4" name="Rectangle 18"/>
              <p:cNvSpPr>
                <a:spLocks noChangeArrowheads="1"/>
              </p:cNvSpPr>
              <p:nvPr/>
            </p:nvSpPr>
            <p:spPr bwMode="gray">
              <a:xfrm>
                <a:off x="5026026" y="1955800"/>
                <a:ext cx="385763" cy="31750"/>
              </a:xfrm>
              <a:prstGeom prst="rect">
                <a:avLst/>
              </a:prstGeom>
              <a:solidFill>
                <a:srgbClr val="4D4D4D"/>
              </a:solidFill>
              <a:ln w="0">
                <a:noFill/>
                <a:prstDash val="solid"/>
                <a:miter lim="800000"/>
                <a:headEnd/>
                <a:tailEnd/>
              </a:ln>
              <a:extLst>
                <a:ext uri="{91240B29-F687-4F45-9708-019B960494DF}">
                  <a14:hiddenLine xmlns:a14="http://schemas.microsoft.com/office/drawing/2010/main" w="0">
                    <a:solidFill>
                      <a:srgbClr val="000000"/>
                    </a:solidFill>
                    <a:prstDash val="solid"/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5" name="Freeform 19"/>
              <p:cNvSpPr>
                <a:spLocks noEditPoints="1"/>
              </p:cNvSpPr>
              <p:nvPr/>
            </p:nvSpPr>
            <p:spPr bwMode="gray">
              <a:xfrm>
                <a:off x="5073651" y="1284288"/>
                <a:ext cx="287338" cy="346075"/>
              </a:xfrm>
              <a:custGeom>
                <a:avLst/>
                <a:gdLst>
                  <a:gd name="T0" fmla="*/ 13 w 501"/>
                  <a:gd name="T1" fmla="*/ 358 h 591"/>
                  <a:gd name="T2" fmla="*/ 17 w 501"/>
                  <a:gd name="T3" fmla="*/ 368 h 591"/>
                  <a:gd name="T4" fmla="*/ 37 w 501"/>
                  <a:gd name="T5" fmla="*/ 402 h 591"/>
                  <a:gd name="T6" fmla="*/ 252 w 501"/>
                  <a:gd name="T7" fmla="*/ 590 h 591"/>
                  <a:gd name="T8" fmla="*/ 465 w 501"/>
                  <a:gd name="T9" fmla="*/ 401 h 591"/>
                  <a:gd name="T10" fmla="*/ 484 w 501"/>
                  <a:gd name="T11" fmla="*/ 366 h 591"/>
                  <a:gd name="T12" fmla="*/ 488 w 501"/>
                  <a:gd name="T13" fmla="*/ 356 h 591"/>
                  <a:gd name="T14" fmla="*/ 479 w 501"/>
                  <a:gd name="T15" fmla="*/ 288 h 591"/>
                  <a:gd name="T16" fmla="*/ 479 w 501"/>
                  <a:gd name="T17" fmla="*/ 286 h 591"/>
                  <a:gd name="T18" fmla="*/ 250 w 501"/>
                  <a:gd name="T19" fmla="*/ 1 h 591"/>
                  <a:gd name="T20" fmla="*/ 22 w 501"/>
                  <a:gd name="T21" fmla="*/ 287 h 591"/>
                  <a:gd name="T22" fmla="*/ 22 w 501"/>
                  <a:gd name="T23" fmla="*/ 290 h 591"/>
                  <a:gd name="T24" fmla="*/ 13 w 501"/>
                  <a:gd name="T25" fmla="*/ 358 h 591"/>
                  <a:gd name="T26" fmla="*/ 43 w 501"/>
                  <a:gd name="T27" fmla="*/ 313 h 591"/>
                  <a:gd name="T28" fmla="*/ 43 w 501"/>
                  <a:gd name="T29" fmla="*/ 313 h 591"/>
                  <a:gd name="T30" fmla="*/ 51 w 501"/>
                  <a:gd name="T31" fmla="*/ 306 h 591"/>
                  <a:gd name="T32" fmla="*/ 88 w 501"/>
                  <a:gd name="T33" fmla="*/ 312 h 591"/>
                  <a:gd name="T34" fmla="*/ 96 w 501"/>
                  <a:gd name="T35" fmla="*/ 307 h 591"/>
                  <a:gd name="T36" fmla="*/ 119 w 501"/>
                  <a:gd name="T37" fmla="*/ 254 h 591"/>
                  <a:gd name="T38" fmla="*/ 323 w 501"/>
                  <a:gd name="T39" fmla="*/ 282 h 591"/>
                  <a:gd name="T40" fmla="*/ 382 w 501"/>
                  <a:gd name="T41" fmla="*/ 275 h 591"/>
                  <a:gd name="T42" fmla="*/ 397 w 501"/>
                  <a:gd name="T43" fmla="*/ 311 h 591"/>
                  <a:gd name="T44" fmla="*/ 404 w 501"/>
                  <a:gd name="T45" fmla="*/ 316 h 591"/>
                  <a:gd name="T46" fmla="*/ 406 w 501"/>
                  <a:gd name="T47" fmla="*/ 315 h 591"/>
                  <a:gd name="T48" fmla="*/ 449 w 501"/>
                  <a:gd name="T49" fmla="*/ 303 h 591"/>
                  <a:gd name="T50" fmla="*/ 458 w 501"/>
                  <a:gd name="T51" fmla="*/ 312 h 591"/>
                  <a:gd name="T52" fmla="*/ 459 w 501"/>
                  <a:gd name="T53" fmla="*/ 312 h 591"/>
                  <a:gd name="T54" fmla="*/ 460 w 501"/>
                  <a:gd name="T55" fmla="*/ 343 h 591"/>
                  <a:gd name="T56" fmla="*/ 455 w 501"/>
                  <a:gd name="T57" fmla="*/ 355 h 591"/>
                  <a:gd name="T58" fmla="*/ 444 w 501"/>
                  <a:gd name="T59" fmla="*/ 378 h 591"/>
                  <a:gd name="T60" fmla="*/ 437 w 501"/>
                  <a:gd name="T61" fmla="*/ 387 h 591"/>
                  <a:gd name="T62" fmla="*/ 252 w 501"/>
                  <a:gd name="T63" fmla="*/ 559 h 591"/>
                  <a:gd name="T64" fmla="*/ 65 w 501"/>
                  <a:gd name="T65" fmla="*/ 388 h 591"/>
                  <a:gd name="T66" fmla="*/ 58 w 501"/>
                  <a:gd name="T67" fmla="*/ 379 h 591"/>
                  <a:gd name="T68" fmla="*/ 46 w 501"/>
                  <a:gd name="T69" fmla="*/ 356 h 591"/>
                  <a:gd name="T70" fmla="*/ 41 w 501"/>
                  <a:gd name="T71" fmla="*/ 344 h 591"/>
                  <a:gd name="T72" fmla="*/ 43 w 501"/>
                  <a:gd name="T73" fmla="*/ 313 h 5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501" h="591">
                    <a:moveTo>
                      <a:pt x="13" y="358"/>
                    </a:moveTo>
                    <a:cubicBezTo>
                      <a:pt x="14" y="360"/>
                      <a:pt x="16" y="364"/>
                      <a:pt x="17" y="368"/>
                    </a:cubicBezTo>
                    <a:cubicBezTo>
                      <a:pt x="24" y="384"/>
                      <a:pt x="29" y="395"/>
                      <a:pt x="37" y="402"/>
                    </a:cubicBezTo>
                    <a:cubicBezTo>
                      <a:pt x="71" y="513"/>
                      <a:pt x="159" y="591"/>
                      <a:pt x="252" y="590"/>
                    </a:cubicBezTo>
                    <a:cubicBezTo>
                      <a:pt x="346" y="590"/>
                      <a:pt x="433" y="512"/>
                      <a:pt x="465" y="401"/>
                    </a:cubicBezTo>
                    <a:cubicBezTo>
                      <a:pt x="473" y="394"/>
                      <a:pt x="478" y="382"/>
                      <a:pt x="484" y="366"/>
                    </a:cubicBezTo>
                    <a:cubicBezTo>
                      <a:pt x="486" y="362"/>
                      <a:pt x="487" y="359"/>
                      <a:pt x="488" y="356"/>
                    </a:cubicBezTo>
                    <a:cubicBezTo>
                      <a:pt x="501" y="330"/>
                      <a:pt x="497" y="302"/>
                      <a:pt x="479" y="288"/>
                    </a:cubicBezTo>
                    <a:lnTo>
                      <a:pt x="479" y="286"/>
                    </a:lnTo>
                    <a:cubicBezTo>
                      <a:pt x="479" y="147"/>
                      <a:pt x="460" y="0"/>
                      <a:pt x="250" y="1"/>
                    </a:cubicBezTo>
                    <a:cubicBezTo>
                      <a:pt x="39" y="1"/>
                      <a:pt x="21" y="143"/>
                      <a:pt x="22" y="287"/>
                    </a:cubicBezTo>
                    <a:cubicBezTo>
                      <a:pt x="22" y="288"/>
                      <a:pt x="22" y="289"/>
                      <a:pt x="22" y="290"/>
                    </a:cubicBezTo>
                    <a:cubicBezTo>
                      <a:pt x="4" y="304"/>
                      <a:pt x="0" y="332"/>
                      <a:pt x="13" y="358"/>
                    </a:cubicBezTo>
                    <a:close/>
                    <a:moveTo>
                      <a:pt x="43" y="313"/>
                    </a:moveTo>
                    <a:lnTo>
                      <a:pt x="43" y="313"/>
                    </a:lnTo>
                    <a:cubicBezTo>
                      <a:pt x="47" y="312"/>
                      <a:pt x="49" y="309"/>
                      <a:pt x="51" y="306"/>
                    </a:cubicBezTo>
                    <a:lnTo>
                      <a:pt x="88" y="312"/>
                    </a:lnTo>
                    <a:cubicBezTo>
                      <a:pt x="91" y="312"/>
                      <a:pt x="95" y="311"/>
                      <a:pt x="96" y="307"/>
                    </a:cubicBezTo>
                    <a:lnTo>
                      <a:pt x="119" y="254"/>
                    </a:lnTo>
                    <a:cubicBezTo>
                      <a:pt x="146" y="260"/>
                      <a:pt x="245" y="283"/>
                      <a:pt x="323" y="282"/>
                    </a:cubicBezTo>
                    <a:cubicBezTo>
                      <a:pt x="347" y="282"/>
                      <a:pt x="367" y="280"/>
                      <a:pt x="382" y="275"/>
                    </a:cubicBezTo>
                    <a:lnTo>
                      <a:pt x="397" y="311"/>
                    </a:lnTo>
                    <a:cubicBezTo>
                      <a:pt x="398" y="314"/>
                      <a:pt x="401" y="316"/>
                      <a:pt x="404" y="316"/>
                    </a:cubicBezTo>
                    <a:cubicBezTo>
                      <a:pt x="405" y="316"/>
                      <a:pt x="406" y="315"/>
                      <a:pt x="406" y="315"/>
                    </a:cubicBezTo>
                    <a:lnTo>
                      <a:pt x="449" y="303"/>
                    </a:lnTo>
                    <a:cubicBezTo>
                      <a:pt x="451" y="307"/>
                      <a:pt x="454" y="310"/>
                      <a:pt x="458" y="312"/>
                    </a:cubicBezTo>
                    <a:lnTo>
                      <a:pt x="459" y="312"/>
                    </a:lnTo>
                    <a:cubicBezTo>
                      <a:pt x="465" y="315"/>
                      <a:pt x="467" y="329"/>
                      <a:pt x="460" y="343"/>
                    </a:cubicBezTo>
                    <a:cubicBezTo>
                      <a:pt x="459" y="346"/>
                      <a:pt x="457" y="350"/>
                      <a:pt x="455" y="355"/>
                    </a:cubicBezTo>
                    <a:cubicBezTo>
                      <a:pt x="453" y="361"/>
                      <a:pt x="447" y="374"/>
                      <a:pt x="444" y="378"/>
                    </a:cubicBezTo>
                    <a:cubicBezTo>
                      <a:pt x="440" y="380"/>
                      <a:pt x="438" y="383"/>
                      <a:pt x="437" y="387"/>
                    </a:cubicBezTo>
                    <a:cubicBezTo>
                      <a:pt x="409" y="488"/>
                      <a:pt x="333" y="559"/>
                      <a:pt x="252" y="559"/>
                    </a:cubicBezTo>
                    <a:cubicBezTo>
                      <a:pt x="171" y="559"/>
                      <a:pt x="94" y="489"/>
                      <a:pt x="65" y="388"/>
                    </a:cubicBezTo>
                    <a:cubicBezTo>
                      <a:pt x="64" y="384"/>
                      <a:pt x="61" y="381"/>
                      <a:pt x="58" y="379"/>
                    </a:cubicBezTo>
                    <a:cubicBezTo>
                      <a:pt x="54" y="376"/>
                      <a:pt x="49" y="362"/>
                      <a:pt x="46" y="356"/>
                    </a:cubicBezTo>
                    <a:cubicBezTo>
                      <a:pt x="44" y="351"/>
                      <a:pt x="43" y="347"/>
                      <a:pt x="41" y="344"/>
                    </a:cubicBezTo>
                    <a:cubicBezTo>
                      <a:pt x="34" y="330"/>
                      <a:pt x="36" y="316"/>
                      <a:pt x="43" y="313"/>
                    </a:cubicBezTo>
                    <a:close/>
                  </a:path>
                </a:pathLst>
              </a:custGeom>
              <a:solidFill>
                <a:srgbClr val="4D4D4D"/>
              </a:solidFill>
              <a:ln w="0">
                <a:noFill/>
                <a:prstDash val="solid"/>
                <a:round/>
                <a:headEnd/>
                <a:tailEnd/>
              </a:ln>
              <a:extLst>
                <a:ext uri="{91240B29-F687-4F45-9708-019B960494DF}">
                  <a14:hiddenLine xmlns:a14="http://schemas.microsoft.com/office/drawing/2010/main"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pic>
          <p:nvPicPr>
            <p:cNvPr id="29" name="Picture 3" descr="C:\Users\rajarrv\AppData\Local\Microsoft\Windows\Temporary Internet Files\Content.Outlook\3CY2KM7L\B-No Background FORCE LOGO.png"/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919134" y="4095401"/>
              <a:ext cx="276515" cy="7896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6" name="TextBox 96"/>
          <p:cNvSpPr txBox="1"/>
          <p:nvPr/>
        </p:nvSpPr>
        <p:spPr bwMode="auto">
          <a:xfrm>
            <a:off x="2007145" y="3629255"/>
            <a:ext cx="969483" cy="182072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2"/>
            </a:solidFill>
            <a:prstDash val="sysDot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lvl="0" fontAlgn="base">
              <a:defRPr sz="1600">
                <a:solidFill>
                  <a:srgbClr val="000000"/>
                </a:solidFill>
                <a:latin typeface="CorpoS" pitchFamily="2" charset="0"/>
              </a:defRPr>
            </a:lvl1pPr>
          </a:lstStyle>
          <a:p>
            <a:pPr algn="ctr"/>
            <a:r>
              <a:rPr lang="ja-JP" altLang="en-US" sz="1200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新車業務</a:t>
            </a:r>
            <a:endParaRPr lang="en-US" sz="1200" dirty="0"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grpSp>
        <p:nvGrpSpPr>
          <p:cNvPr id="37" name="Group 112"/>
          <p:cNvGrpSpPr>
            <a:grpSpLocks noChangeAspect="1"/>
          </p:cNvGrpSpPr>
          <p:nvPr/>
        </p:nvGrpSpPr>
        <p:grpSpPr>
          <a:xfrm>
            <a:off x="5426037" y="3332754"/>
            <a:ext cx="635336" cy="635336"/>
            <a:chOff x="1563866" y="3369910"/>
            <a:chExt cx="994581" cy="994581"/>
          </a:xfrm>
        </p:grpSpPr>
        <p:grpSp>
          <p:nvGrpSpPr>
            <p:cNvPr id="38" name="Group 131"/>
            <p:cNvGrpSpPr>
              <a:grpSpLocks noChangeAspect="1"/>
            </p:cNvGrpSpPr>
            <p:nvPr/>
          </p:nvGrpSpPr>
          <p:grpSpPr bwMode="gray">
            <a:xfrm>
              <a:off x="1563866" y="3369910"/>
              <a:ext cx="994581" cy="994581"/>
              <a:chOff x="4814888" y="1222375"/>
              <a:chExt cx="828675" cy="828675"/>
            </a:xfrm>
          </p:grpSpPr>
          <p:sp>
            <p:nvSpPr>
              <p:cNvPr id="40" name="AutoShape 13"/>
              <p:cNvSpPr>
                <a:spLocks noChangeAspect="1" noChangeArrowheads="1" noTextEdit="1"/>
              </p:cNvSpPr>
              <p:nvPr/>
            </p:nvSpPr>
            <p:spPr bwMode="gray">
              <a:xfrm>
                <a:off x="4814888" y="1222375"/>
                <a:ext cx="828675" cy="8286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2" name="Freeform 15"/>
              <p:cNvSpPr>
                <a:spLocks/>
              </p:cNvSpPr>
              <p:nvPr/>
            </p:nvSpPr>
            <p:spPr bwMode="gray">
              <a:xfrm>
                <a:off x="4956176" y="1600200"/>
                <a:ext cx="250825" cy="339725"/>
              </a:xfrm>
              <a:custGeom>
                <a:avLst/>
                <a:gdLst>
                  <a:gd name="T0" fmla="*/ 183 w 439"/>
                  <a:gd name="T1" fmla="*/ 290 h 580"/>
                  <a:gd name="T2" fmla="*/ 214 w 439"/>
                  <a:gd name="T3" fmla="*/ 259 h 580"/>
                  <a:gd name="T4" fmla="*/ 439 w 439"/>
                  <a:gd name="T5" fmla="*/ 259 h 580"/>
                  <a:gd name="T6" fmla="*/ 295 w 439"/>
                  <a:gd name="T7" fmla="*/ 0 h 580"/>
                  <a:gd name="T8" fmla="*/ 189 w 439"/>
                  <a:gd name="T9" fmla="*/ 22 h 580"/>
                  <a:gd name="T10" fmla="*/ 132 w 439"/>
                  <a:gd name="T11" fmla="*/ 76 h 580"/>
                  <a:gd name="T12" fmla="*/ 6 w 439"/>
                  <a:gd name="T13" fmla="*/ 486 h 580"/>
                  <a:gd name="T14" fmla="*/ 19 w 439"/>
                  <a:gd name="T15" fmla="*/ 551 h 580"/>
                  <a:gd name="T16" fmla="*/ 78 w 439"/>
                  <a:gd name="T17" fmla="*/ 580 h 580"/>
                  <a:gd name="T18" fmla="*/ 184 w 439"/>
                  <a:gd name="T19" fmla="*/ 580 h 580"/>
                  <a:gd name="T20" fmla="*/ 183 w 439"/>
                  <a:gd name="T21" fmla="*/ 290 h 580"/>
                  <a:gd name="T22" fmla="*/ 183 w 439"/>
                  <a:gd name="T23" fmla="*/ 290 h 5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39" h="580">
                    <a:moveTo>
                      <a:pt x="183" y="290"/>
                    </a:moveTo>
                    <a:lnTo>
                      <a:pt x="214" y="259"/>
                    </a:lnTo>
                    <a:lnTo>
                      <a:pt x="439" y="259"/>
                    </a:lnTo>
                    <a:lnTo>
                      <a:pt x="295" y="0"/>
                    </a:lnTo>
                    <a:lnTo>
                      <a:pt x="189" y="22"/>
                    </a:lnTo>
                    <a:cubicBezTo>
                      <a:pt x="162" y="27"/>
                      <a:pt x="140" y="48"/>
                      <a:pt x="132" y="76"/>
                    </a:cubicBezTo>
                    <a:lnTo>
                      <a:pt x="6" y="486"/>
                    </a:lnTo>
                    <a:cubicBezTo>
                      <a:pt x="0" y="509"/>
                      <a:pt x="5" y="532"/>
                      <a:pt x="19" y="551"/>
                    </a:cubicBezTo>
                    <a:cubicBezTo>
                      <a:pt x="34" y="569"/>
                      <a:pt x="55" y="580"/>
                      <a:pt x="78" y="580"/>
                    </a:cubicBezTo>
                    <a:lnTo>
                      <a:pt x="184" y="580"/>
                    </a:lnTo>
                    <a:lnTo>
                      <a:pt x="183" y="290"/>
                    </a:lnTo>
                    <a:lnTo>
                      <a:pt x="183" y="290"/>
                    </a:lnTo>
                    <a:close/>
                  </a:path>
                </a:pathLst>
              </a:custGeom>
              <a:solidFill>
                <a:srgbClr val="4D4D4D"/>
              </a:solidFill>
              <a:ln w="0">
                <a:noFill/>
                <a:prstDash val="solid"/>
                <a:round/>
                <a:headEnd/>
                <a:tailEnd/>
              </a:ln>
              <a:extLst>
                <a:ext uri="{91240B29-F687-4F45-9708-019B960494DF}">
                  <a14:hiddenLine xmlns:a14="http://schemas.microsoft.com/office/drawing/2010/main"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3" name="Freeform 16"/>
              <p:cNvSpPr>
                <a:spLocks/>
              </p:cNvSpPr>
              <p:nvPr/>
            </p:nvSpPr>
            <p:spPr bwMode="gray">
              <a:xfrm>
                <a:off x="5229226" y="1600200"/>
                <a:ext cx="252413" cy="339725"/>
              </a:xfrm>
              <a:custGeom>
                <a:avLst/>
                <a:gdLst>
                  <a:gd name="T0" fmla="*/ 433 w 439"/>
                  <a:gd name="T1" fmla="*/ 485 h 579"/>
                  <a:gd name="T2" fmla="*/ 307 w 439"/>
                  <a:gd name="T3" fmla="*/ 75 h 579"/>
                  <a:gd name="T4" fmla="*/ 249 w 439"/>
                  <a:gd name="T5" fmla="*/ 20 h 579"/>
                  <a:gd name="T6" fmla="*/ 143 w 439"/>
                  <a:gd name="T7" fmla="*/ 0 h 579"/>
                  <a:gd name="T8" fmla="*/ 0 w 439"/>
                  <a:gd name="T9" fmla="*/ 258 h 579"/>
                  <a:gd name="T10" fmla="*/ 242 w 439"/>
                  <a:gd name="T11" fmla="*/ 258 h 579"/>
                  <a:gd name="T12" fmla="*/ 273 w 439"/>
                  <a:gd name="T13" fmla="*/ 289 h 579"/>
                  <a:gd name="T14" fmla="*/ 273 w 439"/>
                  <a:gd name="T15" fmla="*/ 579 h 579"/>
                  <a:gd name="T16" fmla="*/ 361 w 439"/>
                  <a:gd name="T17" fmla="*/ 579 h 579"/>
                  <a:gd name="T18" fmla="*/ 420 w 439"/>
                  <a:gd name="T19" fmla="*/ 550 h 579"/>
                  <a:gd name="T20" fmla="*/ 433 w 439"/>
                  <a:gd name="T21" fmla="*/ 485 h 5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39" h="579">
                    <a:moveTo>
                      <a:pt x="433" y="485"/>
                    </a:moveTo>
                    <a:lnTo>
                      <a:pt x="307" y="75"/>
                    </a:lnTo>
                    <a:cubicBezTo>
                      <a:pt x="299" y="47"/>
                      <a:pt x="277" y="26"/>
                      <a:pt x="249" y="20"/>
                    </a:cubicBezTo>
                    <a:lnTo>
                      <a:pt x="143" y="0"/>
                    </a:lnTo>
                    <a:lnTo>
                      <a:pt x="0" y="258"/>
                    </a:lnTo>
                    <a:lnTo>
                      <a:pt x="242" y="258"/>
                    </a:lnTo>
                    <a:lnTo>
                      <a:pt x="273" y="289"/>
                    </a:lnTo>
                    <a:lnTo>
                      <a:pt x="273" y="579"/>
                    </a:lnTo>
                    <a:lnTo>
                      <a:pt x="361" y="579"/>
                    </a:lnTo>
                    <a:cubicBezTo>
                      <a:pt x="384" y="579"/>
                      <a:pt x="406" y="568"/>
                      <a:pt x="420" y="550"/>
                    </a:cubicBezTo>
                    <a:cubicBezTo>
                      <a:pt x="434" y="531"/>
                      <a:pt x="439" y="508"/>
                      <a:pt x="433" y="485"/>
                    </a:cubicBezTo>
                    <a:close/>
                  </a:path>
                </a:pathLst>
              </a:custGeom>
              <a:solidFill>
                <a:srgbClr val="4D4D4D"/>
              </a:solidFill>
              <a:ln w="0">
                <a:noFill/>
                <a:prstDash val="solid"/>
                <a:round/>
                <a:headEnd/>
                <a:tailEnd/>
              </a:ln>
              <a:extLst>
                <a:ext uri="{91240B29-F687-4F45-9708-019B960494DF}">
                  <a14:hiddenLine xmlns:a14="http://schemas.microsoft.com/office/drawing/2010/main"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4" name="Freeform 17"/>
              <p:cNvSpPr>
                <a:spLocks/>
              </p:cNvSpPr>
              <p:nvPr/>
            </p:nvSpPr>
            <p:spPr bwMode="gray">
              <a:xfrm>
                <a:off x="5091113" y="1787525"/>
                <a:ext cx="258763" cy="152400"/>
              </a:xfrm>
              <a:custGeom>
                <a:avLst/>
                <a:gdLst>
                  <a:gd name="T0" fmla="*/ 0 w 163"/>
                  <a:gd name="T1" fmla="*/ 96 h 96"/>
                  <a:gd name="T2" fmla="*/ 160 w 163"/>
                  <a:gd name="T3" fmla="*/ 96 h 96"/>
                  <a:gd name="T4" fmla="*/ 160 w 163"/>
                  <a:gd name="T5" fmla="*/ 96 h 96"/>
                  <a:gd name="T6" fmla="*/ 163 w 163"/>
                  <a:gd name="T7" fmla="*/ 96 h 96"/>
                  <a:gd name="T8" fmla="*/ 163 w 163"/>
                  <a:gd name="T9" fmla="*/ 0 h 96"/>
                  <a:gd name="T10" fmla="*/ 3 w 163"/>
                  <a:gd name="T11" fmla="*/ 0 h 96"/>
                  <a:gd name="T12" fmla="*/ 3 w 163"/>
                  <a:gd name="T13" fmla="*/ 96 h 96"/>
                  <a:gd name="T14" fmla="*/ 0 w 163"/>
                  <a:gd name="T15" fmla="*/ 96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3" h="96">
                    <a:moveTo>
                      <a:pt x="0" y="96"/>
                    </a:moveTo>
                    <a:lnTo>
                      <a:pt x="160" y="96"/>
                    </a:lnTo>
                    <a:lnTo>
                      <a:pt x="160" y="96"/>
                    </a:lnTo>
                    <a:lnTo>
                      <a:pt x="163" y="96"/>
                    </a:lnTo>
                    <a:lnTo>
                      <a:pt x="163" y="0"/>
                    </a:lnTo>
                    <a:lnTo>
                      <a:pt x="3" y="0"/>
                    </a:lnTo>
                    <a:lnTo>
                      <a:pt x="3" y="96"/>
                    </a:lnTo>
                    <a:lnTo>
                      <a:pt x="0" y="96"/>
                    </a:ln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6" name="Rectangle 18"/>
              <p:cNvSpPr>
                <a:spLocks noChangeArrowheads="1"/>
              </p:cNvSpPr>
              <p:nvPr/>
            </p:nvSpPr>
            <p:spPr bwMode="gray">
              <a:xfrm>
                <a:off x="5026026" y="1955800"/>
                <a:ext cx="385763" cy="31750"/>
              </a:xfrm>
              <a:prstGeom prst="rect">
                <a:avLst/>
              </a:prstGeom>
              <a:solidFill>
                <a:srgbClr val="4D4D4D"/>
              </a:solidFill>
              <a:ln w="0">
                <a:noFill/>
                <a:prstDash val="solid"/>
                <a:miter lim="800000"/>
                <a:headEnd/>
                <a:tailEnd/>
              </a:ln>
              <a:extLst>
                <a:ext uri="{91240B29-F687-4F45-9708-019B960494DF}">
                  <a14:hiddenLine xmlns:a14="http://schemas.microsoft.com/office/drawing/2010/main" w="0">
                    <a:solidFill>
                      <a:srgbClr val="000000"/>
                    </a:solidFill>
                    <a:prstDash val="solid"/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7" name="Freeform 19"/>
              <p:cNvSpPr>
                <a:spLocks noEditPoints="1"/>
              </p:cNvSpPr>
              <p:nvPr/>
            </p:nvSpPr>
            <p:spPr bwMode="gray">
              <a:xfrm>
                <a:off x="5073651" y="1284288"/>
                <a:ext cx="287338" cy="346075"/>
              </a:xfrm>
              <a:custGeom>
                <a:avLst/>
                <a:gdLst>
                  <a:gd name="T0" fmla="*/ 13 w 501"/>
                  <a:gd name="T1" fmla="*/ 358 h 591"/>
                  <a:gd name="T2" fmla="*/ 17 w 501"/>
                  <a:gd name="T3" fmla="*/ 368 h 591"/>
                  <a:gd name="T4" fmla="*/ 37 w 501"/>
                  <a:gd name="T5" fmla="*/ 402 h 591"/>
                  <a:gd name="T6" fmla="*/ 252 w 501"/>
                  <a:gd name="T7" fmla="*/ 590 h 591"/>
                  <a:gd name="T8" fmla="*/ 465 w 501"/>
                  <a:gd name="T9" fmla="*/ 401 h 591"/>
                  <a:gd name="T10" fmla="*/ 484 w 501"/>
                  <a:gd name="T11" fmla="*/ 366 h 591"/>
                  <a:gd name="T12" fmla="*/ 488 w 501"/>
                  <a:gd name="T13" fmla="*/ 356 h 591"/>
                  <a:gd name="T14" fmla="*/ 479 w 501"/>
                  <a:gd name="T15" fmla="*/ 288 h 591"/>
                  <a:gd name="T16" fmla="*/ 479 w 501"/>
                  <a:gd name="T17" fmla="*/ 286 h 591"/>
                  <a:gd name="T18" fmla="*/ 250 w 501"/>
                  <a:gd name="T19" fmla="*/ 1 h 591"/>
                  <a:gd name="T20" fmla="*/ 22 w 501"/>
                  <a:gd name="T21" fmla="*/ 287 h 591"/>
                  <a:gd name="T22" fmla="*/ 22 w 501"/>
                  <a:gd name="T23" fmla="*/ 290 h 591"/>
                  <a:gd name="T24" fmla="*/ 13 w 501"/>
                  <a:gd name="T25" fmla="*/ 358 h 591"/>
                  <a:gd name="T26" fmla="*/ 43 w 501"/>
                  <a:gd name="T27" fmla="*/ 313 h 591"/>
                  <a:gd name="T28" fmla="*/ 43 w 501"/>
                  <a:gd name="T29" fmla="*/ 313 h 591"/>
                  <a:gd name="T30" fmla="*/ 51 w 501"/>
                  <a:gd name="T31" fmla="*/ 306 h 591"/>
                  <a:gd name="T32" fmla="*/ 88 w 501"/>
                  <a:gd name="T33" fmla="*/ 312 h 591"/>
                  <a:gd name="T34" fmla="*/ 96 w 501"/>
                  <a:gd name="T35" fmla="*/ 307 h 591"/>
                  <a:gd name="T36" fmla="*/ 119 w 501"/>
                  <a:gd name="T37" fmla="*/ 254 h 591"/>
                  <a:gd name="T38" fmla="*/ 323 w 501"/>
                  <a:gd name="T39" fmla="*/ 282 h 591"/>
                  <a:gd name="T40" fmla="*/ 382 w 501"/>
                  <a:gd name="T41" fmla="*/ 275 h 591"/>
                  <a:gd name="T42" fmla="*/ 397 w 501"/>
                  <a:gd name="T43" fmla="*/ 311 h 591"/>
                  <a:gd name="T44" fmla="*/ 404 w 501"/>
                  <a:gd name="T45" fmla="*/ 316 h 591"/>
                  <a:gd name="T46" fmla="*/ 406 w 501"/>
                  <a:gd name="T47" fmla="*/ 315 h 591"/>
                  <a:gd name="T48" fmla="*/ 449 w 501"/>
                  <a:gd name="T49" fmla="*/ 303 h 591"/>
                  <a:gd name="T50" fmla="*/ 458 w 501"/>
                  <a:gd name="T51" fmla="*/ 312 h 591"/>
                  <a:gd name="T52" fmla="*/ 459 w 501"/>
                  <a:gd name="T53" fmla="*/ 312 h 591"/>
                  <a:gd name="T54" fmla="*/ 460 w 501"/>
                  <a:gd name="T55" fmla="*/ 343 h 591"/>
                  <a:gd name="T56" fmla="*/ 455 w 501"/>
                  <a:gd name="T57" fmla="*/ 355 h 591"/>
                  <a:gd name="T58" fmla="*/ 444 w 501"/>
                  <a:gd name="T59" fmla="*/ 378 h 591"/>
                  <a:gd name="T60" fmla="*/ 437 w 501"/>
                  <a:gd name="T61" fmla="*/ 387 h 591"/>
                  <a:gd name="T62" fmla="*/ 252 w 501"/>
                  <a:gd name="T63" fmla="*/ 559 h 591"/>
                  <a:gd name="T64" fmla="*/ 65 w 501"/>
                  <a:gd name="T65" fmla="*/ 388 h 591"/>
                  <a:gd name="T66" fmla="*/ 58 w 501"/>
                  <a:gd name="T67" fmla="*/ 379 h 591"/>
                  <a:gd name="T68" fmla="*/ 46 w 501"/>
                  <a:gd name="T69" fmla="*/ 356 h 591"/>
                  <a:gd name="T70" fmla="*/ 41 w 501"/>
                  <a:gd name="T71" fmla="*/ 344 h 591"/>
                  <a:gd name="T72" fmla="*/ 43 w 501"/>
                  <a:gd name="T73" fmla="*/ 313 h 5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501" h="591">
                    <a:moveTo>
                      <a:pt x="13" y="358"/>
                    </a:moveTo>
                    <a:cubicBezTo>
                      <a:pt x="14" y="360"/>
                      <a:pt x="16" y="364"/>
                      <a:pt x="17" y="368"/>
                    </a:cubicBezTo>
                    <a:cubicBezTo>
                      <a:pt x="24" y="384"/>
                      <a:pt x="29" y="395"/>
                      <a:pt x="37" y="402"/>
                    </a:cubicBezTo>
                    <a:cubicBezTo>
                      <a:pt x="71" y="513"/>
                      <a:pt x="159" y="591"/>
                      <a:pt x="252" y="590"/>
                    </a:cubicBezTo>
                    <a:cubicBezTo>
                      <a:pt x="346" y="590"/>
                      <a:pt x="433" y="512"/>
                      <a:pt x="465" y="401"/>
                    </a:cubicBezTo>
                    <a:cubicBezTo>
                      <a:pt x="473" y="394"/>
                      <a:pt x="478" y="382"/>
                      <a:pt x="484" y="366"/>
                    </a:cubicBezTo>
                    <a:cubicBezTo>
                      <a:pt x="486" y="362"/>
                      <a:pt x="487" y="359"/>
                      <a:pt x="488" y="356"/>
                    </a:cubicBezTo>
                    <a:cubicBezTo>
                      <a:pt x="501" y="330"/>
                      <a:pt x="497" y="302"/>
                      <a:pt x="479" y="288"/>
                    </a:cubicBezTo>
                    <a:lnTo>
                      <a:pt x="479" y="286"/>
                    </a:lnTo>
                    <a:cubicBezTo>
                      <a:pt x="479" y="147"/>
                      <a:pt x="460" y="0"/>
                      <a:pt x="250" y="1"/>
                    </a:cubicBezTo>
                    <a:cubicBezTo>
                      <a:pt x="39" y="1"/>
                      <a:pt x="21" y="143"/>
                      <a:pt x="22" y="287"/>
                    </a:cubicBezTo>
                    <a:cubicBezTo>
                      <a:pt x="22" y="288"/>
                      <a:pt x="22" y="289"/>
                      <a:pt x="22" y="290"/>
                    </a:cubicBezTo>
                    <a:cubicBezTo>
                      <a:pt x="4" y="304"/>
                      <a:pt x="0" y="332"/>
                      <a:pt x="13" y="358"/>
                    </a:cubicBezTo>
                    <a:close/>
                    <a:moveTo>
                      <a:pt x="43" y="313"/>
                    </a:moveTo>
                    <a:lnTo>
                      <a:pt x="43" y="313"/>
                    </a:lnTo>
                    <a:cubicBezTo>
                      <a:pt x="47" y="312"/>
                      <a:pt x="49" y="309"/>
                      <a:pt x="51" y="306"/>
                    </a:cubicBezTo>
                    <a:lnTo>
                      <a:pt x="88" y="312"/>
                    </a:lnTo>
                    <a:cubicBezTo>
                      <a:pt x="91" y="312"/>
                      <a:pt x="95" y="311"/>
                      <a:pt x="96" y="307"/>
                    </a:cubicBezTo>
                    <a:lnTo>
                      <a:pt x="119" y="254"/>
                    </a:lnTo>
                    <a:cubicBezTo>
                      <a:pt x="146" y="260"/>
                      <a:pt x="245" y="283"/>
                      <a:pt x="323" y="282"/>
                    </a:cubicBezTo>
                    <a:cubicBezTo>
                      <a:pt x="347" y="282"/>
                      <a:pt x="367" y="280"/>
                      <a:pt x="382" y="275"/>
                    </a:cubicBezTo>
                    <a:lnTo>
                      <a:pt x="397" y="311"/>
                    </a:lnTo>
                    <a:cubicBezTo>
                      <a:pt x="398" y="314"/>
                      <a:pt x="401" y="316"/>
                      <a:pt x="404" y="316"/>
                    </a:cubicBezTo>
                    <a:cubicBezTo>
                      <a:pt x="405" y="316"/>
                      <a:pt x="406" y="315"/>
                      <a:pt x="406" y="315"/>
                    </a:cubicBezTo>
                    <a:lnTo>
                      <a:pt x="449" y="303"/>
                    </a:lnTo>
                    <a:cubicBezTo>
                      <a:pt x="451" y="307"/>
                      <a:pt x="454" y="310"/>
                      <a:pt x="458" y="312"/>
                    </a:cubicBezTo>
                    <a:lnTo>
                      <a:pt x="459" y="312"/>
                    </a:lnTo>
                    <a:cubicBezTo>
                      <a:pt x="465" y="315"/>
                      <a:pt x="467" y="329"/>
                      <a:pt x="460" y="343"/>
                    </a:cubicBezTo>
                    <a:cubicBezTo>
                      <a:pt x="459" y="346"/>
                      <a:pt x="457" y="350"/>
                      <a:pt x="455" y="355"/>
                    </a:cubicBezTo>
                    <a:cubicBezTo>
                      <a:pt x="453" y="361"/>
                      <a:pt x="447" y="374"/>
                      <a:pt x="444" y="378"/>
                    </a:cubicBezTo>
                    <a:cubicBezTo>
                      <a:pt x="440" y="380"/>
                      <a:pt x="438" y="383"/>
                      <a:pt x="437" y="387"/>
                    </a:cubicBezTo>
                    <a:cubicBezTo>
                      <a:pt x="409" y="488"/>
                      <a:pt x="333" y="559"/>
                      <a:pt x="252" y="559"/>
                    </a:cubicBezTo>
                    <a:cubicBezTo>
                      <a:pt x="171" y="559"/>
                      <a:pt x="94" y="489"/>
                      <a:pt x="65" y="388"/>
                    </a:cubicBezTo>
                    <a:cubicBezTo>
                      <a:pt x="64" y="384"/>
                      <a:pt x="61" y="381"/>
                      <a:pt x="58" y="379"/>
                    </a:cubicBezTo>
                    <a:cubicBezTo>
                      <a:pt x="54" y="376"/>
                      <a:pt x="49" y="362"/>
                      <a:pt x="46" y="356"/>
                    </a:cubicBezTo>
                    <a:cubicBezTo>
                      <a:pt x="44" y="351"/>
                      <a:pt x="43" y="347"/>
                      <a:pt x="41" y="344"/>
                    </a:cubicBezTo>
                    <a:cubicBezTo>
                      <a:pt x="34" y="330"/>
                      <a:pt x="36" y="316"/>
                      <a:pt x="43" y="313"/>
                    </a:cubicBezTo>
                    <a:close/>
                  </a:path>
                </a:pathLst>
              </a:custGeom>
              <a:solidFill>
                <a:srgbClr val="4D4D4D"/>
              </a:solidFill>
              <a:ln w="0">
                <a:noFill/>
                <a:prstDash val="solid"/>
                <a:round/>
                <a:headEnd/>
                <a:tailEnd/>
              </a:ln>
              <a:extLst>
                <a:ext uri="{91240B29-F687-4F45-9708-019B960494DF}">
                  <a14:hiddenLine xmlns:a14="http://schemas.microsoft.com/office/drawing/2010/main"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pic>
          <p:nvPicPr>
            <p:cNvPr id="39" name="Picture 3" descr="C:\Users\rajarrv\AppData\Local\Microsoft\Windows\Temporary Internet Files\Content.Outlook\3CY2KM7L\B-No Background FORCE LOGO.png"/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919134" y="4095401"/>
              <a:ext cx="276515" cy="7896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48" name="TextBox 96"/>
          <p:cNvSpPr txBox="1"/>
          <p:nvPr/>
        </p:nvSpPr>
        <p:spPr bwMode="auto">
          <a:xfrm>
            <a:off x="5042342" y="3944677"/>
            <a:ext cx="1366250" cy="26774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2"/>
            </a:solidFill>
            <a:prstDash val="sysDot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lvl="0" fontAlgn="base">
              <a:defRPr sz="1600">
                <a:solidFill>
                  <a:srgbClr val="000000"/>
                </a:solidFill>
                <a:latin typeface="CorpoS" pitchFamily="2" charset="0"/>
              </a:defRPr>
            </a:lvl1pPr>
          </a:lstStyle>
          <a:p>
            <a:pPr algn="ctr"/>
            <a:r>
              <a:rPr lang="ja-JP" altLang="en-US" sz="1200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支店新車マネージャ</a:t>
            </a:r>
            <a:endParaRPr lang="en-US" sz="1200" dirty="0"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pic>
        <p:nvPicPr>
          <p:cNvPr id="49" name="図 4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75525" y="3661997"/>
            <a:ext cx="682250" cy="260463"/>
          </a:xfrm>
          <a:prstGeom prst="rect">
            <a:avLst/>
          </a:prstGeom>
        </p:spPr>
      </p:pic>
      <p:sp>
        <p:nvSpPr>
          <p:cNvPr id="50" name="Rectangle 46"/>
          <p:cNvSpPr/>
          <p:nvPr/>
        </p:nvSpPr>
        <p:spPr>
          <a:xfrm>
            <a:off x="8674359" y="1433958"/>
            <a:ext cx="3074296" cy="2071772"/>
          </a:xfrm>
          <a:prstGeom prst="rect">
            <a:avLst/>
          </a:prstGeom>
          <a:noFill/>
          <a:ln w="15875" cap="flat" cmpd="sng" algn="ctr">
            <a:solidFill>
              <a:srgbClr val="C8C8C8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E9E9E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0" rIns="9144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1">
              <a:buClr>
                <a:srgbClr val="000000"/>
              </a:buClr>
              <a:buSzPct val="100000"/>
            </a:pPr>
            <a:endParaRPr lang="en-US" altLang="ja-JP" sz="1400" dirty="0"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marL="82550" lvl="1">
              <a:buClr>
                <a:srgbClr val="000000"/>
              </a:buClr>
              <a:buSzPct val="100000"/>
            </a:pPr>
            <a:r>
              <a:rPr lang="ja-JP" altLang="en-US" sz="12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■社員マスターの「マネージャ情報」には</a:t>
            </a:r>
            <a:endParaRPr lang="en-US" altLang="ja-JP" sz="1200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marL="82550" lvl="1">
              <a:buClr>
                <a:srgbClr val="000000"/>
              </a:buClr>
              <a:buSzPct val="100000"/>
            </a:pPr>
            <a:r>
              <a:rPr lang="ja-JP" altLang="en-US" sz="12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　 </a:t>
            </a:r>
            <a:r>
              <a:rPr lang="ja-JP" altLang="en-US" sz="1200" noProof="1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直属の上司（図では</a:t>
            </a:r>
            <a:r>
              <a:rPr lang="ja-JP" altLang="en-US" sz="1200" noProof="1" smtClean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支店新車マネージャ</a:t>
            </a:r>
            <a:r>
              <a:rPr lang="ja-JP" altLang="en-US" sz="1200" noProof="1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）</a:t>
            </a:r>
            <a:endParaRPr lang="en-US" altLang="ja-JP" sz="1200" noProof="1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marL="82550" lvl="1">
              <a:buClr>
                <a:srgbClr val="000000"/>
              </a:buClr>
              <a:buSzPct val="100000"/>
            </a:pPr>
            <a:r>
              <a:rPr lang="ja-JP" altLang="en-US" sz="1200" noProof="1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　 を設定すること。</a:t>
            </a:r>
            <a:endParaRPr lang="en-US" altLang="ja-JP" sz="1200" noProof="1">
              <a:solidFill>
                <a:srgbClr val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marL="0" lvl="1">
              <a:buClr>
                <a:srgbClr val="000000"/>
              </a:buClr>
              <a:buSzPct val="100000"/>
            </a:pPr>
            <a:endParaRPr lang="en-US" sz="1400" noProof="1">
              <a:solidFill>
                <a:srgbClr val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marL="0" lvl="1">
              <a:buClr>
                <a:srgbClr val="000000"/>
              </a:buClr>
              <a:buSzPct val="100000"/>
            </a:pPr>
            <a:endParaRPr lang="en-US" sz="1400" noProof="1" smtClean="0">
              <a:solidFill>
                <a:srgbClr val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marL="0" lvl="1">
              <a:buClr>
                <a:srgbClr val="000000"/>
              </a:buClr>
              <a:buSzPct val="100000"/>
            </a:pPr>
            <a:endParaRPr lang="en-US" sz="1400" noProof="1">
              <a:solidFill>
                <a:srgbClr val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51" name="Rectangle 48"/>
          <p:cNvSpPr/>
          <p:nvPr/>
        </p:nvSpPr>
        <p:spPr>
          <a:xfrm>
            <a:off x="8926618" y="1310518"/>
            <a:ext cx="937818" cy="196529"/>
          </a:xfrm>
          <a:prstGeom prst="rect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FFFFFF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ja-JP" altLang="en-US" sz="1600" i="1" noProof="1" smtClean="0">
                <a:solidFill>
                  <a:schemeClr val="folHlin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注意点</a:t>
            </a:r>
            <a:endParaRPr lang="en-US" sz="1600" i="1" noProof="1" smtClean="0">
              <a:solidFill>
                <a:schemeClr val="folHlink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53" name="フローチャート: 処理 52"/>
          <p:cNvSpPr/>
          <p:nvPr/>
        </p:nvSpPr>
        <p:spPr>
          <a:xfrm>
            <a:off x="1255166" y="3237001"/>
            <a:ext cx="2527121" cy="2445363"/>
          </a:xfrm>
          <a:prstGeom prst="flowChartProcess">
            <a:avLst/>
          </a:prstGeom>
          <a:noFill/>
          <a:ln w="12700">
            <a:solidFill>
              <a:srgbClr val="00206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 sz="1600" dirty="0" smtClean="0"/>
          </a:p>
        </p:txBody>
      </p:sp>
      <p:sp>
        <p:nvSpPr>
          <p:cNvPr id="54" name="Rectangle 77"/>
          <p:cNvSpPr/>
          <p:nvPr/>
        </p:nvSpPr>
        <p:spPr>
          <a:xfrm>
            <a:off x="1717964" y="3136929"/>
            <a:ext cx="1655371" cy="350240"/>
          </a:xfrm>
          <a:prstGeom prst="rect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FFFFFF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ja-JP" sz="1200" i="1" noProof="1" smtClean="0">
                <a:solidFill>
                  <a:schemeClr val="folHlin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【</a:t>
            </a:r>
            <a:r>
              <a:rPr lang="ja-JP" altLang="en-US" sz="1200" i="1" noProof="1" smtClean="0">
                <a:solidFill>
                  <a:schemeClr val="folHlin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支店アシスタントﾀｯﾌ</a:t>
            </a:r>
            <a:r>
              <a:rPr lang="en-US" altLang="ja-JP" sz="1200" i="1" noProof="1">
                <a:solidFill>
                  <a:schemeClr val="folHlin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】</a:t>
            </a:r>
          </a:p>
          <a:p>
            <a:pPr algn="ctr"/>
            <a:r>
              <a:rPr lang="ja-JP" altLang="en-US" sz="1200" i="1" noProof="1" smtClean="0">
                <a:solidFill>
                  <a:schemeClr val="folHlin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主は新車業務</a:t>
            </a:r>
            <a:endParaRPr lang="ja-JP" altLang="en-US" sz="1200" i="1" noProof="1">
              <a:solidFill>
                <a:schemeClr val="folHlink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pic>
        <p:nvPicPr>
          <p:cNvPr id="55" name="図 5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09323" y="3689992"/>
            <a:ext cx="682250" cy="260463"/>
          </a:xfrm>
          <a:prstGeom prst="rect">
            <a:avLst/>
          </a:prstGeom>
        </p:spPr>
      </p:pic>
      <p:sp>
        <p:nvSpPr>
          <p:cNvPr id="56" name="Rectangle 46"/>
          <p:cNvSpPr/>
          <p:nvPr/>
        </p:nvSpPr>
        <p:spPr>
          <a:xfrm>
            <a:off x="8674358" y="3799902"/>
            <a:ext cx="3074297" cy="2528750"/>
          </a:xfrm>
          <a:prstGeom prst="rect">
            <a:avLst/>
          </a:prstGeom>
          <a:noFill/>
          <a:ln w="15875" cap="flat" cmpd="sng" algn="ctr">
            <a:solidFill>
              <a:srgbClr val="C8C8C8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E9E9E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0" rIns="9144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1">
              <a:buClr>
                <a:srgbClr val="000000"/>
              </a:buClr>
              <a:buSzPct val="100000"/>
            </a:pPr>
            <a:endParaRPr lang="en-US" altLang="ja-JP" sz="1400" dirty="0"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marL="82550" lvl="1">
              <a:buClr>
                <a:srgbClr val="000000"/>
              </a:buClr>
              <a:buSzPct val="100000"/>
            </a:pPr>
            <a:r>
              <a:rPr lang="ja-JP" altLang="en-US" sz="1200" dirty="0" smtClean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■承認のフローは業務プロセスごとに</a:t>
            </a:r>
            <a:endParaRPr lang="en-US" altLang="ja-JP" sz="1200" dirty="0" smtClean="0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marL="82550" lvl="1">
              <a:buClr>
                <a:srgbClr val="000000"/>
              </a:buClr>
              <a:buSzPct val="100000"/>
            </a:pPr>
            <a:r>
              <a:rPr lang="ja-JP" altLang="en-US" sz="1200" dirty="0" smtClean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　 定義されている。</a:t>
            </a:r>
            <a:endParaRPr lang="en-US" altLang="ja-JP" sz="1200" dirty="0" smtClean="0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marL="82550" lvl="1">
              <a:buClr>
                <a:srgbClr val="000000"/>
              </a:buClr>
              <a:buSzPct val="100000"/>
            </a:pPr>
            <a:endParaRPr lang="en-US" altLang="ja-JP" sz="1200" dirty="0" smtClean="0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marL="82550" lvl="1">
              <a:buClr>
                <a:srgbClr val="000000"/>
              </a:buClr>
              <a:buSzPct val="100000"/>
            </a:pPr>
            <a:r>
              <a:rPr lang="ja-JP" altLang="en-US" sz="1200" dirty="0" smtClean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（例）新車業務の場合</a:t>
            </a:r>
            <a:endParaRPr lang="en-US" altLang="ja-JP" sz="1200" dirty="0" smtClean="0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marL="263525" lvl="1">
              <a:buClr>
                <a:srgbClr val="000000"/>
              </a:buClr>
              <a:buSzPct val="100000"/>
            </a:pPr>
            <a:r>
              <a:rPr lang="ja-JP" altLang="en-US" sz="1200" dirty="0" smtClean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承認依頼：</a:t>
            </a:r>
            <a:r>
              <a:rPr lang="ja-JP" altLang="en-US" sz="1200" dirty="0" smtClea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支店新車営業スタッフ</a:t>
            </a:r>
            <a:endParaRPr lang="en-US" altLang="ja-JP" sz="1200" dirty="0" smtClean="0">
              <a:solidFill>
                <a:srgbClr val="00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263525" lvl="1">
              <a:buClr>
                <a:srgbClr val="000000"/>
              </a:buClr>
              <a:buSzPct val="100000"/>
            </a:pPr>
            <a:r>
              <a:rPr lang="ja-JP" altLang="en-US" sz="1200" dirty="0" smtClean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承認　　　：</a:t>
            </a:r>
            <a:r>
              <a:rPr lang="ja-JP" altLang="en-US" sz="1200" dirty="0" smtClea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支店営業</a:t>
            </a:r>
            <a:r>
              <a:rPr lang="en-US" altLang="ja-JP" sz="1200" dirty="0" smtClea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MGR</a:t>
            </a:r>
          </a:p>
          <a:p>
            <a:pPr marL="263525" lvl="1">
              <a:buClr>
                <a:srgbClr val="000000"/>
              </a:buClr>
              <a:buSzPct val="100000"/>
            </a:pPr>
            <a:r>
              <a:rPr lang="en-US" altLang="ja-JP" sz="1200" dirty="0" smtClean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NEXT</a:t>
            </a:r>
            <a:r>
              <a:rPr lang="ja-JP" altLang="en-US" sz="1200" dirty="0" smtClean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　　：</a:t>
            </a:r>
            <a:r>
              <a:rPr lang="ja-JP" altLang="en-US" sz="1200" dirty="0" smtClea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支店長</a:t>
            </a:r>
          </a:p>
          <a:p>
            <a:pPr marL="263525" lvl="1">
              <a:buClr>
                <a:srgbClr val="000000"/>
              </a:buClr>
              <a:buSzPct val="100000"/>
            </a:pPr>
            <a:r>
              <a:rPr lang="ja-JP" altLang="en-US" sz="1200" dirty="0" smtClean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　　　　　　　　　　　　・</a:t>
            </a:r>
            <a:endParaRPr lang="en-US" altLang="ja-JP" sz="1200" dirty="0" smtClean="0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marL="263525" lvl="1">
              <a:buClr>
                <a:srgbClr val="000000"/>
              </a:buClr>
              <a:buSzPct val="100000"/>
            </a:pPr>
            <a:r>
              <a:rPr lang="ja-JP" altLang="en-US" sz="1200" dirty="0" smtClean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　　　　　　　　　　　　・</a:t>
            </a:r>
            <a:endParaRPr lang="en-US" altLang="ja-JP" sz="1200" dirty="0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57" name="Rectangle 48"/>
          <p:cNvSpPr/>
          <p:nvPr/>
        </p:nvSpPr>
        <p:spPr>
          <a:xfrm>
            <a:off x="8968178" y="3693573"/>
            <a:ext cx="937818" cy="196529"/>
          </a:xfrm>
          <a:prstGeom prst="rect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FFFFFF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ja-JP" altLang="en-US" sz="1600" i="1" noProof="1" smtClean="0">
                <a:solidFill>
                  <a:schemeClr val="folHlin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その他</a:t>
            </a:r>
            <a:endParaRPr lang="en-US" sz="1600" i="1" noProof="1" smtClean="0">
              <a:solidFill>
                <a:schemeClr val="folHlink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grpSp>
        <p:nvGrpSpPr>
          <p:cNvPr id="58" name="Group 112"/>
          <p:cNvGrpSpPr>
            <a:grpSpLocks noChangeAspect="1"/>
          </p:cNvGrpSpPr>
          <p:nvPr/>
        </p:nvGrpSpPr>
        <p:grpSpPr>
          <a:xfrm>
            <a:off x="7268636" y="3341005"/>
            <a:ext cx="635336" cy="635336"/>
            <a:chOff x="1563866" y="3369910"/>
            <a:chExt cx="994581" cy="994581"/>
          </a:xfrm>
        </p:grpSpPr>
        <p:grpSp>
          <p:nvGrpSpPr>
            <p:cNvPr id="59" name="Group 131"/>
            <p:cNvGrpSpPr>
              <a:grpSpLocks noChangeAspect="1"/>
            </p:cNvGrpSpPr>
            <p:nvPr/>
          </p:nvGrpSpPr>
          <p:grpSpPr bwMode="gray">
            <a:xfrm>
              <a:off x="1563866" y="3369910"/>
              <a:ext cx="994581" cy="994581"/>
              <a:chOff x="4814888" y="1222375"/>
              <a:chExt cx="828675" cy="828675"/>
            </a:xfrm>
          </p:grpSpPr>
          <p:sp>
            <p:nvSpPr>
              <p:cNvPr id="61" name="AutoShape 13"/>
              <p:cNvSpPr>
                <a:spLocks noChangeAspect="1" noChangeArrowheads="1" noTextEdit="1"/>
              </p:cNvSpPr>
              <p:nvPr/>
            </p:nvSpPr>
            <p:spPr bwMode="gray">
              <a:xfrm>
                <a:off x="4814888" y="1222375"/>
                <a:ext cx="828675" cy="8286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2" name="Freeform 15"/>
              <p:cNvSpPr>
                <a:spLocks/>
              </p:cNvSpPr>
              <p:nvPr/>
            </p:nvSpPr>
            <p:spPr bwMode="gray">
              <a:xfrm>
                <a:off x="4956176" y="1600200"/>
                <a:ext cx="250825" cy="339725"/>
              </a:xfrm>
              <a:custGeom>
                <a:avLst/>
                <a:gdLst>
                  <a:gd name="T0" fmla="*/ 183 w 439"/>
                  <a:gd name="T1" fmla="*/ 290 h 580"/>
                  <a:gd name="T2" fmla="*/ 214 w 439"/>
                  <a:gd name="T3" fmla="*/ 259 h 580"/>
                  <a:gd name="T4" fmla="*/ 439 w 439"/>
                  <a:gd name="T5" fmla="*/ 259 h 580"/>
                  <a:gd name="T6" fmla="*/ 295 w 439"/>
                  <a:gd name="T7" fmla="*/ 0 h 580"/>
                  <a:gd name="T8" fmla="*/ 189 w 439"/>
                  <a:gd name="T9" fmla="*/ 22 h 580"/>
                  <a:gd name="T10" fmla="*/ 132 w 439"/>
                  <a:gd name="T11" fmla="*/ 76 h 580"/>
                  <a:gd name="T12" fmla="*/ 6 w 439"/>
                  <a:gd name="T13" fmla="*/ 486 h 580"/>
                  <a:gd name="T14" fmla="*/ 19 w 439"/>
                  <a:gd name="T15" fmla="*/ 551 h 580"/>
                  <a:gd name="T16" fmla="*/ 78 w 439"/>
                  <a:gd name="T17" fmla="*/ 580 h 580"/>
                  <a:gd name="T18" fmla="*/ 184 w 439"/>
                  <a:gd name="T19" fmla="*/ 580 h 580"/>
                  <a:gd name="T20" fmla="*/ 183 w 439"/>
                  <a:gd name="T21" fmla="*/ 290 h 580"/>
                  <a:gd name="T22" fmla="*/ 183 w 439"/>
                  <a:gd name="T23" fmla="*/ 290 h 5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39" h="580">
                    <a:moveTo>
                      <a:pt x="183" y="290"/>
                    </a:moveTo>
                    <a:lnTo>
                      <a:pt x="214" y="259"/>
                    </a:lnTo>
                    <a:lnTo>
                      <a:pt x="439" y="259"/>
                    </a:lnTo>
                    <a:lnTo>
                      <a:pt x="295" y="0"/>
                    </a:lnTo>
                    <a:lnTo>
                      <a:pt x="189" y="22"/>
                    </a:lnTo>
                    <a:cubicBezTo>
                      <a:pt x="162" y="27"/>
                      <a:pt x="140" y="48"/>
                      <a:pt x="132" y="76"/>
                    </a:cubicBezTo>
                    <a:lnTo>
                      <a:pt x="6" y="486"/>
                    </a:lnTo>
                    <a:cubicBezTo>
                      <a:pt x="0" y="509"/>
                      <a:pt x="5" y="532"/>
                      <a:pt x="19" y="551"/>
                    </a:cubicBezTo>
                    <a:cubicBezTo>
                      <a:pt x="34" y="569"/>
                      <a:pt x="55" y="580"/>
                      <a:pt x="78" y="580"/>
                    </a:cubicBezTo>
                    <a:lnTo>
                      <a:pt x="184" y="580"/>
                    </a:lnTo>
                    <a:lnTo>
                      <a:pt x="183" y="290"/>
                    </a:lnTo>
                    <a:lnTo>
                      <a:pt x="183" y="290"/>
                    </a:lnTo>
                    <a:close/>
                  </a:path>
                </a:pathLst>
              </a:custGeom>
              <a:solidFill>
                <a:srgbClr val="4D4D4D"/>
              </a:solidFill>
              <a:ln w="0">
                <a:noFill/>
                <a:prstDash val="solid"/>
                <a:round/>
                <a:headEnd/>
                <a:tailEnd/>
              </a:ln>
              <a:extLst>
                <a:ext uri="{91240B29-F687-4F45-9708-019B960494DF}">
                  <a14:hiddenLine xmlns:a14="http://schemas.microsoft.com/office/drawing/2010/main"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3" name="Freeform 16"/>
              <p:cNvSpPr>
                <a:spLocks/>
              </p:cNvSpPr>
              <p:nvPr/>
            </p:nvSpPr>
            <p:spPr bwMode="gray">
              <a:xfrm>
                <a:off x="5229226" y="1600200"/>
                <a:ext cx="252413" cy="339725"/>
              </a:xfrm>
              <a:custGeom>
                <a:avLst/>
                <a:gdLst>
                  <a:gd name="T0" fmla="*/ 433 w 439"/>
                  <a:gd name="T1" fmla="*/ 485 h 579"/>
                  <a:gd name="T2" fmla="*/ 307 w 439"/>
                  <a:gd name="T3" fmla="*/ 75 h 579"/>
                  <a:gd name="T4" fmla="*/ 249 w 439"/>
                  <a:gd name="T5" fmla="*/ 20 h 579"/>
                  <a:gd name="T6" fmla="*/ 143 w 439"/>
                  <a:gd name="T7" fmla="*/ 0 h 579"/>
                  <a:gd name="T8" fmla="*/ 0 w 439"/>
                  <a:gd name="T9" fmla="*/ 258 h 579"/>
                  <a:gd name="T10" fmla="*/ 242 w 439"/>
                  <a:gd name="T11" fmla="*/ 258 h 579"/>
                  <a:gd name="T12" fmla="*/ 273 w 439"/>
                  <a:gd name="T13" fmla="*/ 289 h 579"/>
                  <a:gd name="T14" fmla="*/ 273 w 439"/>
                  <a:gd name="T15" fmla="*/ 579 h 579"/>
                  <a:gd name="T16" fmla="*/ 361 w 439"/>
                  <a:gd name="T17" fmla="*/ 579 h 579"/>
                  <a:gd name="T18" fmla="*/ 420 w 439"/>
                  <a:gd name="T19" fmla="*/ 550 h 579"/>
                  <a:gd name="T20" fmla="*/ 433 w 439"/>
                  <a:gd name="T21" fmla="*/ 485 h 5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39" h="579">
                    <a:moveTo>
                      <a:pt x="433" y="485"/>
                    </a:moveTo>
                    <a:lnTo>
                      <a:pt x="307" y="75"/>
                    </a:lnTo>
                    <a:cubicBezTo>
                      <a:pt x="299" y="47"/>
                      <a:pt x="277" y="26"/>
                      <a:pt x="249" y="20"/>
                    </a:cubicBezTo>
                    <a:lnTo>
                      <a:pt x="143" y="0"/>
                    </a:lnTo>
                    <a:lnTo>
                      <a:pt x="0" y="258"/>
                    </a:lnTo>
                    <a:lnTo>
                      <a:pt x="242" y="258"/>
                    </a:lnTo>
                    <a:lnTo>
                      <a:pt x="273" y="289"/>
                    </a:lnTo>
                    <a:lnTo>
                      <a:pt x="273" y="579"/>
                    </a:lnTo>
                    <a:lnTo>
                      <a:pt x="361" y="579"/>
                    </a:lnTo>
                    <a:cubicBezTo>
                      <a:pt x="384" y="579"/>
                      <a:pt x="406" y="568"/>
                      <a:pt x="420" y="550"/>
                    </a:cubicBezTo>
                    <a:cubicBezTo>
                      <a:pt x="434" y="531"/>
                      <a:pt x="439" y="508"/>
                      <a:pt x="433" y="485"/>
                    </a:cubicBezTo>
                    <a:close/>
                  </a:path>
                </a:pathLst>
              </a:custGeom>
              <a:solidFill>
                <a:srgbClr val="4D4D4D"/>
              </a:solidFill>
              <a:ln w="0">
                <a:noFill/>
                <a:prstDash val="solid"/>
                <a:round/>
                <a:headEnd/>
                <a:tailEnd/>
              </a:ln>
              <a:extLst>
                <a:ext uri="{91240B29-F687-4F45-9708-019B960494DF}">
                  <a14:hiddenLine xmlns:a14="http://schemas.microsoft.com/office/drawing/2010/main"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4" name="Freeform 17"/>
              <p:cNvSpPr>
                <a:spLocks/>
              </p:cNvSpPr>
              <p:nvPr/>
            </p:nvSpPr>
            <p:spPr bwMode="gray">
              <a:xfrm>
                <a:off x="5091113" y="1787525"/>
                <a:ext cx="258763" cy="152400"/>
              </a:xfrm>
              <a:custGeom>
                <a:avLst/>
                <a:gdLst>
                  <a:gd name="T0" fmla="*/ 0 w 163"/>
                  <a:gd name="T1" fmla="*/ 96 h 96"/>
                  <a:gd name="T2" fmla="*/ 160 w 163"/>
                  <a:gd name="T3" fmla="*/ 96 h 96"/>
                  <a:gd name="T4" fmla="*/ 160 w 163"/>
                  <a:gd name="T5" fmla="*/ 96 h 96"/>
                  <a:gd name="T6" fmla="*/ 163 w 163"/>
                  <a:gd name="T7" fmla="*/ 96 h 96"/>
                  <a:gd name="T8" fmla="*/ 163 w 163"/>
                  <a:gd name="T9" fmla="*/ 0 h 96"/>
                  <a:gd name="T10" fmla="*/ 3 w 163"/>
                  <a:gd name="T11" fmla="*/ 0 h 96"/>
                  <a:gd name="T12" fmla="*/ 3 w 163"/>
                  <a:gd name="T13" fmla="*/ 96 h 96"/>
                  <a:gd name="T14" fmla="*/ 0 w 163"/>
                  <a:gd name="T15" fmla="*/ 96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3" h="96">
                    <a:moveTo>
                      <a:pt x="0" y="96"/>
                    </a:moveTo>
                    <a:lnTo>
                      <a:pt x="160" y="96"/>
                    </a:lnTo>
                    <a:lnTo>
                      <a:pt x="160" y="96"/>
                    </a:lnTo>
                    <a:lnTo>
                      <a:pt x="163" y="96"/>
                    </a:lnTo>
                    <a:lnTo>
                      <a:pt x="163" y="0"/>
                    </a:lnTo>
                    <a:lnTo>
                      <a:pt x="3" y="0"/>
                    </a:lnTo>
                    <a:lnTo>
                      <a:pt x="3" y="96"/>
                    </a:lnTo>
                    <a:lnTo>
                      <a:pt x="0" y="96"/>
                    </a:ln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5" name="Rectangle 18"/>
              <p:cNvSpPr>
                <a:spLocks noChangeArrowheads="1"/>
              </p:cNvSpPr>
              <p:nvPr/>
            </p:nvSpPr>
            <p:spPr bwMode="gray">
              <a:xfrm>
                <a:off x="5026026" y="1955800"/>
                <a:ext cx="385763" cy="31750"/>
              </a:xfrm>
              <a:prstGeom prst="rect">
                <a:avLst/>
              </a:prstGeom>
              <a:solidFill>
                <a:srgbClr val="4D4D4D"/>
              </a:solidFill>
              <a:ln w="0">
                <a:noFill/>
                <a:prstDash val="solid"/>
                <a:miter lim="800000"/>
                <a:headEnd/>
                <a:tailEnd/>
              </a:ln>
              <a:extLst>
                <a:ext uri="{91240B29-F687-4F45-9708-019B960494DF}">
                  <a14:hiddenLine xmlns:a14="http://schemas.microsoft.com/office/drawing/2010/main" w="0">
                    <a:solidFill>
                      <a:srgbClr val="000000"/>
                    </a:solidFill>
                    <a:prstDash val="solid"/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6" name="Freeform 19"/>
              <p:cNvSpPr>
                <a:spLocks noEditPoints="1"/>
              </p:cNvSpPr>
              <p:nvPr/>
            </p:nvSpPr>
            <p:spPr bwMode="gray">
              <a:xfrm>
                <a:off x="5073651" y="1284288"/>
                <a:ext cx="287338" cy="346075"/>
              </a:xfrm>
              <a:custGeom>
                <a:avLst/>
                <a:gdLst>
                  <a:gd name="T0" fmla="*/ 13 w 501"/>
                  <a:gd name="T1" fmla="*/ 358 h 591"/>
                  <a:gd name="T2" fmla="*/ 17 w 501"/>
                  <a:gd name="T3" fmla="*/ 368 h 591"/>
                  <a:gd name="T4" fmla="*/ 37 w 501"/>
                  <a:gd name="T5" fmla="*/ 402 h 591"/>
                  <a:gd name="T6" fmla="*/ 252 w 501"/>
                  <a:gd name="T7" fmla="*/ 590 h 591"/>
                  <a:gd name="T8" fmla="*/ 465 w 501"/>
                  <a:gd name="T9" fmla="*/ 401 h 591"/>
                  <a:gd name="T10" fmla="*/ 484 w 501"/>
                  <a:gd name="T11" fmla="*/ 366 h 591"/>
                  <a:gd name="T12" fmla="*/ 488 w 501"/>
                  <a:gd name="T13" fmla="*/ 356 h 591"/>
                  <a:gd name="T14" fmla="*/ 479 w 501"/>
                  <a:gd name="T15" fmla="*/ 288 h 591"/>
                  <a:gd name="T16" fmla="*/ 479 w 501"/>
                  <a:gd name="T17" fmla="*/ 286 h 591"/>
                  <a:gd name="T18" fmla="*/ 250 w 501"/>
                  <a:gd name="T19" fmla="*/ 1 h 591"/>
                  <a:gd name="T20" fmla="*/ 22 w 501"/>
                  <a:gd name="T21" fmla="*/ 287 h 591"/>
                  <a:gd name="T22" fmla="*/ 22 w 501"/>
                  <a:gd name="T23" fmla="*/ 290 h 591"/>
                  <a:gd name="T24" fmla="*/ 13 w 501"/>
                  <a:gd name="T25" fmla="*/ 358 h 591"/>
                  <a:gd name="T26" fmla="*/ 43 w 501"/>
                  <a:gd name="T27" fmla="*/ 313 h 591"/>
                  <a:gd name="T28" fmla="*/ 43 w 501"/>
                  <a:gd name="T29" fmla="*/ 313 h 591"/>
                  <a:gd name="T30" fmla="*/ 51 w 501"/>
                  <a:gd name="T31" fmla="*/ 306 h 591"/>
                  <a:gd name="T32" fmla="*/ 88 w 501"/>
                  <a:gd name="T33" fmla="*/ 312 h 591"/>
                  <a:gd name="T34" fmla="*/ 96 w 501"/>
                  <a:gd name="T35" fmla="*/ 307 h 591"/>
                  <a:gd name="T36" fmla="*/ 119 w 501"/>
                  <a:gd name="T37" fmla="*/ 254 h 591"/>
                  <a:gd name="T38" fmla="*/ 323 w 501"/>
                  <a:gd name="T39" fmla="*/ 282 h 591"/>
                  <a:gd name="T40" fmla="*/ 382 w 501"/>
                  <a:gd name="T41" fmla="*/ 275 h 591"/>
                  <a:gd name="T42" fmla="*/ 397 w 501"/>
                  <a:gd name="T43" fmla="*/ 311 h 591"/>
                  <a:gd name="T44" fmla="*/ 404 w 501"/>
                  <a:gd name="T45" fmla="*/ 316 h 591"/>
                  <a:gd name="T46" fmla="*/ 406 w 501"/>
                  <a:gd name="T47" fmla="*/ 315 h 591"/>
                  <a:gd name="T48" fmla="*/ 449 w 501"/>
                  <a:gd name="T49" fmla="*/ 303 h 591"/>
                  <a:gd name="T50" fmla="*/ 458 w 501"/>
                  <a:gd name="T51" fmla="*/ 312 h 591"/>
                  <a:gd name="T52" fmla="*/ 459 w 501"/>
                  <a:gd name="T53" fmla="*/ 312 h 591"/>
                  <a:gd name="T54" fmla="*/ 460 w 501"/>
                  <a:gd name="T55" fmla="*/ 343 h 591"/>
                  <a:gd name="T56" fmla="*/ 455 w 501"/>
                  <a:gd name="T57" fmla="*/ 355 h 591"/>
                  <a:gd name="T58" fmla="*/ 444 w 501"/>
                  <a:gd name="T59" fmla="*/ 378 h 591"/>
                  <a:gd name="T60" fmla="*/ 437 w 501"/>
                  <a:gd name="T61" fmla="*/ 387 h 591"/>
                  <a:gd name="T62" fmla="*/ 252 w 501"/>
                  <a:gd name="T63" fmla="*/ 559 h 591"/>
                  <a:gd name="T64" fmla="*/ 65 w 501"/>
                  <a:gd name="T65" fmla="*/ 388 h 591"/>
                  <a:gd name="T66" fmla="*/ 58 w 501"/>
                  <a:gd name="T67" fmla="*/ 379 h 591"/>
                  <a:gd name="T68" fmla="*/ 46 w 501"/>
                  <a:gd name="T69" fmla="*/ 356 h 591"/>
                  <a:gd name="T70" fmla="*/ 41 w 501"/>
                  <a:gd name="T71" fmla="*/ 344 h 591"/>
                  <a:gd name="T72" fmla="*/ 43 w 501"/>
                  <a:gd name="T73" fmla="*/ 313 h 5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501" h="591">
                    <a:moveTo>
                      <a:pt x="13" y="358"/>
                    </a:moveTo>
                    <a:cubicBezTo>
                      <a:pt x="14" y="360"/>
                      <a:pt x="16" y="364"/>
                      <a:pt x="17" y="368"/>
                    </a:cubicBezTo>
                    <a:cubicBezTo>
                      <a:pt x="24" y="384"/>
                      <a:pt x="29" y="395"/>
                      <a:pt x="37" y="402"/>
                    </a:cubicBezTo>
                    <a:cubicBezTo>
                      <a:pt x="71" y="513"/>
                      <a:pt x="159" y="591"/>
                      <a:pt x="252" y="590"/>
                    </a:cubicBezTo>
                    <a:cubicBezTo>
                      <a:pt x="346" y="590"/>
                      <a:pt x="433" y="512"/>
                      <a:pt x="465" y="401"/>
                    </a:cubicBezTo>
                    <a:cubicBezTo>
                      <a:pt x="473" y="394"/>
                      <a:pt x="478" y="382"/>
                      <a:pt x="484" y="366"/>
                    </a:cubicBezTo>
                    <a:cubicBezTo>
                      <a:pt x="486" y="362"/>
                      <a:pt x="487" y="359"/>
                      <a:pt x="488" y="356"/>
                    </a:cubicBezTo>
                    <a:cubicBezTo>
                      <a:pt x="501" y="330"/>
                      <a:pt x="497" y="302"/>
                      <a:pt x="479" y="288"/>
                    </a:cubicBezTo>
                    <a:lnTo>
                      <a:pt x="479" y="286"/>
                    </a:lnTo>
                    <a:cubicBezTo>
                      <a:pt x="479" y="147"/>
                      <a:pt x="460" y="0"/>
                      <a:pt x="250" y="1"/>
                    </a:cubicBezTo>
                    <a:cubicBezTo>
                      <a:pt x="39" y="1"/>
                      <a:pt x="21" y="143"/>
                      <a:pt x="22" y="287"/>
                    </a:cubicBezTo>
                    <a:cubicBezTo>
                      <a:pt x="22" y="288"/>
                      <a:pt x="22" y="289"/>
                      <a:pt x="22" y="290"/>
                    </a:cubicBezTo>
                    <a:cubicBezTo>
                      <a:pt x="4" y="304"/>
                      <a:pt x="0" y="332"/>
                      <a:pt x="13" y="358"/>
                    </a:cubicBezTo>
                    <a:close/>
                    <a:moveTo>
                      <a:pt x="43" y="313"/>
                    </a:moveTo>
                    <a:lnTo>
                      <a:pt x="43" y="313"/>
                    </a:lnTo>
                    <a:cubicBezTo>
                      <a:pt x="47" y="312"/>
                      <a:pt x="49" y="309"/>
                      <a:pt x="51" y="306"/>
                    </a:cubicBezTo>
                    <a:lnTo>
                      <a:pt x="88" y="312"/>
                    </a:lnTo>
                    <a:cubicBezTo>
                      <a:pt x="91" y="312"/>
                      <a:pt x="95" y="311"/>
                      <a:pt x="96" y="307"/>
                    </a:cubicBezTo>
                    <a:lnTo>
                      <a:pt x="119" y="254"/>
                    </a:lnTo>
                    <a:cubicBezTo>
                      <a:pt x="146" y="260"/>
                      <a:pt x="245" y="283"/>
                      <a:pt x="323" y="282"/>
                    </a:cubicBezTo>
                    <a:cubicBezTo>
                      <a:pt x="347" y="282"/>
                      <a:pt x="367" y="280"/>
                      <a:pt x="382" y="275"/>
                    </a:cubicBezTo>
                    <a:lnTo>
                      <a:pt x="397" y="311"/>
                    </a:lnTo>
                    <a:cubicBezTo>
                      <a:pt x="398" y="314"/>
                      <a:pt x="401" y="316"/>
                      <a:pt x="404" y="316"/>
                    </a:cubicBezTo>
                    <a:cubicBezTo>
                      <a:pt x="405" y="316"/>
                      <a:pt x="406" y="315"/>
                      <a:pt x="406" y="315"/>
                    </a:cubicBezTo>
                    <a:lnTo>
                      <a:pt x="449" y="303"/>
                    </a:lnTo>
                    <a:cubicBezTo>
                      <a:pt x="451" y="307"/>
                      <a:pt x="454" y="310"/>
                      <a:pt x="458" y="312"/>
                    </a:cubicBezTo>
                    <a:lnTo>
                      <a:pt x="459" y="312"/>
                    </a:lnTo>
                    <a:cubicBezTo>
                      <a:pt x="465" y="315"/>
                      <a:pt x="467" y="329"/>
                      <a:pt x="460" y="343"/>
                    </a:cubicBezTo>
                    <a:cubicBezTo>
                      <a:pt x="459" y="346"/>
                      <a:pt x="457" y="350"/>
                      <a:pt x="455" y="355"/>
                    </a:cubicBezTo>
                    <a:cubicBezTo>
                      <a:pt x="453" y="361"/>
                      <a:pt x="447" y="374"/>
                      <a:pt x="444" y="378"/>
                    </a:cubicBezTo>
                    <a:cubicBezTo>
                      <a:pt x="440" y="380"/>
                      <a:pt x="438" y="383"/>
                      <a:pt x="437" y="387"/>
                    </a:cubicBezTo>
                    <a:cubicBezTo>
                      <a:pt x="409" y="488"/>
                      <a:pt x="333" y="559"/>
                      <a:pt x="252" y="559"/>
                    </a:cubicBezTo>
                    <a:cubicBezTo>
                      <a:pt x="171" y="559"/>
                      <a:pt x="94" y="489"/>
                      <a:pt x="65" y="388"/>
                    </a:cubicBezTo>
                    <a:cubicBezTo>
                      <a:pt x="64" y="384"/>
                      <a:pt x="61" y="381"/>
                      <a:pt x="58" y="379"/>
                    </a:cubicBezTo>
                    <a:cubicBezTo>
                      <a:pt x="54" y="376"/>
                      <a:pt x="49" y="362"/>
                      <a:pt x="46" y="356"/>
                    </a:cubicBezTo>
                    <a:cubicBezTo>
                      <a:pt x="44" y="351"/>
                      <a:pt x="43" y="347"/>
                      <a:pt x="41" y="344"/>
                    </a:cubicBezTo>
                    <a:cubicBezTo>
                      <a:pt x="34" y="330"/>
                      <a:pt x="36" y="316"/>
                      <a:pt x="43" y="313"/>
                    </a:cubicBezTo>
                    <a:close/>
                  </a:path>
                </a:pathLst>
              </a:custGeom>
              <a:solidFill>
                <a:srgbClr val="4D4D4D"/>
              </a:solidFill>
              <a:ln w="0">
                <a:noFill/>
                <a:prstDash val="solid"/>
                <a:round/>
                <a:headEnd/>
                <a:tailEnd/>
              </a:ln>
              <a:extLst>
                <a:ext uri="{91240B29-F687-4F45-9708-019B960494DF}">
                  <a14:hiddenLine xmlns:a14="http://schemas.microsoft.com/office/drawing/2010/main"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pic>
          <p:nvPicPr>
            <p:cNvPr id="60" name="Picture 3" descr="C:\Users\rajarrv\AppData\Local\Microsoft\Windows\Temporary Internet Files\Content.Outlook\3CY2KM7L\B-No Background FORCE LOGO.png"/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919134" y="4095401"/>
              <a:ext cx="276515" cy="7896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67" name="TextBox 96"/>
          <p:cNvSpPr txBox="1"/>
          <p:nvPr/>
        </p:nvSpPr>
        <p:spPr bwMode="auto">
          <a:xfrm>
            <a:off x="7134386" y="3952929"/>
            <a:ext cx="936104" cy="160093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2"/>
            </a:solidFill>
            <a:prstDash val="sysDot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lvl="0" fontAlgn="base">
              <a:defRPr sz="1600">
                <a:solidFill>
                  <a:srgbClr val="000000"/>
                </a:solidFill>
                <a:latin typeface="CorpoS" pitchFamily="2" charset="0"/>
              </a:defRPr>
            </a:lvl1pPr>
          </a:lstStyle>
          <a:p>
            <a:pPr algn="ctr"/>
            <a:r>
              <a:rPr lang="ja-JP" altLang="en-US" sz="1200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支店長　他</a:t>
            </a:r>
            <a:endParaRPr lang="en-US" sz="1200" dirty="0"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68" name="TextBox 96"/>
          <p:cNvSpPr txBox="1"/>
          <p:nvPr/>
        </p:nvSpPr>
        <p:spPr bwMode="auto">
          <a:xfrm>
            <a:off x="2093482" y="4488083"/>
            <a:ext cx="864096" cy="14921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solidFill>
              <a:schemeClr val="tx2"/>
            </a:solidFill>
            <a:prstDash val="sysDot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lvl="0" fontAlgn="base">
              <a:defRPr sz="1600">
                <a:solidFill>
                  <a:srgbClr val="000000"/>
                </a:solidFill>
                <a:latin typeface="CorpoS" pitchFamily="2" charset="0"/>
              </a:defRPr>
            </a:lvl1pPr>
          </a:lstStyle>
          <a:p>
            <a:pPr algn="ctr"/>
            <a:r>
              <a:rPr lang="en-US" altLang="ja-JP" sz="1200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UID01</a:t>
            </a:r>
            <a:endParaRPr lang="en-US" sz="1200" dirty="0"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grpSp>
        <p:nvGrpSpPr>
          <p:cNvPr id="70" name="Group 112"/>
          <p:cNvGrpSpPr>
            <a:grpSpLocks noChangeAspect="1"/>
          </p:cNvGrpSpPr>
          <p:nvPr/>
        </p:nvGrpSpPr>
        <p:grpSpPr>
          <a:xfrm>
            <a:off x="5426038" y="4680905"/>
            <a:ext cx="635336" cy="635336"/>
            <a:chOff x="1563866" y="3369910"/>
            <a:chExt cx="994581" cy="994581"/>
          </a:xfrm>
        </p:grpSpPr>
        <p:grpSp>
          <p:nvGrpSpPr>
            <p:cNvPr id="71" name="Group 131"/>
            <p:cNvGrpSpPr>
              <a:grpSpLocks noChangeAspect="1"/>
            </p:cNvGrpSpPr>
            <p:nvPr/>
          </p:nvGrpSpPr>
          <p:grpSpPr bwMode="gray">
            <a:xfrm>
              <a:off x="1563866" y="3369910"/>
              <a:ext cx="994581" cy="994581"/>
              <a:chOff x="4814888" y="1222375"/>
              <a:chExt cx="828675" cy="828675"/>
            </a:xfrm>
          </p:grpSpPr>
          <p:sp>
            <p:nvSpPr>
              <p:cNvPr id="73" name="AutoShape 13"/>
              <p:cNvSpPr>
                <a:spLocks noChangeAspect="1" noChangeArrowheads="1" noTextEdit="1"/>
              </p:cNvSpPr>
              <p:nvPr/>
            </p:nvSpPr>
            <p:spPr bwMode="gray">
              <a:xfrm>
                <a:off x="4814888" y="1222375"/>
                <a:ext cx="828675" cy="8286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4" name="Freeform 15"/>
              <p:cNvSpPr>
                <a:spLocks/>
              </p:cNvSpPr>
              <p:nvPr/>
            </p:nvSpPr>
            <p:spPr bwMode="gray">
              <a:xfrm>
                <a:off x="4956176" y="1600200"/>
                <a:ext cx="250825" cy="339725"/>
              </a:xfrm>
              <a:custGeom>
                <a:avLst/>
                <a:gdLst>
                  <a:gd name="T0" fmla="*/ 183 w 439"/>
                  <a:gd name="T1" fmla="*/ 290 h 580"/>
                  <a:gd name="T2" fmla="*/ 214 w 439"/>
                  <a:gd name="T3" fmla="*/ 259 h 580"/>
                  <a:gd name="T4" fmla="*/ 439 w 439"/>
                  <a:gd name="T5" fmla="*/ 259 h 580"/>
                  <a:gd name="T6" fmla="*/ 295 w 439"/>
                  <a:gd name="T7" fmla="*/ 0 h 580"/>
                  <a:gd name="T8" fmla="*/ 189 w 439"/>
                  <a:gd name="T9" fmla="*/ 22 h 580"/>
                  <a:gd name="T10" fmla="*/ 132 w 439"/>
                  <a:gd name="T11" fmla="*/ 76 h 580"/>
                  <a:gd name="T12" fmla="*/ 6 w 439"/>
                  <a:gd name="T13" fmla="*/ 486 h 580"/>
                  <a:gd name="T14" fmla="*/ 19 w 439"/>
                  <a:gd name="T15" fmla="*/ 551 h 580"/>
                  <a:gd name="T16" fmla="*/ 78 w 439"/>
                  <a:gd name="T17" fmla="*/ 580 h 580"/>
                  <a:gd name="T18" fmla="*/ 184 w 439"/>
                  <a:gd name="T19" fmla="*/ 580 h 580"/>
                  <a:gd name="T20" fmla="*/ 183 w 439"/>
                  <a:gd name="T21" fmla="*/ 290 h 580"/>
                  <a:gd name="T22" fmla="*/ 183 w 439"/>
                  <a:gd name="T23" fmla="*/ 290 h 5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39" h="580">
                    <a:moveTo>
                      <a:pt x="183" y="290"/>
                    </a:moveTo>
                    <a:lnTo>
                      <a:pt x="214" y="259"/>
                    </a:lnTo>
                    <a:lnTo>
                      <a:pt x="439" y="259"/>
                    </a:lnTo>
                    <a:lnTo>
                      <a:pt x="295" y="0"/>
                    </a:lnTo>
                    <a:lnTo>
                      <a:pt x="189" y="22"/>
                    </a:lnTo>
                    <a:cubicBezTo>
                      <a:pt x="162" y="27"/>
                      <a:pt x="140" y="48"/>
                      <a:pt x="132" y="76"/>
                    </a:cubicBezTo>
                    <a:lnTo>
                      <a:pt x="6" y="486"/>
                    </a:lnTo>
                    <a:cubicBezTo>
                      <a:pt x="0" y="509"/>
                      <a:pt x="5" y="532"/>
                      <a:pt x="19" y="551"/>
                    </a:cubicBezTo>
                    <a:cubicBezTo>
                      <a:pt x="34" y="569"/>
                      <a:pt x="55" y="580"/>
                      <a:pt x="78" y="580"/>
                    </a:cubicBezTo>
                    <a:lnTo>
                      <a:pt x="184" y="580"/>
                    </a:lnTo>
                    <a:lnTo>
                      <a:pt x="183" y="290"/>
                    </a:lnTo>
                    <a:lnTo>
                      <a:pt x="183" y="290"/>
                    </a:lnTo>
                    <a:close/>
                  </a:path>
                </a:pathLst>
              </a:custGeom>
              <a:solidFill>
                <a:srgbClr val="4D4D4D"/>
              </a:solidFill>
              <a:ln w="0">
                <a:noFill/>
                <a:prstDash val="solid"/>
                <a:round/>
                <a:headEnd/>
                <a:tailEnd/>
              </a:ln>
              <a:extLst>
                <a:ext uri="{91240B29-F687-4F45-9708-019B960494DF}">
                  <a14:hiddenLine xmlns:a14="http://schemas.microsoft.com/office/drawing/2010/main"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5" name="Freeform 16"/>
              <p:cNvSpPr>
                <a:spLocks/>
              </p:cNvSpPr>
              <p:nvPr/>
            </p:nvSpPr>
            <p:spPr bwMode="gray">
              <a:xfrm>
                <a:off x="5229226" y="1600200"/>
                <a:ext cx="252413" cy="339725"/>
              </a:xfrm>
              <a:custGeom>
                <a:avLst/>
                <a:gdLst>
                  <a:gd name="T0" fmla="*/ 433 w 439"/>
                  <a:gd name="T1" fmla="*/ 485 h 579"/>
                  <a:gd name="T2" fmla="*/ 307 w 439"/>
                  <a:gd name="T3" fmla="*/ 75 h 579"/>
                  <a:gd name="T4" fmla="*/ 249 w 439"/>
                  <a:gd name="T5" fmla="*/ 20 h 579"/>
                  <a:gd name="T6" fmla="*/ 143 w 439"/>
                  <a:gd name="T7" fmla="*/ 0 h 579"/>
                  <a:gd name="T8" fmla="*/ 0 w 439"/>
                  <a:gd name="T9" fmla="*/ 258 h 579"/>
                  <a:gd name="T10" fmla="*/ 242 w 439"/>
                  <a:gd name="T11" fmla="*/ 258 h 579"/>
                  <a:gd name="T12" fmla="*/ 273 w 439"/>
                  <a:gd name="T13" fmla="*/ 289 h 579"/>
                  <a:gd name="T14" fmla="*/ 273 w 439"/>
                  <a:gd name="T15" fmla="*/ 579 h 579"/>
                  <a:gd name="T16" fmla="*/ 361 w 439"/>
                  <a:gd name="T17" fmla="*/ 579 h 579"/>
                  <a:gd name="T18" fmla="*/ 420 w 439"/>
                  <a:gd name="T19" fmla="*/ 550 h 579"/>
                  <a:gd name="T20" fmla="*/ 433 w 439"/>
                  <a:gd name="T21" fmla="*/ 485 h 5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39" h="579">
                    <a:moveTo>
                      <a:pt x="433" y="485"/>
                    </a:moveTo>
                    <a:lnTo>
                      <a:pt x="307" y="75"/>
                    </a:lnTo>
                    <a:cubicBezTo>
                      <a:pt x="299" y="47"/>
                      <a:pt x="277" y="26"/>
                      <a:pt x="249" y="20"/>
                    </a:cubicBezTo>
                    <a:lnTo>
                      <a:pt x="143" y="0"/>
                    </a:lnTo>
                    <a:lnTo>
                      <a:pt x="0" y="258"/>
                    </a:lnTo>
                    <a:lnTo>
                      <a:pt x="242" y="258"/>
                    </a:lnTo>
                    <a:lnTo>
                      <a:pt x="273" y="289"/>
                    </a:lnTo>
                    <a:lnTo>
                      <a:pt x="273" y="579"/>
                    </a:lnTo>
                    <a:lnTo>
                      <a:pt x="361" y="579"/>
                    </a:lnTo>
                    <a:cubicBezTo>
                      <a:pt x="384" y="579"/>
                      <a:pt x="406" y="568"/>
                      <a:pt x="420" y="550"/>
                    </a:cubicBezTo>
                    <a:cubicBezTo>
                      <a:pt x="434" y="531"/>
                      <a:pt x="439" y="508"/>
                      <a:pt x="433" y="485"/>
                    </a:cubicBezTo>
                    <a:close/>
                  </a:path>
                </a:pathLst>
              </a:custGeom>
              <a:solidFill>
                <a:srgbClr val="4D4D4D"/>
              </a:solidFill>
              <a:ln w="0">
                <a:noFill/>
                <a:prstDash val="solid"/>
                <a:round/>
                <a:headEnd/>
                <a:tailEnd/>
              </a:ln>
              <a:extLst>
                <a:ext uri="{91240B29-F687-4F45-9708-019B960494DF}">
                  <a14:hiddenLine xmlns:a14="http://schemas.microsoft.com/office/drawing/2010/main"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6" name="Freeform 17"/>
              <p:cNvSpPr>
                <a:spLocks/>
              </p:cNvSpPr>
              <p:nvPr/>
            </p:nvSpPr>
            <p:spPr bwMode="gray">
              <a:xfrm>
                <a:off x="5091113" y="1787525"/>
                <a:ext cx="258763" cy="152400"/>
              </a:xfrm>
              <a:custGeom>
                <a:avLst/>
                <a:gdLst>
                  <a:gd name="T0" fmla="*/ 0 w 163"/>
                  <a:gd name="T1" fmla="*/ 96 h 96"/>
                  <a:gd name="T2" fmla="*/ 160 w 163"/>
                  <a:gd name="T3" fmla="*/ 96 h 96"/>
                  <a:gd name="T4" fmla="*/ 160 w 163"/>
                  <a:gd name="T5" fmla="*/ 96 h 96"/>
                  <a:gd name="T6" fmla="*/ 163 w 163"/>
                  <a:gd name="T7" fmla="*/ 96 h 96"/>
                  <a:gd name="T8" fmla="*/ 163 w 163"/>
                  <a:gd name="T9" fmla="*/ 0 h 96"/>
                  <a:gd name="T10" fmla="*/ 3 w 163"/>
                  <a:gd name="T11" fmla="*/ 0 h 96"/>
                  <a:gd name="T12" fmla="*/ 3 w 163"/>
                  <a:gd name="T13" fmla="*/ 96 h 96"/>
                  <a:gd name="T14" fmla="*/ 0 w 163"/>
                  <a:gd name="T15" fmla="*/ 96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3" h="96">
                    <a:moveTo>
                      <a:pt x="0" y="96"/>
                    </a:moveTo>
                    <a:lnTo>
                      <a:pt x="160" y="96"/>
                    </a:lnTo>
                    <a:lnTo>
                      <a:pt x="160" y="96"/>
                    </a:lnTo>
                    <a:lnTo>
                      <a:pt x="163" y="96"/>
                    </a:lnTo>
                    <a:lnTo>
                      <a:pt x="163" y="0"/>
                    </a:lnTo>
                    <a:lnTo>
                      <a:pt x="3" y="0"/>
                    </a:lnTo>
                    <a:lnTo>
                      <a:pt x="3" y="96"/>
                    </a:lnTo>
                    <a:lnTo>
                      <a:pt x="0" y="96"/>
                    </a:ln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7" name="Rectangle 18"/>
              <p:cNvSpPr>
                <a:spLocks noChangeArrowheads="1"/>
              </p:cNvSpPr>
              <p:nvPr/>
            </p:nvSpPr>
            <p:spPr bwMode="gray">
              <a:xfrm>
                <a:off x="5026026" y="1955800"/>
                <a:ext cx="385763" cy="31750"/>
              </a:xfrm>
              <a:prstGeom prst="rect">
                <a:avLst/>
              </a:prstGeom>
              <a:solidFill>
                <a:srgbClr val="4D4D4D"/>
              </a:solidFill>
              <a:ln w="0">
                <a:noFill/>
                <a:prstDash val="solid"/>
                <a:miter lim="800000"/>
                <a:headEnd/>
                <a:tailEnd/>
              </a:ln>
              <a:extLst>
                <a:ext uri="{91240B29-F687-4F45-9708-019B960494DF}">
                  <a14:hiddenLine xmlns:a14="http://schemas.microsoft.com/office/drawing/2010/main" w="0">
                    <a:solidFill>
                      <a:srgbClr val="000000"/>
                    </a:solidFill>
                    <a:prstDash val="solid"/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8" name="Freeform 19"/>
              <p:cNvSpPr>
                <a:spLocks noEditPoints="1"/>
              </p:cNvSpPr>
              <p:nvPr/>
            </p:nvSpPr>
            <p:spPr bwMode="gray">
              <a:xfrm>
                <a:off x="5073651" y="1284288"/>
                <a:ext cx="287338" cy="346075"/>
              </a:xfrm>
              <a:custGeom>
                <a:avLst/>
                <a:gdLst>
                  <a:gd name="T0" fmla="*/ 13 w 501"/>
                  <a:gd name="T1" fmla="*/ 358 h 591"/>
                  <a:gd name="T2" fmla="*/ 17 w 501"/>
                  <a:gd name="T3" fmla="*/ 368 h 591"/>
                  <a:gd name="T4" fmla="*/ 37 w 501"/>
                  <a:gd name="T5" fmla="*/ 402 h 591"/>
                  <a:gd name="T6" fmla="*/ 252 w 501"/>
                  <a:gd name="T7" fmla="*/ 590 h 591"/>
                  <a:gd name="T8" fmla="*/ 465 w 501"/>
                  <a:gd name="T9" fmla="*/ 401 h 591"/>
                  <a:gd name="T10" fmla="*/ 484 w 501"/>
                  <a:gd name="T11" fmla="*/ 366 h 591"/>
                  <a:gd name="T12" fmla="*/ 488 w 501"/>
                  <a:gd name="T13" fmla="*/ 356 h 591"/>
                  <a:gd name="T14" fmla="*/ 479 w 501"/>
                  <a:gd name="T15" fmla="*/ 288 h 591"/>
                  <a:gd name="T16" fmla="*/ 479 w 501"/>
                  <a:gd name="T17" fmla="*/ 286 h 591"/>
                  <a:gd name="T18" fmla="*/ 250 w 501"/>
                  <a:gd name="T19" fmla="*/ 1 h 591"/>
                  <a:gd name="T20" fmla="*/ 22 w 501"/>
                  <a:gd name="T21" fmla="*/ 287 h 591"/>
                  <a:gd name="T22" fmla="*/ 22 w 501"/>
                  <a:gd name="T23" fmla="*/ 290 h 591"/>
                  <a:gd name="T24" fmla="*/ 13 w 501"/>
                  <a:gd name="T25" fmla="*/ 358 h 591"/>
                  <a:gd name="T26" fmla="*/ 43 w 501"/>
                  <a:gd name="T27" fmla="*/ 313 h 591"/>
                  <a:gd name="T28" fmla="*/ 43 w 501"/>
                  <a:gd name="T29" fmla="*/ 313 h 591"/>
                  <a:gd name="T30" fmla="*/ 51 w 501"/>
                  <a:gd name="T31" fmla="*/ 306 h 591"/>
                  <a:gd name="T32" fmla="*/ 88 w 501"/>
                  <a:gd name="T33" fmla="*/ 312 h 591"/>
                  <a:gd name="T34" fmla="*/ 96 w 501"/>
                  <a:gd name="T35" fmla="*/ 307 h 591"/>
                  <a:gd name="T36" fmla="*/ 119 w 501"/>
                  <a:gd name="T37" fmla="*/ 254 h 591"/>
                  <a:gd name="T38" fmla="*/ 323 w 501"/>
                  <a:gd name="T39" fmla="*/ 282 h 591"/>
                  <a:gd name="T40" fmla="*/ 382 w 501"/>
                  <a:gd name="T41" fmla="*/ 275 h 591"/>
                  <a:gd name="T42" fmla="*/ 397 w 501"/>
                  <a:gd name="T43" fmla="*/ 311 h 591"/>
                  <a:gd name="T44" fmla="*/ 404 w 501"/>
                  <a:gd name="T45" fmla="*/ 316 h 591"/>
                  <a:gd name="T46" fmla="*/ 406 w 501"/>
                  <a:gd name="T47" fmla="*/ 315 h 591"/>
                  <a:gd name="T48" fmla="*/ 449 w 501"/>
                  <a:gd name="T49" fmla="*/ 303 h 591"/>
                  <a:gd name="T50" fmla="*/ 458 w 501"/>
                  <a:gd name="T51" fmla="*/ 312 h 591"/>
                  <a:gd name="T52" fmla="*/ 459 w 501"/>
                  <a:gd name="T53" fmla="*/ 312 h 591"/>
                  <a:gd name="T54" fmla="*/ 460 w 501"/>
                  <a:gd name="T55" fmla="*/ 343 h 591"/>
                  <a:gd name="T56" fmla="*/ 455 w 501"/>
                  <a:gd name="T57" fmla="*/ 355 h 591"/>
                  <a:gd name="T58" fmla="*/ 444 w 501"/>
                  <a:gd name="T59" fmla="*/ 378 h 591"/>
                  <a:gd name="T60" fmla="*/ 437 w 501"/>
                  <a:gd name="T61" fmla="*/ 387 h 591"/>
                  <a:gd name="T62" fmla="*/ 252 w 501"/>
                  <a:gd name="T63" fmla="*/ 559 h 591"/>
                  <a:gd name="T64" fmla="*/ 65 w 501"/>
                  <a:gd name="T65" fmla="*/ 388 h 591"/>
                  <a:gd name="T66" fmla="*/ 58 w 501"/>
                  <a:gd name="T67" fmla="*/ 379 h 591"/>
                  <a:gd name="T68" fmla="*/ 46 w 501"/>
                  <a:gd name="T69" fmla="*/ 356 h 591"/>
                  <a:gd name="T70" fmla="*/ 41 w 501"/>
                  <a:gd name="T71" fmla="*/ 344 h 591"/>
                  <a:gd name="T72" fmla="*/ 43 w 501"/>
                  <a:gd name="T73" fmla="*/ 313 h 5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501" h="591">
                    <a:moveTo>
                      <a:pt x="13" y="358"/>
                    </a:moveTo>
                    <a:cubicBezTo>
                      <a:pt x="14" y="360"/>
                      <a:pt x="16" y="364"/>
                      <a:pt x="17" y="368"/>
                    </a:cubicBezTo>
                    <a:cubicBezTo>
                      <a:pt x="24" y="384"/>
                      <a:pt x="29" y="395"/>
                      <a:pt x="37" y="402"/>
                    </a:cubicBezTo>
                    <a:cubicBezTo>
                      <a:pt x="71" y="513"/>
                      <a:pt x="159" y="591"/>
                      <a:pt x="252" y="590"/>
                    </a:cubicBezTo>
                    <a:cubicBezTo>
                      <a:pt x="346" y="590"/>
                      <a:pt x="433" y="512"/>
                      <a:pt x="465" y="401"/>
                    </a:cubicBezTo>
                    <a:cubicBezTo>
                      <a:pt x="473" y="394"/>
                      <a:pt x="478" y="382"/>
                      <a:pt x="484" y="366"/>
                    </a:cubicBezTo>
                    <a:cubicBezTo>
                      <a:pt x="486" y="362"/>
                      <a:pt x="487" y="359"/>
                      <a:pt x="488" y="356"/>
                    </a:cubicBezTo>
                    <a:cubicBezTo>
                      <a:pt x="501" y="330"/>
                      <a:pt x="497" y="302"/>
                      <a:pt x="479" y="288"/>
                    </a:cubicBezTo>
                    <a:lnTo>
                      <a:pt x="479" y="286"/>
                    </a:lnTo>
                    <a:cubicBezTo>
                      <a:pt x="479" y="147"/>
                      <a:pt x="460" y="0"/>
                      <a:pt x="250" y="1"/>
                    </a:cubicBezTo>
                    <a:cubicBezTo>
                      <a:pt x="39" y="1"/>
                      <a:pt x="21" y="143"/>
                      <a:pt x="22" y="287"/>
                    </a:cubicBezTo>
                    <a:cubicBezTo>
                      <a:pt x="22" y="288"/>
                      <a:pt x="22" y="289"/>
                      <a:pt x="22" y="290"/>
                    </a:cubicBezTo>
                    <a:cubicBezTo>
                      <a:pt x="4" y="304"/>
                      <a:pt x="0" y="332"/>
                      <a:pt x="13" y="358"/>
                    </a:cubicBezTo>
                    <a:close/>
                    <a:moveTo>
                      <a:pt x="43" y="313"/>
                    </a:moveTo>
                    <a:lnTo>
                      <a:pt x="43" y="313"/>
                    </a:lnTo>
                    <a:cubicBezTo>
                      <a:pt x="47" y="312"/>
                      <a:pt x="49" y="309"/>
                      <a:pt x="51" y="306"/>
                    </a:cubicBezTo>
                    <a:lnTo>
                      <a:pt x="88" y="312"/>
                    </a:lnTo>
                    <a:cubicBezTo>
                      <a:pt x="91" y="312"/>
                      <a:pt x="95" y="311"/>
                      <a:pt x="96" y="307"/>
                    </a:cubicBezTo>
                    <a:lnTo>
                      <a:pt x="119" y="254"/>
                    </a:lnTo>
                    <a:cubicBezTo>
                      <a:pt x="146" y="260"/>
                      <a:pt x="245" y="283"/>
                      <a:pt x="323" y="282"/>
                    </a:cubicBezTo>
                    <a:cubicBezTo>
                      <a:pt x="347" y="282"/>
                      <a:pt x="367" y="280"/>
                      <a:pt x="382" y="275"/>
                    </a:cubicBezTo>
                    <a:lnTo>
                      <a:pt x="397" y="311"/>
                    </a:lnTo>
                    <a:cubicBezTo>
                      <a:pt x="398" y="314"/>
                      <a:pt x="401" y="316"/>
                      <a:pt x="404" y="316"/>
                    </a:cubicBezTo>
                    <a:cubicBezTo>
                      <a:pt x="405" y="316"/>
                      <a:pt x="406" y="315"/>
                      <a:pt x="406" y="315"/>
                    </a:cubicBezTo>
                    <a:lnTo>
                      <a:pt x="449" y="303"/>
                    </a:lnTo>
                    <a:cubicBezTo>
                      <a:pt x="451" y="307"/>
                      <a:pt x="454" y="310"/>
                      <a:pt x="458" y="312"/>
                    </a:cubicBezTo>
                    <a:lnTo>
                      <a:pt x="459" y="312"/>
                    </a:lnTo>
                    <a:cubicBezTo>
                      <a:pt x="465" y="315"/>
                      <a:pt x="467" y="329"/>
                      <a:pt x="460" y="343"/>
                    </a:cubicBezTo>
                    <a:cubicBezTo>
                      <a:pt x="459" y="346"/>
                      <a:pt x="457" y="350"/>
                      <a:pt x="455" y="355"/>
                    </a:cubicBezTo>
                    <a:cubicBezTo>
                      <a:pt x="453" y="361"/>
                      <a:pt x="447" y="374"/>
                      <a:pt x="444" y="378"/>
                    </a:cubicBezTo>
                    <a:cubicBezTo>
                      <a:pt x="440" y="380"/>
                      <a:pt x="438" y="383"/>
                      <a:pt x="437" y="387"/>
                    </a:cubicBezTo>
                    <a:cubicBezTo>
                      <a:pt x="409" y="488"/>
                      <a:pt x="333" y="559"/>
                      <a:pt x="252" y="559"/>
                    </a:cubicBezTo>
                    <a:cubicBezTo>
                      <a:pt x="171" y="559"/>
                      <a:pt x="94" y="489"/>
                      <a:pt x="65" y="388"/>
                    </a:cubicBezTo>
                    <a:cubicBezTo>
                      <a:pt x="64" y="384"/>
                      <a:pt x="61" y="381"/>
                      <a:pt x="58" y="379"/>
                    </a:cubicBezTo>
                    <a:cubicBezTo>
                      <a:pt x="54" y="376"/>
                      <a:pt x="49" y="362"/>
                      <a:pt x="46" y="356"/>
                    </a:cubicBezTo>
                    <a:cubicBezTo>
                      <a:pt x="44" y="351"/>
                      <a:pt x="43" y="347"/>
                      <a:pt x="41" y="344"/>
                    </a:cubicBezTo>
                    <a:cubicBezTo>
                      <a:pt x="34" y="330"/>
                      <a:pt x="36" y="316"/>
                      <a:pt x="43" y="313"/>
                    </a:cubicBezTo>
                    <a:close/>
                  </a:path>
                </a:pathLst>
              </a:custGeom>
              <a:solidFill>
                <a:srgbClr val="4D4D4D"/>
              </a:solidFill>
              <a:ln w="0">
                <a:noFill/>
                <a:prstDash val="solid"/>
                <a:round/>
                <a:headEnd/>
                <a:tailEnd/>
              </a:ln>
              <a:extLst>
                <a:ext uri="{91240B29-F687-4F45-9708-019B960494DF}">
                  <a14:hiddenLine xmlns:a14="http://schemas.microsoft.com/office/drawing/2010/main"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pic>
          <p:nvPicPr>
            <p:cNvPr id="72" name="Picture 3" descr="C:\Users\rajarrv\AppData\Local\Microsoft\Windows\Temporary Internet Files\Content.Outlook\3CY2KM7L\B-No Background FORCE LOGO.png"/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919134" y="4095401"/>
              <a:ext cx="276515" cy="7896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79" name="TextBox 96"/>
          <p:cNvSpPr txBox="1"/>
          <p:nvPr/>
        </p:nvSpPr>
        <p:spPr bwMode="auto">
          <a:xfrm>
            <a:off x="5056703" y="5320989"/>
            <a:ext cx="1353622" cy="206444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2"/>
            </a:solidFill>
            <a:prstDash val="sysDot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lvl="0" fontAlgn="base">
              <a:defRPr sz="1600">
                <a:solidFill>
                  <a:srgbClr val="000000"/>
                </a:solidFill>
                <a:latin typeface="CorpoS" pitchFamily="2" charset="0"/>
              </a:defRPr>
            </a:lvl1pPr>
          </a:lstStyle>
          <a:p>
            <a:pPr algn="ctr"/>
            <a:r>
              <a:rPr lang="ja-JP" altLang="en-US" sz="1200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関連業務マネージャ</a:t>
            </a:r>
            <a:endParaRPr lang="en-US" sz="1200" dirty="0"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pic>
        <p:nvPicPr>
          <p:cNvPr id="80" name="図 7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66001" y="5010148"/>
            <a:ext cx="682250" cy="260463"/>
          </a:xfrm>
          <a:prstGeom prst="rect">
            <a:avLst/>
          </a:prstGeom>
        </p:spPr>
      </p:pic>
      <p:pic>
        <p:nvPicPr>
          <p:cNvPr id="81" name="図 8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09324" y="5038143"/>
            <a:ext cx="682250" cy="260463"/>
          </a:xfrm>
          <a:prstGeom prst="rect">
            <a:avLst/>
          </a:prstGeom>
        </p:spPr>
      </p:pic>
      <p:grpSp>
        <p:nvGrpSpPr>
          <p:cNvPr id="82" name="Group 112"/>
          <p:cNvGrpSpPr>
            <a:grpSpLocks noChangeAspect="1"/>
          </p:cNvGrpSpPr>
          <p:nvPr/>
        </p:nvGrpSpPr>
        <p:grpSpPr>
          <a:xfrm>
            <a:off x="7268637" y="4689156"/>
            <a:ext cx="635336" cy="635336"/>
            <a:chOff x="1563866" y="3369910"/>
            <a:chExt cx="994581" cy="994581"/>
          </a:xfrm>
        </p:grpSpPr>
        <p:grpSp>
          <p:nvGrpSpPr>
            <p:cNvPr id="83" name="Group 131"/>
            <p:cNvGrpSpPr>
              <a:grpSpLocks noChangeAspect="1"/>
            </p:cNvGrpSpPr>
            <p:nvPr/>
          </p:nvGrpSpPr>
          <p:grpSpPr bwMode="gray">
            <a:xfrm>
              <a:off x="1563866" y="3369910"/>
              <a:ext cx="994581" cy="994581"/>
              <a:chOff x="4814888" y="1222375"/>
              <a:chExt cx="828675" cy="828675"/>
            </a:xfrm>
          </p:grpSpPr>
          <p:sp>
            <p:nvSpPr>
              <p:cNvPr id="85" name="AutoShape 13"/>
              <p:cNvSpPr>
                <a:spLocks noChangeAspect="1" noChangeArrowheads="1" noTextEdit="1"/>
              </p:cNvSpPr>
              <p:nvPr/>
            </p:nvSpPr>
            <p:spPr bwMode="gray">
              <a:xfrm>
                <a:off x="4814888" y="1222375"/>
                <a:ext cx="828675" cy="8286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6" name="Freeform 15"/>
              <p:cNvSpPr>
                <a:spLocks/>
              </p:cNvSpPr>
              <p:nvPr/>
            </p:nvSpPr>
            <p:spPr bwMode="gray">
              <a:xfrm>
                <a:off x="4956176" y="1600200"/>
                <a:ext cx="250825" cy="339725"/>
              </a:xfrm>
              <a:custGeom>
                <a:avLst/>
                <a:gdLst>
                  <a:gd name="T0" fmla="*/ 183 w 439"/>
                  <a:gd name="T1" fmla="*/ 290 h 580"/>
                  <a:gd name="T2" fmla="*/ 214 w 439"/>
                  <a:gd name="T3" fmla="*/ 259 h 580"/>
                  <a:gd name="T4" fmla="*/ 439 w 439"/>
                  <a:gd name="T5" fmla="*/ 259 h 580"/>
                  <a:gd name="T6" fmla="*/ 295 w 439"/>
                  <a:gd name="T7" fmla="*/ 0 h 580"/>
                  <a:gd name="T8" fmla="*/ 189 w 439"/>
                  <a:gd name="T9" fmla="*/ 22 h 580"/>
                  <a:gd name="T10" fmla="*/ 132 w 439"/>
                  <a:gd name="T11" fmla="*/ 76 h 580"/>
                  <a:gd name="T12" fmla="*/ 6 w 439"/>
                  <a:gd name="T13" fmla="*/ 486 h 580"/>
                  <a:gd name="T14" fmla="*/ 19 w 439"/>
                  <a:gd name="T15" fmla="*/ 551 h 580"/>
                  <a:gd name="T16" fmla="*/ 78 w 439"/>
                  <a:gd name="T17" fmla="*/ 580 h 580"/>
                  <a:gd name="T18" fmla="*/ 184 w 439"/>
                  <a:gd name="T19" fmla="*/ 580 h 580"/>
                  <a:gd name="T20" fmla="*/ 183 w 439"/>
                  <a:gd name="T21" fmla="*/ 290 h 580"/>
                  <a:gd name="T22" fmla="*/ 183 w 439"/>
                  <a:gd name="T23" fmla="*/ 290 h 5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39" h="580">
                    <a:moveTo>
                      <a:pt x="183" y="290"/>
                    </a:moveTo>
                    <a:lnTo>
                      <a:pt x="214" y="259"/>
                    </a:lnTo>
                    <a:lnTo>
                      <a:pt x="439" y="259"/>
                    </a:lnTo>
                    <a:lnTo>
                      <a:pt x="295" y="0"/>
                    </a:lnTo>
                    <a:lnTo>
                      <a:pt x="189" y="22"/>
                    </a:lnTo>
                    <a:cubicBezTo>
                      <a:pt x="162" y="27"/>
                      <a:pt x="140" y="48"/>
                      <a:pt x="132" y="76"/>
                    </a:cubicBezTo>
                    <a:lnTo>
                      <a:pt x="6" y="486"/>
                    </a:lnTo>
                    <a:cubicBezTo>
                      <a:pt x="0" y="509"/>
                      <a:pt x="5" y="532"/>
                      <a:pt x="19" y="551"/>
                    </a:cubicBezTo>
                    <a:cubicBezTo>
                      <a:pt x="34" y="569"/>
                      <a:pt x="55" y="580"/>
                      <a:pt x="78" y="580"/>
                    </a:cubicBezTo>
                    <a:lnTo>
                      <a:pt x="184" y="580"/>
                    </a:lnTo>
                    <a:lnTo>
                      <a:pt x="183" y="290"/>
                    </a:lnTo>
                    <a:lnTo>
                      <a:pt x="183" y="290"/>
                    </a:lnTo>
                    <a:close/>
                  </a:path>
                </a:pathLst>
              </a:custGeom>
              <a:solidFill>
                <a:srgbClr val="4D4D4D"/>
              </a:solidFill>
              <a:ln w="0">
                <a:noFill/>
                <a:prstDash val="solid"/>
                <a:round/>
                <a:headEnd/>
                <a:tailEnd/>
              </a:ln>
              <a:extLst>
                <a:ext uri="{91240B29-F687-4F45-9708-019B960494DF}">
                  <a14:hiddenLine xmlns:a14="http://schemas.microsoft.com/office/drawing/2010/main"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7" name="Freeform 16"/>
              <p:cNvSpPr>
                <a:spLocks/>
              </p:cNvSpPr>
              <p:nvPr/>
            </p:nvSpPr>
            <p:spPr bwMode="gray">
              <a:xfrm>
                <a:off x="5229226" y="1600200"/>
                <a:ext cx="252413" cy="339725"/>
              </a:xfrm>
              <a:custGeom>
                <a:avLst/>
                <a:gdLst>
                  <a:gd name="T0" fmla="*/ 433 w 439"/>
                  <a:gd name="T1" fmla="*/ 485 h 579"/>
                  <a:gd name="T2" fmla="*/ 307 w 439"/>
                  <a:gd name="T3" fmla="*/ 75 h 579"/>
                  <a:gd name="T4" fmla="*/ 249 w 439"/>
                  <a:gd name="T5" fmla="*/ 20 h 579"/>
                  <a:gd name="T6" fmla="*/ 143 w 439"/>
                  <a:gd name="T7" fmla="*/ 0 h 579"/>
                  <a:gd name="T8" fmla="*/ 0 w 439"/>
                  <a:gd name="T9" fmla="*/ 258 h 579"/>
                  <a:gd name="T10" fmla="*/ 242 w 439"/>
                  <a:gd name="T11" fmla="*/ 258 h 579"/>
                  <a:gd name="T12" fmla="*/ 273 w 439"/>
                  <a:gd name="T13" fmla="*/ 289 h 579"/>
                  <a:gd name="T14" fmla="*/ 273 w 439"/>
                  <a:gd name="T15" fmla="*/ 579 h 579"/>
                  <a:gd name="T16" fmla="*/ 361 w 439"/>
                  <a:gd name="T17" fmla="*/ 579 h 579"/>
                  <a:gd name="T18" fmla="*/ 420 w 439"/>
                  <a:gd name="T19" fmla="*/ 550 h 579"/>
                  <a:gd name="T20" fmla="*/ 433 w 439"/>
                  <a:gd name="T21" fmla="*/ 485 h 5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39" h="579">
                    <a:moveTo>
                      <a:pt x="433" y="485"/>
                    </a:moveTo>
                    <a:lnTo>
                      <a:pt x="307" y="75"/>
                    </a:lnTo>
                    <a:cubicBezTo>
                      <a:pt x="299" y="47"/>
                      <a:pt x="277" y="26"/>
                      <a:pt x="249" y="20"/>
                    </a:cubicBezTo>
                    <a:lnTo>
                      <a:pt x="143" y="0"/>
                    </a:lnTo>
                    <a:lnTo>
                      <a:pt x="0" y="258"/>
                    </a:lnTo>
                    <a:lnTo>
                      <a:pt x="242" y="258"/>
                    </a:lnTo>
                    <a:lnTo>
                      <a:pt x="273" y="289"/>
                    </a:lnTo>
                    <a:lnTo>
                      <a:pt x="273" y="579"/>
                    </a:lnTo>
                    <a:lnTo>
                      <a:pt x="361" y="579"/>
                    </a:lnTo>
                    <a:cubicBezTo>
                      <a:pt x="384" y="579"/>
                      <a:pt x="406" y="568"/>
                      <a:pt x="420" y="550"/>
                    </a:cubicBezTo>
                    <a:cubicBezTo>
                      <a:pt x="434" y="531"/>
                      <a:pt x="439" y="508"/>
                      <a:pt x="433" y="485"/>
                    </a:cubicBezTo>
                    <a:close/>
                  </a:path>
                </a:pathLst>
              </a:custGeom>
              <a:solidFill>
                <a:srgbClr val="4D4D4D"/>
              </a:solidFill>
              <a:ln w="0">
                <a:noFill/>
                <a:prstDash val="solid"/>
                <a:round/>
                <a:headEnd/>
                <a:tailEnd/>
              </a:ln>
              <a:extLst>
                <a:ext uri="{91240B29-F687-4F45-9708-019B960494DF}">
                  <a14:hiddenLine xmlns:a14="http://schemas.microsoft.com/office/drawing/2010/main"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8" name="Freeform 17"/>
              <p:cNvSpPr>
                <a:spLocks/>
              </p:cNvSpPr>
              <p:nvPr/>
            </p:nvSpPr>
            <p:spPr bwMode="gray">
              <a:xfrm>
                <a:off x="5091113" y="1787525"/>
                <a:ext cx="258763" cy="152400"/>
              </a:xfrm>
              <a:custGeom>
                <a:avLst/>
                <a:gdLst>
                  <a:gd name="T0" fmla="*/ 0 w 163"/>
                  <a:gd name="T1" fmla="*/ 96 h 96"/>
                  <a:gd name="T2" fmla="*/ 160 w 163"/>
                  <a:gd name="T3" fmla="*/ 96 h 96"/>
                  <a:gd name="T4" fmla="*/ 160 w 163"/>
                  <a:gd name="T5" fmla="*/ 96 h 96"/>
                  <a:gd name="T6" fmla="*/ 163 w 163"/>
                  <a:gd name="T7" fmla="*/ 96 h 96"/>
                  <a:gd name="T8" fmla="*/ 163 w 163"/>
                  <a:gd name="T9" fmla="*/ 0 h 96"/>
                  <a:gd name="T10" fmla="*/ 3 w 163"/>
                  <a:gd name="T11" fmla="*/ 0 h 96"/>
                  <a:gd name="T12" fmla="*/ 3 w 163"/>
                  <a:gd name="T13" fmla="*/ 96 h 96"/>
                  <a:gd name="T14" fmla="*/ 0 w 163"/>
                  <a:gd name="T15" fmla="*/ 96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3" h="96">
                    <a:moveTo>
                      <a:pt x="0" y="96"/>
                    </a:moveTo>
                    <a:lnTo>
                      <a:pt x="160" y="96"/>
                    </a:lnTo>
                    <a:lnTo>
                      <a:pt x="160" y="96"/>
                    </a:lnTo>
                    <a:lnTo>
                      <a:pt x="163" y="96"/>
                    </a:lnTo>
                    <a:lnTo>
                      <a:pt x="163" y="0"/>
                    </a:lnTo>
                    <a:lnTo>
                      <a:pt x="3" y="0"/>
                    </a:lnTo>
                    <a:lnTo>
                      <a:pt x="3" y="96"/>
                    </a:lnTo>
                    <a:lnTo>
                      <a:pt x="0" y="96"/>
                    </a:ln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9" name="Rectangle 18"/>
              <p:cNvSpPr>
                <a:spLocks noChangeArrowheads="1"/>
              </p:cNvSpPr>
              <p:nvPr/>
            </p:nvSpPr>
            <p:spPr bwMode="gray">
              <a:xfrm>
                <a:off x="5026026" y="1955800"/>
                <a:ext cx="385763" cy="31750"/>
              </a:xfrm>
              <a:prstGeom prst="rect">
                <a:avLst/>
              </a:prstGeom>
              <a:solidFill>
                <a:srgbClr val="4D4D4D"/>
              </a:solidFill>
              <a:ln w="0">
                <a:noFill/>
                <a:prstDash val="solid"/>
                <a:miter lim="800000"/>
                <a:headEnd/>
                <a:tailEnd/>
              </a:ln>
              <a:extLst>
                <a:ext uri="{91240B29-F687-4F45-9708-019B960494DF}">
                  <a14:hiddenLine xmlns:a14="http://schemas.microsoft.com/office/drawing/2010/main" w="0">
                    <a:solidFill>
                      <a:srgbClr val="000000"/>
                    </a:solidFill>
                    <a:prstDash val="solid"/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0" name="Freeform 19"/>
              <p:cNvSpPr>
                <a:spLocks noEditPoints="1"/>
              </p:cNvSpPr>
              <p:nvPr/>
            </p:nvSpPr>
            <p:spPr bwMode="gray">
              <a:xfrm>
                <a:off x="5073651" y="1284288"/>
                <a:ext cx="287338" cy="346075"/>
              </a:xfrm>
              <a:custGeom>
                <a:avLst/>
                <a:gdLst>
                  <a:gd name="T0" fmla="*/ 13 w 501"/>
                  <a:gd name="T1" fmla="*/ 358 h 591"/>
                  <a:gd name="T2" fmla="*/ 17 w 501"/>
                  <a:gd name="T3" fmla="*/ 368 h 591"/>
                  <a:gd name="T4" fmla="*/ 37 w 501"/>
                  <a:gd name="T5" fmla="*/ 402 h 591"/>
                  <a:gd name="T6" fmla="*/ 252 w 501"/>
                  <a:gd name="T7" fmla="*/ 590 h 591"/>
                  <a:gd name="T8" fmla="*/ 465 w 501"/>
                  <a:gd name="T9" fmla="*/ 401 h 591"/>
                  <a:gd name="T10" fmla="*/ 484 w 501"/>
                  <a:gd name="T11" fmla="*/ 366 h 591"/>
                  <a:gd name="T12" fmla="*/ 488 w 501"/>
                  <a:gd name="T13" fmla="*/ 356 h 591"/>
                  <a:gd name="T14" fmla="*/ 479 w 501"/>
                  <a:gd name="T15" fmla="*/ 288 h 591"/>
                  <a:gd name="T16" fmla="*/ 479 w 501"/>
                  <a:gd name="T17" fmla="*/ 286 h 591"/>
                  <a:gd name="T18" fmla="*/ 250 w 501"/>
                  <a:gd name="T19" fmla="*/ 1 h 591"/>
                  <a:gd name="T20" fmla="*/ 22 w 501"/>
                  <a:gd name="T21" fmla="*/ 287 h 591"/>
                  <a:gd name="T22" fmla="*/ 22 w 501"/>
                  <a:gd name="T23" fmla="*/ 290 h 591"/>
                  <a:gd name="T24" fmla="*/ 13 w 501"/>
                  <a:gd name="T25" fmla="*/ 358 h 591"/>
                  <a:gd name="T26" fmla="*/ 43 w 501"/>
                  <a:gd name="T27" fmla="*/ 313 h 591"/>
                  <a:gd name="T28" fmla="*/ 43 w 501"/>
                  <a:gd name="T29" fmla="*/ 313 h 591"/>
                  <a:gd name="T30" fmla="*/ 51 w 501"/>
                  <a:gd name="T31" fmla="*/ 306 h 591"/>
                  <a:gd name="T32" fmla="*/ 88 w 501"/>
                  <a:gd name="T33" fmla="*/ 312 h 591"/>
                  <a:gd name="T34" fmla="*/ 96 w 501"/>
                  <a:gd name="T35" fmla="*/ 307 h 591"/>
                  <a:gd name="T36" fmla="*/ 119 w 501"/>
                  <a:gd name="T37" fmla="*/ 254 h 591"/>
                  <a:gd name="T38" fmla="*/ 323 w 501"/>
                  <a:gd name="T39" fmla="*/ 282 h 591"/>
                  <a:gd name="T40" fmla="*/ 382 w 501"/>
                  <a:gd name="T41" fmla="*/ 275 h 591"/>
                  <a:gd name="T42" fmla="*/ 397 w 501"/>
                  <a:gd name="T43" fmla="*/ 311 h 591"/>
                  <a:gd name="T44" fmla="*/ 404 w 501"/>
                  <a:gd name="T45" fmla="*/ 316 h 591"/>
                  <a:gd name="T46" fmla="*/ 406 w 501"/>
                  <a:gd name="T47" fmla="*/ 315 h 591"/>
                  <a:gd name="T48" fmla="*/ 449 w 501"/>
                  <a:gd name="T49" fmla="*/ 303 h 591"/>
                  <a:gd name="T50" fmla="*/ 458 w 501"/>
                  <a:gd name="T51" fmla="*/ 312 h 591"/>
                  <a:gd name="T52" fmla="*/ 459 w 501"/>
                  <a:gd name="T53" fmla="*/ 312 h 591"/>
                  <a:gd name="T54" fmla="*/ 460 w 501"/>
                  <a:gd name="T55" fmla="*/ 343 h 591"/>
                  <a:gd name="T56" fmla="*/ 455 w 501"/>
                  <a:gd name="T57" fmla="*/ 355 h 591"/>
                  <a:gd name="T58" fmla="*/ 444 w 501"/>
                  <a:gd name="T59" fmla="*/ 378 h 591"/>
                  <a:gd name="T60" fmla="*/ 437 w 501"/>
                  <a:gd name="T61" fmla="*/ 387 h 591"/>
                  <a:gd name="T62" fmla="*/ 252 w 501"/>
                  <a:gd name="T63" fmla="*/ 559 h 591"/>
                  <a:gd name="T64" fmla="*/ 65 w 501"/>
                  <a:gd name="T65" fmla="*/ 388 h 591"/>
                  <a:gd name="T66" fmla="*/ 58 w 501"/>
                  <a:gd name="T67" fmla="*/ 379 h 591"/>
                  <a:gd name="T68" fmla="*/ 46 w 501"/>
                  <a:gd name="T69" fmla="*/ 356 h 591"/>
                  <a:gd name="T70" fmla="*/ 41 w 501"/>
                  <a:gd name="T71" fmla="*/ 344 h 591"/>
                  <a:gd name="T72" fmla="*/ 43 w 501"/>
                  <a:gd name="T73" fmla="*/ 313 h 5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501" h="591">
                    <a:moveTo>
                      <a:pt x="13" y="358"/>
                    </a:moveTo>
                    <a:cubicBezTo>
                      <a:pt x="14" y="360"/>
                      <a:pt x="16" y="364"/>
                      <a:pt x="17" y="368"/>
                    </a:cubicBezTo>
                    <a:cubicBezTo>
                      <a:pt x="24" y="384"/>
                      <a:pt x="29" y="395"/>
                      <a:pt x="37" y="402"/>
                    </a:cubicBezTo>
                    <a:cubicBezTo>
                      <a:pt x="71" y="513"/>
                      <a:pt x="159" y="591"/>
                      <a:pt x="252" y="590"/>
                    </a:cubicBezTo>
                    <a:cubicBezTo>
                      <a:pt x="346" y="590"/>
                      <a:pt x="433" y="512"/>
                      <a:pt x="465" y="401"/>
                    </a:cubicBezTo>
                    <a:cubicBezTo>
                      <a:pt x="473" y="394"/>
                      <a:pt x="478" y="382"/>
                      <a:pt x="484" y="366"/>
                    </a:cubicBezTo>
                    <a:cubicBezTo>
                      <a:pt x="486" y="362"/>
                      <a:pt x="487" y="359"/>
                      <a:pt x="488" y="356"/>
                    </a:cubicBezTo>
                    <a:cubicBezTo>
                      <a:pt x="501" y="330"/>
                      <a:pt x="497" y="302"/>
                      <a:pt x="479" y="288"/>
                    </a:cubicBezTo>
                    <a:lnTo>
                      <a:pt x="479" y="286"/>
                    </a:lnTo>
                    <a:cubicBezTo>
                      <a:pt x="479" y="147"/>
                      <a:pt x="460" y="0"/>
                      <a:pt x="250" y="1"/>
                    </a:cubicBezTo>
                    <a:cubicBezTo>
                      <a:pt x="39" y="1"/>
                      <a:pt x="21" y="143"/>
                      <a:pt x="22" y="287"/>
                    </a:cubicBezTo>
                    <a:cubicBezTo>
                      <a:pt x="22" y="288"/>
                      <a:pt x="22" y="289"/>
                      <a:pt x="22" y="290"/>
                    </a:cubicBezTo>
                    <a:cubicBezTo>
                      <a:pt x="4" y="304"/>
                      <a:pt x="0" y="332"/>
                      <a:pt x="13" y="358"/>
                    </a:cubicBezTo>
                    <a:close/>
                    <a:moveTo>
                      <a:pt x="43" y="313"/>
                    </a:moveTo>
                    <a:lnTo>
                      <a:pt x="43" y="313"/>
                    </a:lnTo>
                    <a:cubicBezTo>
                      <a:pt x="47" y="312"/>
                      <a:pt x="49" y="309"/>
                      <a:pt x="51" y="306"/>
                    </a:cubicBezTo>
                    <a:lnTo>
                      <a:pt x="88" y="312"/>
                    </a:lnTo>
                    <a:cubicBezTo>
                      <a:pt x="91" y="312"/>
                      <a:pt x="95" y="311"/>
                      <a:pt x="96" y="307"/>
                    </a:cubicBezTo>
                    <a:lnTo>
                      <a:pt x="119" y="254"/>
                    </a:lnTo>
                    <a:cubicBezTo>
                      <a:pt x="146" y="260"/>
                      <a:pt x="245" y="283"/>
                      <a:pt x="323" y="282"/>
                    </a:cubicBezTo>
                    <a:cubicBezTo>
                      <a:pt x="347" y="282"/>
                      <a:pt x="367" y="280"/>
                      <a:pt x="382" y="275"/>
                    </a:cubicBezTo>
                    <a:lnTo>
                      <a:pt x="397" y="311"/>
                    </a:lnTo>
                    <a:cubicBezTo>
                      <a:pt x="398" y="314"/>
                      <a:pt x="401" y="316"/>
                      <a:pt x="404" y="316"/>
                    </a:cubicBezTo>
                    <a:cubicBezTo>
                      <a:pt x="405" y="316"/>
                      <a:pt x="406" y="315"/>
                      <a:pt x="406" y="315"/>
                    </a:cubicBezTo>
                    <a:lnTo>
                      <a:pt x="449" y="303"/>
                    </a:lnTo>
                    <a:cubicBezTo>
                      <a:pt x="451" y="307"/>
                      <a:pt x="454" y="310"/>
                      <a:pt x="458" y="312"/>
                    </a:cubicBezTo>
                    <a:lnTo>
                      <a:pt x="459" y="312"/>
                    </a:lnTo>
                    <a:cubicBezTo>
                      <a:pt x="465" y="315"/>
                      <a:pt x="467" y="329"/>
                      <a:pt x="460" y="343"/>
                    </a:cubicBezTo>
                    <a:cubicBezTo>
                      <a:pt x="459" y="346"/>
                      <a:pt x="457" y="350"/>
                      <a:pt x="455" y="355"/>
                    </a:cubicBezTo>
                    <a:cubicBezTo>
                      <a:pt x="453" y="361"/>
                      <a:pt x="447" y="374"/>
                      <a:pt x="444" y="378"/>
                    </a:cubicBezTo>
                    <a:cubicBezTo>
                      <a:pt x="440" y="380"/>
                      <a:pt x="438" y="383"/>
                      <a:pt x="437" y="387"/>
                    </a:cubicBezTo>
                    <a:cubicBezTo>
                      <a:pt x="409" y="488"/>
                      <a:pt x="333" y="559"/>
                      <a:pt x="252" y="559"/>
                    </a:cubicBezTo>
                    <a:cubicBezTo>
                      <a:pt x="171" y="559"/>
                      <a:pt x="94" y="489"/>
                      <a:pt x="65" y="388"/>
                    </a:cubicBezTo>
                    <a:cubicBezTo>
                      <a:pt x="64" y="384"/>
                      <a:pt x="61" y="381"/>
                      <a:pt x="58" y="379"/>
                    </a:cubicBezTo>
                    <a:cubicBezTo>
                      <a:pt x="54" y="376"/>
                      <a:pt x="49" y="362"/>
                      <a:pt x="46" y="356"/>
                    </a:cubicBezTo>
                    <a:cubicBezTo>
                      <a:pt x="44" y="351"/>
                      <a:pt x="43" y="347"/>
                      <a:pt x="41" y="344"/>
                    </a:cubicBezTo>
                    <a:cubicBezTo>
                      <a:pt x="34" y="330"/>
                      <a:pt x="36" y="316"/>
                      <a:pt x="43" y="313"/>
                    </a:cubicBezTo>
                    <a:close/>
                  </a:path>
                </a:pathLst>
              </a:custGeom>
              <a:solidFill>
                <a:srgbClr val="4D4D4D"/>
              </a:solidFill>
              <a:ln w="0">
                <a:noFill/>
                <a:prstDash val="solid"/>
                <a:round/>
                <a:headEnd/>
                <a:tailEnd/>
              </a:ln>
              <a:extLst>
                <a:ext uri="{91240B29-F687-4F45-9708-019B960494DF}">
                  <a14:hiddenLine xmlns:a14="http://schemas.microsoft.com/office/drawing/2010/main"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pic>
          <p:nvPicPr>
            <p:cNvPr id="84" name="Picture 3" descr="C:\Users\rajarrv\AppData\Local\Microsoft\Windows\Temporary Internet Files\Content.Outlook\3CY2KM7L\B-No Background FORCE LOGO.png"/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919134" y="4095401"/>
              <a:ext cx="276515" cy="7896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91" name="TextBox 96"/>
          <p:cNvSpPr txBox="1"/>
          <p:nvPr/>
        </p:nvSpPr>
        <p:spPr bwMode="auto">
          <a:xfrm>
            <a:off x="7134387" y="5367340"/>
            <a:ext cx="936104" cy="160093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2"/>
            </a:solidFill>
            <a:prstDash val="sysDot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lvl="0" fontAlgn="base">
              <a:defRPr sz="1600">
                <a:solidFill>
                  <a:srgbClr val="000000"/>
                </a:solidFill>
                <a:latin typeface="CorpoS" pitchFamily="2" charset="0"/>
              </a:defRPr>
            </a:lvl1pPr>
          </a:lstStyle>
          <a:p>
            <a:pPr algn="ctr"/>
            <a:r>
              <a:rPr lang="ja-JP" altLang="en-US" sz="1200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支店長　他</a:t>
            </a:r>
            <a:endParaRPr lang="en-US" sz="1200" dirty="0"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92" name="TextBox 96"/>
          <p:cNvSpPr txBox="1"/>
          <p:nvPr/>
        </p:nvSpPr>
        <p:spPr bwMode="auto">
          <a:xfrm>
            <a:off x="1439328" y="4864300"/>
            <a:ext cx="997378" cy="16109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2"/>
            </a:solidFill>
            <a:prstDash val="sysDot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lvl="0" fontAlgn="base">
              <a:defRPr sz="1600">
                <a:solidFill>
                  <a:srgbClr val="000000"/>
                </a:solidFill>
                <a:latin typeface="CorpoS" pitchFamily="2" charset="0"/>
              </a:defRPr>
            </a:lvl1pPr>
          </a:lstStyle>
          <a:p>
            <a:pPr algn="ctr"/>
            <a:r>
              <a:rPr lang="ja-JP" altLang="en-US" sz="1200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整備業務</a:t>
            </a:r>
            <a:endParaRPr lang="en-US" sz="1200" dirty="0"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93" name="Rectangle 77"/>
          <p:cNvSpPr/>
          <p:nvPr/>
        </p:nvSpPr>
        <p:spPr>
          <a:xfrm>
            <a:off x="757556" y="2666377"/>
            <a:ext cx="6676008" cy="39378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ja-JP" altLang="en-US" sz="1400" noProof="1" smtClean="0">
                <a:solidFill>
                  <a:schemeClr val="folHlin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■</a:t>
            </a:r>
            <a:r>
              <a:rPr lang="en-US" altLang="ja-JP" sz="1400" noProof="1" smtClean="0">
                <a:solidFill>
                  <a:schemeClr val="folHlin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1</a:t>
            </a:r>
            <a:r>
              <a:rPr lang="ja-JP" altLang="en-US" sz="1400" noProof="1" smtClean="0">
                <a:solidFill>
                  <a:schemeClr val="folHlin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つの</a:t>
            </a:r>
            <a:r>
              <a:rPr lang="en-US" altLang="ja-JP" sz="1400" noProof="1" smtClean="0">
                <a:solidFill>
                  <a:schemeClr val="folHlin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UID</a:t>
            </a:r>
            <a:r>
              <a:rPr lang="ja-JP" altLang="en-US" sz="1400" noProof="1" smtClean="0">
                <a:solidFill>
                  <a:schemeClr val="folHlin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（下図では</a:t>
            </a:r>
            <a:r>
              <a:rPr lang="en-US" altLang="ja-JP" sz="1400" noProof="1" smtClean="0">
                <a:solidFill>
                  <a:schemeClr val="folHlin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UID01</a:t>
            </a:r>
            <a:r>
              <a:rPr lang="ja-JP" altLang="en-US" sz="1400" noProof="1" smtClean="0">
                <a:solidFill>
                  <a:schemeClr val="folHlin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）で、全支店業務の実施が可能</a:t>
            </a:r>
            <a:endParaRPr lang="en-US" altLang="ja-JP" sz="1400" noProof="1" smtClean="0">
              <a:solidFill>
                <a:schemeClr val="folHlink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94" name="Rectangle 77"/>
          <p:cNvSpPr/>
          <p:nvPr/>
        </p:nvSpPr>
        <p:spPr>
          <a:xfrm>
            <a:off x="3997235" y="3120709"/>
            <a:ext cx="2124889" cy="458174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ja-JP" altLang="en-US" sz="1200" i="1" noProof="1" smtClean="0">
                <a:solidFill>
                  <a:schemeClr val="folHlin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社員マスタのマネージャ情報から</a:t>
            </a:r>
            <a:endParaRPr lang="en-US" altLang="ja-JP" sz="1200" i="1" noProof="1" smtClean="0">
              <a:solidFill>
                <a:schemeClr val="folHlink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r>
              <a:rPr lang="ja-JP" altLang="en-US" sz="1200" i="1" noProof="1" smtClean="0">
                <a:solidFill>
                  <a:schemeClr val="folHlin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承認者判定</a:t>
            </a:r>
            <a:endParaRPr lang="ja-JP" altLang="en-US" sz="1200" i="1" noProof="1">
              <a:solidFill>
                <a:schemeClr val="folHlink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95" name="Rectangle 77"/>
          <p:cNvSpPr/>
          <p:nvPr/>
        </p:nvSpPr>
        <p:spPr>
          <a:xfrm>
            <a:off x="3968644" y="4348495"/>
            <a:ext cx="2825879" cy="483047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ja-JP" altLang="en-US" sz="1200" i="1" noProof="1" smtClean="0">
                <a:solidFill>
                  <a:schemeClr val="folHlin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システムが拠点内の各業務マネージャを</a:t>
            </a:r>
            <a:endParaRPr lang="en-US" altLang="ja-JP" sz="1200" i="1" noProof="1" smtClean="0">
              <a:solidFill>
                <a:schemeClr val="folHlink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r>
              <a:rPr lang="ja-JP" altLang="en-US" sz="1200" i="1" noProof="1" smtClean="0">
                <a:solidFill>
                  <a:schemeClr val="folHlin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検索し、承認者を判定</a:t>
            </a:r>
            <a:endParaRPr lang="ja-JP" altLang="en-US" sz="1200" i="1" noProof="1">
              <a:solidFill>
                <a:schemeClr val="folHlink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96" name="TextBox 96"/>
          <p:cNvSpPr txBox="1"/>
          <p:nvPr/>
        </p:nvSpPr>
        <p:spPr bwMode="auto">
          <a:xfrm>
            <a:off x="2633334" y="4870005"/>
            <a:ext cx="1019697" cy="149219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2"/>
            </a:solidFill>
            <a:prstDash val="sysDot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lvl="0" fontAlgn="base">
              <a:defRPr sz="1600">
                <a:solidFill>
                  <a:srgbClr val="000000"/>
                </a:solidFill>
                <a:latin typeface="CorpoS" pitchFamily="2" charset="0"/>
              </a:defRPr>
            </a:lvl1pPr>
          </a:lstStyle>
          <a:p>
            <a:pPr algn="ctr"/>
            <a:r>
              <a:rPr lang="ja-JP" altLang="en-US" sz="1200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中古車業務</a:t>
            </a:r>
            <a:endParaRPr lang="en-US" sz="1200" dirty="0"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97" name="TextBox 96"/>
          <p:cNvSpPr txBox="1"/>
          <p:nvPr/>
        </p:nvSpPr>
        <p:spPr bwMode="auto">
          <a:xfrm>
            <a:off x="1442107" y="5121690"/>
            <a:ext cx="997378" cy="16109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2"/>
            </a:solidFill>
            <a:prstDash val="sysDot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lvl="0" fontAlgn="base">
              <a:defRPr sz="1600">
                <a:solidFill>
                  <a:srgbClr val="000000"/>
                </a:solidFill>
                <a:latin typeface="CorpoS" pitchFamily="2" charset="0"/>
              </a:defRPr>
            </a:lvl1pPr>
          </a:lstStyle>
          <a:p>
            <a:pPr algn="ctr"/>
            <a:r>
              <a:rPr lang="ja-JP" altLang="en-US" sz="1200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部品</a:t>
            </a:r>
            <a:r>
              <a:rPr lang="ja-JP" altLang="en-US" sz="1200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業務</a:t>
            </a:r>
            <a:endParaRPr lang="en-US" sz="1200" dirty="0"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98" name="TextBox 96"/>
          <p:cNvSpPr txBox="1"/>
          <p:nvPr/>
        </p:nvSpPr>
        <p:spPr bwMode="auto">
          <a:xfrm>
            <a:off x="2641058" y="5127627"/>
            <a:ext cx="1019697" cy="149219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2"/>
            </a:solidFill>
            <a:prstDash val="sysDot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lvl="0" fontAlgn="base">
              <a:defRPr sz="1600">
                <a:solidFill>
                  <a:srgbClr val="000000"/>
                </a:solidFill>
                <a:latin typeface="CorpoS" pitchFamily="2" charset="0"/>
              </a:defRPr>
            </a:lvl1pPr>
          </a:lstStyle>
          <a:p>
            <a:pPr algn="ctr"/>
            <a:r>
              <a:rPr lang="ja-JP" altLang="en-US" sz="1200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保険業務</a:t>
            </a:r>
            <a:endParaRPr lang="en-US" sz="1200" dirty="0"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99" name="Rechteck 13">
            <a:extLst>
              <a:ext uri="{FF2B5EF4-FFF2-40B4-BE49-F238E27FC236}">
                <a16:creationId xmlns:a16="http://schemas.microsoft.com/office/drawing/2014/main" id="{FB03C564-73F6-43DE-83D5-F23FDFB7F3F8}"/>
              </a:ext>
            </a:extLst>
          </p:cNvPr>
          <p:cNvSpPr/>
          <p:nvPr/>
        </p:nvSpPr>
        <p:spPr bwMode="gray">
          <a:xfrm>
            <a:off x="985118" y="549275"/>
            <a:ext cx="2783318" cy="562201"/>
          </a:xfrm>
          <a:prstGeom prst="rect">
            <a:avLst/>
          </a:prstGeom>
          <a:solidFill>
            <a:srgbClr val="00647F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128016" tIns="0" rIns="0" bIns="0" anchor="ctr"/>
          <a:lstStyle/>
          <a:p>
            <a:pPr marL="0" marR="0" lvl="0" indent="0" algn="l" defTabSz="801688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ja-JP" sz="2000" kern="0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FORCE</a:t>
            </a:r>
            <a:r>
              <a:rPr lang="ja-JP" altLang="en-US" sz="2000" kern="0" dirty="0" smtClean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のユーザー</a:t>
            </a:r>
            <a:r>
              <a:rPr lang="en-US" altLang="ja-JP" sz="2000" kern="0" dirty="0" smtClean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ID</a:t>
            </a:r>
            <a:r>
              <a:rPr lang="ja-JP" altLang="en-US" sz="2000" kern="0" dirty="0" smtClean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と役割設定</a:t>
            </a:r>
            <a:endParaRPr kumimoji="0" lang="en-US" sz="20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027184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タイトル 2"/>
          <p:cNvSpPr txBox="1">
            <a:spLocks/>
          </p:cNvSpPr>
          <p:nvPr/>
        </p:nvSpPr>
        <p:spPr>
          <a:xfrm>
            <a:off x="630328" y="622944"/>
            <a:ext cx="10938894" cy="47100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3943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3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CorpoS" pitchFamily="2" charset="0"/>
              </a:defRPr>
            </a:lvl1pPr>
          </a:lstStyle>
          <a:p>
            <a:pPr marL="0" marR="0" lvl="0" indent="0" algn="l" defTabSz="91394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3300" b="0" i="0" u="none" strike="noStrike" kern="1200" cap="none" spc="0" normalizeH="0" baseline="0" noProof="0" dirty="0">
              <a:ln>
                <a:noFill/>
              </a:ln>
              <a:solidFill>
                <a:srgbClr val="00647F">
                  <a:lumMod val="100000"/>
                </a:srgbClr>
              </a:solidFill>
              <a:effectLst/>
              <a:uLnTx/>
              <a:uFillTx/>
              <a:latin typeface="CorpoS"/>
              <a:ea typeface="+mj-ea"/>
              <a:cs typeface="+mj-cs"/>
              <a:sym typeface="CorpoS" pitchFamily="2" charset="0"/>
            </a:endParaRPr>
          </a:p>
        </p:txBody>
      </p:sp>
      <p:sp>
        <p:nvSpPr>
          <p:cNvPr id="6" name="タイトル 4"/>
          <p:cNvSpPr txBox="1">
            <a:spLocks/>
          </p:cNvSpPr>
          <p:nvPr/>
        </p:nvSpPr>
        <p:spPr>
          <a:xfrm>
            <a:off x="3782287" y="549275"/>
            <a:ext cx="7662239" cy="561600"/>
          </a:xfrm>
          <a:prstGeom prst="rect">
            <a:avLst/>
          </a:prstGeom>
          <a:solidFill>
            <a:sysClr val="window" lastClr="FFFFFF"/>
          </a:solidFill>
          <a:ln w="10795" cap="flat" cmpd="sng" algn="ctr">
            <a:noFill/>
            <a:prstDash val="solid"/>
          </a:ln>
          <a:effectLst/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de-DE"/>
            </a:defPPr>
            <a:lvl1pPr marR="0" lvl="0" indent="0" defTabSz="913943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1" sz="2800" b="0" i="0" u="none" strike="noStrike" cap="none" spc="0" normalizeH="0" baseline="0">
                <a:ln>
                  <a:noFill/>
                </a:ln>
                <a:solidFill>
                  <a:srgbClr val="00647F">
                    <a:lumMod val="100000"/>
                  </a:srgbClr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ja-JP" altLang="en-US" sz="2000" dirty="0" smtClean="0">
                <a:solidFill>
                  <a:schemeClr val="tx1"/>
                </a:solidFill>
                <a:sym typeface="CorpoS" pitchFamily="2" charset="0"/>
              </a:rPr>
              <a:t> </a:t>
            </a:r>
            <a:r>
              <a:rPr lang="en-US" altLang="ja-JP" sz="2000" dirty="0" smtClean="0">
                <a:solidFill>
                  <a:schemeClr val="tx1"/>
                </a:solidFill>
                <a:sym typeface="CorpoS" pitchFamily="2" charset="0"/>
              </a:rPr>
              <a:t>2.3</a:t>
            </a:r>
            <a:r>
              <a:rPr lang="ja-JP" altLang="en-US" sz="2000" dirty="0" smtClean="0">
                <a:solidFill>
                  <a:schemeClr val="tx1"/>
                </a:solidFill>
                <a:sym typeface="CorpoS" pitchFamily="2" charset="0"/>
              </a:rPr>
              <a:t>　複数</a:t>
            </a:r>
            <a:r>
              <a:rPr lang="en-US" altLang="ja-JP" sz="2000" dirty="0">
                <a:solidFill>
                  <a:schemeClr val="tx1"/>
                </a:solidFill>
                <a:sym typeface="CorpoS" pitchFamily="2" charset="0"/>
              </a:rPr>
              <a:t>UID</a:t>
            </a:r>
            <a:r>
              <a:rPr lang="ja-JP" altLang="en-US" sz="2000" dirty="0">
                <a:solidFill>
                  <a:schemeClr val="tx1"/>
                </a:solidFill>
                <a:sym typeface="CorpoS" pitchFamily="2" charset="0"/>
              </a:rPr>
              <a:t>が必要な</a:t>
            </a:r>
            <a:r>
              <a:rPr lang="ja-JP" altLang="en-US" sz="2000" dirty="0" smtClean="0">
                <a:solidFill>
                  <a:schemeClr val="tx1"/>
                </a:solidFill>
                <a:sym typeface="CorpoS" pitchFamily="2" charset="0"/>
              </a:rPr>
              <a:t>社員</a:t>
            </a:r>
            <a:endParaRPr lang="ja-JP" altLang="en-US" sz="2000" dirty="0">
              <a:solidFill>
                <a:schemeClr val="tx1"/>
              </a:solidFill>
              <a:sym typeface="CorpoS" pitchFamily="2" charset="0"/>
            </a:endParaRPr>
          </a:p>
        </p:txBody>
      </p:sp>
      <p:sp>
        <p:nvSpPr>
          <p:cNvPr id="7" name="Rechteck 12">
            <a:extLst>
              <a:ext uri="{FF2B5EF4-FFF2-40B4-BE49-F238E27FC236}">
                <a16:creationId xmlns:a16="http://schemas.microsoft.com/office/drawing/2014/main" id="{B247BD26-CC3F-4252-A978-DB140B45A001}"/>
              </a:ext>
            </a:extLst>
          </p:cNvPr>
          <p:cNvSpPr/>
          <p:nvPr/>
        </p:nvSpPr>
        <p:spPr bwMode="gray">
          <a:xfrm>
            <a:off x="628650" y="549275"/>
            <a:ext cx="357372" cy="562201"/>
          </a:xfrm>
          <a:prstGeom prst="rect">
            <a:avLst/>
          </a:prstGeom>
          <a:solidFill>
            <a:sysClr val="windowText" lastClr="000000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marL="0" marR="0" lvl="0" indent="0" algn="ctr" defTabSz="801688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2</a:t>
            </a:r>
          </a:p>
        </p:txBody>
      </p:sp>
      <p:sp>
        <p:nvSpPr>
          <p:cNvPr id="8" name="Rechteck 13">
            <a:extLst>
              <a:ext uri="{FF2B5EF4-FFF2-40B4-BE49-F238E27FC236}">
                <a16:creationId xmlns:a16="http://schemas.microsoft.com/office/drawing/2014/main" id="{FB03C564-73F6-43DE-83D5-F23FDFB7F3F8}"/>
              </a:ext>
            </a:extLst>
          </p:cNvPr>
          <p:cNvSpPr/>
          <p:nvPr/>
        </p:nvSpPr>
        <p:spPr bwMode="gray">
          <a:xfrm>
            <a:off x="985118" y="549275"/>
            <a:ext cx="2783318" cy="562201"/>
          </a:xfrm>
          <a:prstGeom prst="rect">
            <a:avLst/>
          </a:prstGeom>
          <a:solidFill>
            <a:srgbClr val="00647F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128016" tIns="0" rIns="0" bIns="0" anchor="ctr"/>
          <a:lstStyle/>
          <a:p>
            <a:pPr marL="0" marR="0" lvl="0" indent="0" defTabSz="801688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初期配備社員マスタ</a:t>
            </a:r>
            <a:endParaRPr kumimoji="0" lang="en-US" sz="20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10" name="Rectangle 10"/>
          <p:cNvSpPr/>
          <p:nvPr/>
        </p:nvSpPr>
        <p:spPr>
          <a:xfrm>
            <a:off x="629999" y="2584114"/>
            <a:ext cx="7828201" cy="3744538"/>
          </a:xfrm>
          <a:prstGeom prst="rect">
            <a:avLst/>
          </a:prstGeom>
          <a:noFill/>
          <a:ln w="15875" cap="flat" cmpd="sng" algn="ctr">
            <a:solidFill>
              <a:srgbClr val="C8C8C8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E9E9E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noProof="1"/>
          </a:p>
        </p:txBody>
      </p:sp>
      <p:sp>
        <p:nvSpPr>
          <p:cNvPr id="11" name="Rectangle 77"/>
          <p:cNvSpPr/>
          <p:nvPr/>
        </p:nvSpPr>
        <p:spPr>
          <a:xfrm>
            <a:off x="792369" y="2444750"/>
            <a:ext cx="925595" cy="289205"/>
          </a:xfrm>
          <a:prstGeom prst="rect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FFFFFF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ja-JP" altLang="en-US" sz="1600" i="1" noProof="1" smtClean="0">
                <a:solidFill>
                  <a:schemeClr val="folHlin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詳細</a:t>
            </a:r>
            <a:endParaRPr lang="ja-JP" altLang="en-US" sz="1600" i="1" noProof="1">
              <a:solidFill>
                <a:schemeClr val="folHlink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13" name="Rectangle 46"/>
          <p:cNvSpPr/>
          <p:nvPr/>
        </p:nvSpPr>
        <p:spPr>
          <a:xfrm>
            <a:off x="8674359" y="1433958"/>
            <a:ext cx="3074296" cy="2071772"/>
          </a:xfrm>
          <a:prstGeom prst="rect">
            <a:avLst/>
          </a:prstGeom>
          <a:noFill/>
          <a:ln w="15875" cap="flat" cmpd="sng" algn="ctr">
            <a:solidFill>
              <a:srgbClr val="C8C8C8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E9E9E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0" rIns="9144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base"/>
            <a:r>
              <a:rPr kumimoji="1" lang="en-US" altLang="ja-JP" sz="1400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Hub</a:t>
            </a:r>
            <a:r>
              <a:rPr kumimoji="1" lang="ja-JP" altLang="en-US" sz="1400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拠点の</a:t>
            </a:r>
            <a:r>
              <a:rPr kumimoji="1" lang="en-US" altLang="ja-JP" sz="1400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“</a:t>
            </a:r>
            <a:r>
              <a:rPr kumimoji="1" lang="ja-JP" altLang="en-US" sz="1400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支店部品マネージャー</a:t>
            </a:r>
            <a:r>
              <a:rPr kumimoji="1" lang="en-US" altLang="ja-JP" sz="1400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”</a:t>
            </a:r>
            <a:r>
              <a:rPr kumimoji="1" lang="ja-JP" altLang="en-US" sz="1400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が、</a:t>
            </a:r>
            <a:endParaRPr lang="en-US" sz="1100" noProof="1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14" name="Rectangle 48"/>
          <p:cNvSpPr/>
          <p:nvPr/>
        </p:nvSpPr>
        <p:spPr>
          <a:xfrm>
            <a:off x="8926618" y="1310518"/>
            <a:ext cx="937818" cy="196529"/>
          </a:xfrm>
          <a:prstGeom prst="rect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FFFFFF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ja-JP" altLang="en-US" sz="1600" i="1" noProof="1" smtClean="0">
                <a:solidFill>
                  <a:schemeClr val="folHlin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注意点</a:t>
            </a:r>
            <a:endParaRPr lang="en-US" sz="1600" i="1" noProof="1" smtClean="0">
              <a:solidFill>
                <a:schemeClr val="folHlink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15" name="Rectangle 46"/>
          <p:cNvSpPr/>
          <p:nvPr/>
        </p:nvSpPr>
        <p:spPr>
          <a:xfrm>
            <a:off x="8674358" y="3799902"/>
            <a:ext cx="3074297" cy="2528750"/>
          </a:xfrm>
          <a:prstGeom prst="rect">
            <a:avLst/>
          </a:prstGeom>
          <a:noFill/>
          <a:ln w="15875" cap="flat" cmpd="sng" algn="ctr">
            <a:solidFill>
              <a:srgbClr val="C8C8C8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E9E9E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0" rIns="9144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1">
              <a:buClr>
                <a:srgbClr val="000000"/>
              </a:buClr>
              <a:buSzPct val="100000"/>
            </a:pPr>
            <a:endParaRPr lang="en-US" altLang="ja-JP" sz="1400" dirty="0"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marL="82550" lvl="1">
              <a:buClr>
                <a:srgbClr val="000000"/>
              </a:buClr>
              <a:buSzPct val="100000"/>
            </a:pPr>
            <a:r>
              <a:rPr lang="ja-JP" altLang="en-US" sz="1200" noProof="1" smtClea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■複数</a:t>
            </a:r>
            <a:r>
              <a:rPr lang="en-US" altLang="ja-JP" sz="1200" noProof="1" smtClea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UID</a:t>
            </a:r>
            <a:r>
              <a:rPr lang="ja-JP" altLang="en-US" sz="1200" noProof="1" smtClea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社員の</a:t>
            </a:r>
            <a:r>
              <a:rPr lang="en-US" altLang="ja-JP" sz="1200" noProof="1" smtClea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Excel</a:t>
            </a:r>
            <a:r>
              <a:rPr lang="ja-JP" altLang="en-US" sz="1200" noProof="1" smtClea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資料登録方法は</a:t>
            </a:r>
            <a:endParaRPr lang="en-US" altLang="ja-JP" sz="1200" noProof="1" smtClean="0">
              <a:solidFill>
                <a:srgbClr val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marL="82550" lvl="1">
              <a:buClr>
                <a:srgbClr val="000000"/>
              </a:buClr>
              <a:buSzPct val="100000"/>
            </a:pPr>
            <a:r>
              <a:rPr lang="ja-JP" altLang="en-US" sz="1200" noProof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　</a:t>
            </a:r>
            <a:r>
              <a:rPr lang="ja-JP" altLang="en-US" sz="1200" noProof="1" smtClea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 </a:t>
            </a:r>
            <a:r>
              <a:rPr lang="en-US" altLang="ja-JP" sz="1200" noProof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13</a:t>
            </a:r>
            <a:r>
              <a:rPr lang="ja-JP" altLang="en-US" sz="1200" noProof="1" smtClea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頁を参照</a:t>
            </a:r>
            <a:endParaRPr lang="en-US" altLang="ja-JP" sz="1200" noProof="1">
              <a:solidFill>
                <a:srgbClr val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marL="82550" lvl="1">
              <a:buClr>
                <a:srgbClr val="000000"/>
              </a:buClr>
              <a:buSzPct val="100000"/>
            </a:pPr>
            <a:endParaRPr lang="en-US" altLang="ja-JP" sz="1200" noProof="1">
              <a:solidFill>
                <a:srgbClr val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marL="82550" lvl="1">
              <a:buClr>
                <a:srgbClr val="000000"/>
              </a:buClr>
              <a:buSzPct val="100000"/>
            </a:pPr>
            <a:r>
              <a:rPr lang="ja-JP" altLang="en-US" sz="1200" noProof="1" smtClea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■複数</a:t>
            </a:r>
            <a:r>
              <a:rPr lang="en-US" altLang="ja-JP" sz="1200" noProof="1" smtClea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UID</a:t>
            </a:r>
            <a:r>
              <a:rPr lang="ja-JP" altLang="en-US" sz="1200" noProof="1" smtClea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が必要な社員の例は</a:t>
            </a:r>
            <a:r>
              <a:rPr lang="en-US" altLang="ja-JP" sz="1200" noProof="1" smtClea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10</a:t>
            </a:r>
            <a:r>
              <a:rPr lang="ja-JP" altLang="en-US" sz="1200" noProof="1" smtClea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ー</a:t>
            </a:r>
            <a:r>
              <a:rPr lang="en-US" altLang="ja-JP" sz="1200" noProof="1" smtClea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12</a:t>
            </a:r>
            <a:r>
              <a:rPr lang="ja-JP" altLang="en-US" sz="1200" noProof="1" smtClea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頁を</a:t>
            </a:r>
            <a:endParaRPr lang="en-US" altLang="ja-JP" sz="1200" noProof="1" smtClean="0">
              <a:solidFill>
                <a:srgbClr val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marL="82550" lvl="1">
              <a:buClr>
                <a:srgbClr val="000000"/>
              </a:buClr>
              <a:buSzPct val="100000"/>
            </a:pPr>
            <a:r>
              <a:rPr lang="ja-JP" altLang="en-US" sz="1200" noProof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　</a:t>
            </a:r>
            <a:r>
              <a:rPr lang="ja-JP" altLang="en-US" sz="1200" noProof="1" smtClea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 参照</a:t>
            </a:r>
            <a:endParaRPr lang="en-US" altLang="ja-JP" sz="1200" noProof="1" smtClean="0">
              <a:solidFill>
                <a:srgbClr val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marL="82550" lvl="1">
              <a:buClr>
                <a:srgbClr val="000000"/>
              </a:buClr>
              <a:buSzPct val="100000"/>
            </a:pPr>
            <a:endParaRPr lang="en-US" sz="1400" noProof="1">
              <a:solidFill>
                <a:srgbClr val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16" name="Rectangle 48"/>
          <p:cNvSpPr/>
          <p:nvPr/>
        </p:nvSpPr>
        <p:spPr>
          <a:xfrm>
            <a:off x="8968178" y="3693573"/>
            <a:ext cx="937818" cy="196529"/>
          </a:xfrm>
          <a:prstGeom prst="rect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FFFFFF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ja-JP" altLang="en-US" sz="1600" i="1" noProof="1" smtClean="0">
                <a:solidFill>
                  <a:schemeClr val="folHlin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その他</a:t>
            </a:r>
            <a:endParaRPr lang="en-US" sz="1600" i="1" noProof="1" smtClean="0">
              <a:solidFill>
                <a:schemeClr val="folHlink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41" name="Rectangle 16"/>
          <p:cNvSpPr/>
          <p:nvPr/>
        </p:nvSpPr>
        <p:spPr>
          <a:xfrm>
            <a:off x="629999" y="1433960"/>
            <a:ext cx="7828201" cy="879750"/>
          </a:xfrm>
          <a:prstGeom prst="rect">
            <a:avLst/>
          </a:prstGeom>
          <a:noFill/>
          <a:ln w="15875" cap="flat" cmpd="sng" algn="ctr">
            <a:solidFill>
              <a:srgbClr val="C8C8C8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E9E9E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18000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1">
              <a:buClr>
                <a:srgbClr val="000000"/>
              </a:buClr>
              <a:buSzPct val="100000"/>
            </a:pPr>
            <a:r>
              <a:rPr lang="ja-JP" altLang="en-US" sz="1400" noProof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■ </a:t>
            </a:r>
            <a:r>
              <a:rPr lang="en-US" altLang="ja-JP" sz="1400" noProof="1" smtClea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FORCE</a:t>
            </a:r>
            <a:r>
              <a:rPr lang="ja-JP" altLang="en-US" sz="1400" noProof="1" smtClea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の仕様上、複数の</a:t>
            </a:r>
            <a:r>
              <a:rPr lang="en-US" altLang="ja-JP" sz="1400" noProof="1" smtClea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UID</a:t>
            </a:r>
            <a:r>
              <a:rPr lang="ja-JP" altLang="en-US" sz="1400" noProof="1" smtClea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（</a:t>
            </a:r>
            <a:r>
              <a:rPr lang="en-US" altLang="ja-JP" sz="1400" noProof="1" smtClea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FORCE</a:t>
            </a:r>
            <a:r>
              <a:rPr lang="ja-JP" altLang="en-US" sz="1400" noProof="1" smtClea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のログイン</a:t>
            </a:r>
            <a:r>
              <a:rPr lang="en-US" altLang="ja-JP" sz="1400" noProof="1" smtClea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ID</a:t>
            </a:r>
            <a:r>
              <a:rPr lang="ja-JP" altLang="en-US" sz="1400" noProof="1" smtClea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）が必要な場合がある。</a:t>
            </a:r>
            <a:endParaRPr lang="en-US" altLang="ja-JP" sz="1400" noProof="1" smtClean="0">
              <a:solidFill>
                <a:srgbClr val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marL="0" lvl="1">
              <a:buClr>
                <a:srgbClr val="000000"/>
              </a:buClr>
              <a:buSzPct val="100000"/>
            </a:pPr>
            <a:r>
              <a:rPr lang="ja-JP" altLang="en-US" sz="1400" noProof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■ </a:t>
            </a:r>
            <a:r>
              <a:rPr lang="ja-JP" altLang="en-US" sz="1400" noProof="1" smtClea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社員が複数の役割を保持するには新たな</a:t>
            </a:r>
            <a:r>
              <a:rPr lang="en-US" altLang="ja-JP" sz="1400" noProof="1" smtClea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UID</a:t>
            </a:r>
            <a:r>
              <a:rPr lang="ja-JP" altLang="en-US" sz="1400" noProof="1" smtClea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を取得し、社員マスタに追加登録する必要がある。</a:t>
            </a:r>
            <a:endParaRPr lang="en-US" altLang="ja-JP" sz="1400" noProof="1" smtClean="0">
              <a:solidFill>
                <a:srgbClr val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12" name="Rectangle 57"/>
          <p:cNvSpPr/>
          <p:nvPr/>
        </p:nvSpPr>
        <p:spPr>
          <a:xfrm>
            <a:off x="792370" y="1337293"/>
            <a:ext cx="729000" cy="169754"/>
          </a:xfrm>
          <a:prstGeom prst="rect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FFFFFF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ja-JP" altLang="en-US" sz="1600" i="1" noProof="1" smtClean="0">
                <a:solidFill>
                  <a:schemeClr val="folHlin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概要</a:t>
            </a:r>
            <a:endParaRPr lang="ja-JP" altLang="en-US" sz="1600" i="1" noProof="1">
              <a:solidFill>
                <a:schemeClr val="folHlink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45" name="テキスト ボックス 44"/>
          <p:cNvSpPr txBox="1"/>
          <p:nvPr/>
        </p:nvSpPr>
        <p:spPr bwMode="auto">
          <a:xfrm>
            <a:off x="807336" y="2674566"/>
            <a:ext cx="7650864" cy="38079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t" anchorCtr="0">
            <a:spAutoFit/>
          </a:bodyPr>
          <a:lstStyle/>
          <a:p>
            <a:r>
              <a:rPr kumimoji="1" lang="ja-JP" altLang="en-US" sz="1400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■</a:t>
            </a:r>
            <a:r>
              <a:rPr lang="ja-JP" altLang="en-US" sz="1400" dirty="0" smtClean="0">
                <a:latin typeface="Meiryo UI" panose="020B0604030504040204" pitchFamily="50" charset="-128"/>
                <a:ea typeface="Meiryo UI" panose="020B0604030504040204" pitchFamily="50" charset="-128"/>
                <a:sym typeface="CorpoS" pitchFamily="2" charset="0"/>
              </a:rPr>
              <a:t>複数</a:t>
            </a:r>
            <a:r>
              <a:rPr lang="en-US" altLang="ja-JP" sz="1400" dirty="0" smtClean="0">
                <a:latin typeface="Meiryo UI" panose="020B0604030504040204" pitchFamily="50" charset="-128"/>
                <a:ea typeface="Meiryo UI" panose="020B0604030504040204" pitchFamily="50" charset="-128"/>
                <a:sym typeface="CorpoS" pitchFamily="2" charset="0"/>
              </a:rPr>
              <a:t>UID</a:t>
            </a:r>
            <a:r>
              <a:rPr lang="ja-JP" altLang="en-US" sz="1400" dirty="0" smtClean="0">
                <a:latin typeface="Meiryo UI" panose="020B0604030504040204" pitchFamily="50" charset="-128"/>
                <a:ea typeface="Meiryo UI" panose="020B0604030504040204" pitchFamily="50" charset="-128"/>
                <a:sym typeface="CorpoS" pitchFamily="2" charset="0"/>
              </a:rPr>
              <a:t>が必要な社員とは</a:t>
            </a:r>
            <a:endParaRPr lang="en-US" altLang="ja-JP" sz="1400" dirty="0" smtClean="0">
              <a:latin typeface="Meiryo UI" panose="020B0604030504040204" pitchFamily="50" charset="-128"/>
              <a:ea typeface="Meiryo UI" panose="020B0604030504040204" pitchFamily="50" charset="-128"/>
              <a:sym typeface="CorpoS" pitchFamily="2" charset="0"/>
            </a:endParaRPr>
          </a:p>
          <a:p>
            <a:pPr fontAlgn="base"/>
            <a:r>
              <a:rPr kumimoji="1" lang="ja-JP" altLang="en-US" sz="1400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　 </a:t>
            </a:r>
            <a:r>
              <a:rPr kumimoji="1" lang="en-US" altLang="ja-JP" sz="1400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FORCE</a:t>
            </a:r>
            <a:r>
              <a:rPr kumimoji="1" lang="ja-JP" altLang="en-US" sz="1400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は</a:t>
            </a:r>
            <a:r>
              <a:rPr kumimoji="1" lang="en-US" altLang="ja-JP" sz="1400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1</a:t>
            </a:r>
            <a:r>
              <a:rPr kumimoji="1" lang="ja-JP" altLang="en-US" sz="1400" dirty="0" err="1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つの</a:t>
            </a:r>
            <a:r>
              <a:rPr kumimoji="1" lang="en-US" altLang="ja-JP" sz="1400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UID</a:t>
            </a:r>
            <a:r>
              <a:rPr kumimoji="1" lang="ja-JP" altLang="en-US" sz="1400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に対して</a:t>
            </a:r>
            <a:r>
              <a:rPr kumimoji="1" lang="en-US" altLang="ja-JP" sz="1400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1</a:t>
            </a:r>
            <a:r>
              <a:rPr kumimoji="1" lang="ja-JP" altLang="en-US" sz="1400" dirty="0" err="1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つの</a:t>
            </a:r>
            <a:r>
              <a:rPr kumimoji="1" lang="ja-JP" altLang="en-US" sz="1400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所属拠点と</a:t>
            </a:r>
            <a:r>
              <a:rPr kumimoji="1" lang="en-US" altLang="ja-JP" sz="1400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1</a:t>
            </a:r>
            <a:r>
              <a:rPr kumimoji="1" lang="ja-JP" altLang="en-US" sz="1400" dirty="0" err="1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つの</a:t>
            </a:r>
            <a:r>
              <a:rPr kumimoji="1" lang="ja-JP" altLang="en-US" sz="1400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役割が設定が可能。</a:t>
            </a:r>
            <a:endParaRPr kumimoji="1" lang="en-US" altLang="ja-JP" sz="1400" dirty="0" smtClean="0"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fontAlgn="base"/>
            <a:r>
              <a:rPr kumimoji="1" lang="ja-JP" altLang="en-US" sz="1400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　 </a:t>
            </a:r>
            <a:r>
              <a:rPr kumimoji="1" lang="ja-JP" altLang="en-US" sz="1400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その為、下記に該当する社員は複数の</a:t>
            </a:r>
            <a:r>
              <a:rPr kumimoji="1" lang="en-US" altLang="ja-JP" sz="1400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UID</a:t>
            </a:r>
            <a:r>
              <a:rPr kumimoji="1" lang="ja-JP" altLang="en-US" sz="1400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を取得の上、</a:t>
            </a:r>
            <a:r>
              <a:rPr kumimoji="1" lang="en-US" altLang="ja-JP" sz="1400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FORCE</a:t>
            </a:r>
            <a:r>
              <a:rPr kumimoji="1" lang="ja-JP" altLang="en-US" sz="1400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を使用する必要がある。</a:t>
            </a:r>
            <a:endParaRPr kumimoji="1" lang="en-US" altLang="ja-JP" sz="1400" dirty="0" smtClean="0"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fontAlgn="base"/>
            <a:r>
              <a:rPr kumimoji="1" lang="ja-JP" altLang="en-US" sz="1400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　</a:t>
            </a:r>
            <a:endParaRPr kumimoji="1" lang="en-US" altLang="ja-JP" sz="1400" dirty="0" smtClean="0"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fontAlgn="base"/>
            <a:r>
              <a:rPr kumimoji="1" lang="ja-JP" altLang="en-US" sz="1400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　</a:t>
            </a:r>
            <a:r>
              <a:rPr kumimoji="1" lang="ja-JP" altLang="en-US" sz="1400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　　① </a:t>
            </a:r>
            <a:r>
              <a:rPr kumimoji="1" lang="ja-JP" altLang="en-US" sz="1400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複数</a:t>
            </a:r>
            <a:r>
              <a:rPr kumimoji="1" lang="en-US" altLang="ja-JP" sz="1400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SC</a:t>
            </a:r>
            <a:r>
              <a:rPr kumimoji="1" lang="ja-JP" altLang="en-US" sz="1400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・拠点の業務を担当している</a:t>
            </a:r>
            <a:r>
              <a:rPr kumimoji="1" lang="ja-JP" altLang="en-US" sz="1400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社員</a:t>
            </a:r>
            <a:endParaRPr kumimoji="1" lang="en-US" altLang="ja-JP" sz="1400" dirty="0" smtClean="0"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fontAlgn="base"/>
            <a:r>
              <a:rPr kumimoji="1" lang="ja-JP" altLang="en-US" sz="1400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　　　　　　　</a:t>
            </a:r>
            <a:r>
              <a:rPr kumimoji="1" lang="ja-JP" altLang="en-US" sz="1400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   例：品川拠点 と大田拠点 で</a:t>
            </a:r>
            <a:r>
              <a:rPr lang="ja-JP" altLang="en-US" sz="1400" noProof="1">
                <a:solidFill>
                  <a:schemeClr val="folHlin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支店 整備</a:t>
            </a:r>
            <a:r>
              <a:rPr lang="ja-JP" altLang="en-US" sz="1400" noProof="1" smtClean="0">
                <a:solidFill>
                  <a:schemeClr val="folHlin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スタッフを兼務</a:t>
            </a:r>
            <a:endParaRPr kumimoji="1" lang="en-US" altLang="ja-JP" sz="1400" dirty="0"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fontAlgn="base"/>
            <a:r>
              <a:rPr kumimoji="1" lang="ja-JP" altLang="en-US" sz="1400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　</a:t>
            </a:r>
            <a:r>
              <a:rPr kumimoji="1" lang="ja-JP" altLang="en-US" sz="1400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　</a:t>
            </a:r>
            <a:r>
              <a:rPr kumimoji="1" lang="ja-JP" altLang="en-US" sz="1400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　　　</a:t>
            </a:r>
            <a:r>
              <a:rPr kumimoji="1" lang="ja-JP" altLang="en-US" sz="1400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　　　　　   </a:t>
            </a:r>
            <a:r>
              <a:rPr kumimoji="1" lang="en-US" altLang="ja-JP" sz="1400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※SC</a:t>
            </a:r>
            <a:r>
              <a:rPr kumimoji="1" lang="ja-JP" altLang="en-US" sz="1400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本部に所属している</a:t>
            </a:r>
            <a:r>
              <a:rPr kumimoji="1" lang="ja-JP" altLang="en-US" sz="1400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社員は南関東及び甲</a:t>
            </a:r>
            <a:r>
              <a:rPr kumimoji="1" lang="ja-JP" altLang="en-US" sz="1400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信業務用の社員レコードを作成済み。</a:t>
            </a:r>
          </a:p>
          <a:p>
            <a:pPr fontAlgn="base"/>
            <a:r>
              <a:rPr kumimoji="1" lang="ja-JP" altLang="en-US" sz="1400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　</a:t>
            </a:r>
            <a:r>
              <a:rPr kumimoji="1" lang="ja-JP" altLang="en-US" sz="1400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　</a:t>
            </a:r>
            <a:r>
              <a:rPr kumimoji="1" lang="ja-JP" altLang="en-US" sz="1400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　　　</a:t>
            </a:r>
            <a:r>
              <a:rPr kumimoji="1" lang="ja-JP" altLang="en-US" sz="1400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　　　　　   </a:t>
            </a:r>
            <a:r>
              <a:rPr kumimoji="1" lang="en-US" altLang="ja-JP" sz="1400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※Hub</a:t>
            </a:r>
            <a:r>
              <a:rPr kumimoji="1" lang="ja-JP" altLang="en-US" sz="1400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と</a:t>
            </a:r>
            <a:r>
              <a:rPr kumimoji="1" lang="en-US" altLang="ja-JP" sz="1400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Spork</a:t>
            </a:r>
            <a:r>
              <a:rPr kumimoji="1" lang="ja-JP" altLang="en-US" sz="1400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の部品マネージャーは同マネージャーにて設定済み。</a:t>
            </a:r>
            <a:endParaRPr kumimoji="1" lang="en-US" altLang="ja-JP" sz="1400" dirty="0" smtClean="0"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fontAlgn="base"/>
            <a:endParaRPr kumimoji="1" lang="en-US" altLang="ja-JP" sz="1400" dirty="0" smtClean="0"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fontAlgn="base"/>
            <a:r>
              <a:rPr kumimoji="1" lang="ja-JP" altLang="en-US" sz="1400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　</a:t>
            </a:r>
            <a:r>
              <a:rPr kumimoji="1" lang="ja-JP" altLang="en-US" sz="1400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　</a:t>
            </a:r>
            <a:r>
              <a:rPr kumimoji="1" lang="ja-JP" altLang="en-US" sz="1400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　② 複数職位を担当している社員</a:t>
            </a:r>
            <a:br>
              <a:rPr kumimoji="1" lang="ja-JP" altLang="en-US" sz="1400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</a:br>
            <a:r>
              <a:rPr kumimoji="1" lang="ja-JP" altLang="en-US" sz="1400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　</a:t>
            </a:r>
            <a:r>
              <a:rPr kumimoji="1" lang="ja-JP" altLang="en-US" sz="1400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　</a:t>
            </a:r>
            <a:r>
              <a:rPr kumimoji="1" lang="ja-JP" altLang="en-US" sz="1400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　　　　　</a:t>
            </a:r>
            <a:r>
              <a:rPr kumimoji="1" lang="ja-JP" altLang="en-US" sz="1400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   例：営業部長 と 中古車マネージャー を兼務</a:t>
            </a:r>
            <a:endParaRPr kumimoji="1" lang="en-US" altLang="ja-JP" sz="1400" dirty="0" smtClean="0"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fontAlgn="base"/>
            <a:r>
              <a:rPr kumimoji="1" lang="ja-JP" altLang="en-US" sz="1400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　</a:t>
            </a:r>
            <a:r>
              <a:rPr kumimoji="1" lang="ja-JP" altLang="en-US" sz="1400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　　　　　　　　　　 支店長 と </a:t>
            </a:r>
            <a:r>
              <a:rPr lang="ja-JP" altLang="en-US" sz="1400" dirty="0" smtClea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支店営業マネージャー</a:t>
            </a:r>
            <a:r>
              <a:rPr kumimoji="1" lang="ja-JP" altLang="en-US" sz="1400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を兼務</a:t>
            </a:r>
            <a:endParaRPr kumimoji="1" lang="en-US" altLang="ja-JP" sz="1400" dirty="0" smtClean="0"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fontAlgn="base"/>
            <a:endParaRPr kumimoji="1" lang="en-US" altLang="ja-JP" sz="1400" dirty="0" smtClean="0"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fontAlgn="base"/>
            <a:r>
              <a:rPr kumimoji="1" lang="ja-JP" altLang="en-US" sz="1400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　</a:t>
            </a:r>
            <a:r>
              <a:rPr kumimoji="1" lang="ja-JP" altLang="en-US" sz="1400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　</a:t>
            </a:r>
            <a:r>
              <a:rPr kumimoji="1" lang="ja-JP" altLang="en-US" sz="1400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　③複数職務を担当しているマネージャー以上のユーザー</a:t>
            </a:r>
            <a:br>
              <a:rPr kumimoji="1" lang="ja-JP" altLang="en-US" sz="1400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</a:br>
            <a:r>
              <a:rPr kumimoji="1" lang="ja-JP" altLang="en-US" sz="1400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　</a:t>
            </a:r>
            <a:r>
              <a:rPr kumimoji="1" lang="ja-JP" altLang="en-US" sz="1400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　</a:t>
            </a:r>
            <a:r>
              <a:rPr kumimoji="1" lang="ja-JP" altLang="en-US" sz="1400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　　　　　</a:t>
            </a:r>
            <a:r>
              <a:rPr kumimoji="1" lang="ja-JP" altLang="en-US" sz="1400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   例：</a:t>
            </a:r>
            <a:r>
              <a:rPr lang="ja-JP" altLang="en-US" sz="1400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支店 </a:t>
            </a:r>
            <a:r>
              <a:rPr lang="ja-JP" altLang="en-US" sz="1400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整備マネージャー</a:t>
            </a:r>
            <a:r>
              <a:rPr kumimoji="1" lang="ja-JP" altLang="en-US" sz="1400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と支店 部品マネージャーを兼務</a:t>
            </a:r>
            <a:endParaRPr kumimoji="1" lang="en-US" altLang="ja-JP" sz="1400" dirty="0" smtClean="0"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fontAlgn="base"/>
            <a:r>
              <a:rPr kumimoji="1" lang="ja-JP" altLang="en-US" sz="1400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　</a:t>
            </a:r>
            <a:r>
              <a:rPr kumimoji="1" lang="ja-JP" altLang="en-US" sz="1400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              　　　 </a:t>
            </a:r>
            <a:r>
              <a:rPr kumimoji="1" lang="en-US" altLang="ja-JP" sz="1400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※</a:t>
            </a:r>
            <a:r>
              <a:rPr kumimoji="1" lang="ja-JP" altLang="en-US" sz="1400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次頁以降に①－③の例を記載　　　　　　　　　　　　　　　　　　</a:t>
            </a:r>
            <a:endParaRPr kumimoji="1" lang="en-US" altLang="ja-JP" sz="1400" dirty="0" smtClean="0"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fontAlgn="base"/>
            <a:r>
              <a:rPr kumimoji="1" lang="ja-JP" altLang="en-US" sz="1400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　</a:t>
            </a:r>
            <a:r>
              <a:rPr kumimoji="1" lang="ja-JP" altLang="en-US" sz="1400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　　　　</a:t>
            </a:r>
            <a:endParaRPr kumimoji="1" lang="ja-JP" altLang="en-US" sz="1400" dirty="0"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4868705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77015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363" name="think-cell スライド" r:id="rId5" imgW="473" imgH="473" progId="TCLayout.ActiveDocument.1">
                  <p:embed/>
                </p:oleObj>
              </mc:Choice>
              <mc:Fallback>
                <p:oleObj name="think-cell スライド" r:id="rId5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TextBox 96"/>
          <p:cNvSpPr txBox="1"/>
          <p:nvPr/>
        </p:nvSpPr>
        <p:spPr bwMode="auto">
          <a:xfrm>
            <a:off x="1200616" y="4600311"/>
            <a:ext cx="1558378" cy="313429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ysDot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lvl="0" fontAlgn="base">
              <a:defRPr sz="1600">
                <a:solidFill>
                  <a:srgbClr val="000000"/>
                </a:solidFill>
                <a:latin typeface="CorpoS" pitchFamily="2" charset="0"/>
              </a:defRPr>
            </a:lvl1pPr>
          </a:lstStyle>
          <a:p>
            <a:pPr algn="ctr"/>
            <a:r>
              <a:rPr lang="ja-JP" altLang="en-US" sz="1400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大田拠点スタッフ</a:t>
            </a:r>
            <a:endParaRPr lang="en-US" altLang="ja-JP" sz="1400" dirty="0"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36" name="TextBox 96"/>
          <p:cNvSpPr txBox="1"/>
          <p:nvPr/>
        </p:nvSpPr>
        <p:spPr bwMode="auto">
          <a:xfrm>
            <a:off x="1185650" y="3592274"/>
            <a:ext cx="1558378" cy="313429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ysDot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lvl="0" fontAlgn="base">
              <a:defRPr sz="1600">
                <a:solidFill>
                  <a:srgbClr val="000000"/>
                </a:solidFill>
                <a:latin typeface="CorpoS" pitchFamily="2" charset="0"/>
              </a:defRPr>
            </a:lvl1pPr>
          </a:lstStyle>
          <a:p>
            <a:pPr algn="ctr"/>
            <a:r>
              <a:rPr lang="ja-JP" altLang="en-US" sz="1400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品川拠点スタッフ</a:t>
            </a:r>
            <a:endParaRPr lang="en-US" altLang="ja-JP" sz="1400" dirty="0"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5" name="タイトル 2"/>
          <p:cNvSpPr txBox="1">
            <a:spLocks/>
          </p:cNvSpPr>
          <p:nvPr/>
        </p:nvSpPr>
        <p:spPr>
          <a:xfrm>
            <a:off x="630328" y="622944"/>
            <a:ext cx="10938894" cy="47100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3943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3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CorpoS" pitchFamily="2" charset="0"/>
              </a:defRPr>
            </a:lvl1pPr>
          </a:lstStyle>
          <a:p>
            <a:pPr marL="0" marR="0" lvl="0" indent="0" algn="l" defTabSz="91394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3300" b="0" i="0" u="none" strike="noStrike" kern="1200" cap="none" spc="0" normalizeH="0" baseline="0" noProof="0">
              <a:ln>
                <a:noFill/>
              </a:ln>
              <a:solidFill>
                <a:srgbClr val="00647F">
                  <a:lumMod val="100000"/>
                </a:srgbClr>
              </a:solidFill>
              <a:effectLst/>
              <a:uLnTx/>
              <a:uFillTx/>
              <a:latin typeface="CorpoS"/>
              <a:ea typeface="+mj-ea"/>
              <a:cs typeface="+mj-cs"/>
              <a:sym typeface="CorpoS" pitchFamily="2" charset="0"/>
            </a:endParaRPr>
          </a:p>
        </p:txBody>
      </p:sp>
      <p:sp>
        <p:nvSpPr>
          <p:cNvPr id="6" name="タイトル 4"/>
          <p:cNvSpPr txBox="1">
            <a:spLocks/>
          </p:cNvSpPr>
          <p:nvPr/>
        </p:nvSpPr>
        <p:spPr>
          <a:xfrm>
            <a:off x="3782287" y="549275"/>
            <a:ext cx="7662239" cy="561600"/>
          </a:xfrm>
          <a:prstGeom prst="rect">
            <a:avLst/>
          </a:prstGeom>
          <a:solidFill>
            <a:sysClr val="window" lastClr="FFFFFF"/>
          </a:solidFill>
          <a:ln w="10795" cap="flat" cmpd="sng" algn="ctr">
            <a:noFill/>
            <a:prstDash val="solid"/>
          </a:ln>
          <a:effectLst/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de-DE"/>
            </a:defPPr>
            <a:lvl1pPr marR="0" lvl="0" indent="0" defTabSz="913943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1" sz="2800" b="0" i="0" u="none" strike="noStrike" cap="none" spc="0" normalizeH="0" baseline="0">
                <a:ln>
                  <a:noFill/>
                </a:ln>
                <a:solidFill>
                  <a:srgbClr val="00647F">
                    <a:lumMod val="100000"/>
                  </a:srgbClr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ja-JP" altLang="en-US" sz="2000" dirty="0" smtClean="0">
                <a:solidFill>
                  <a:schemeClr val="tx1"/>
                </a:solidFill>
                <a:sym typeface="CorpoS" pitchFamily="2" charset="0"/>
              </a:rPr>
              <a:t> </a:t>
            </a:r>
            <a:r>
              <a:rPr lang="en-US" altLang="ja-JP" sz="2000" dirty="0" smtClean="0">
                <a:solidFill>
                  <a:schemeClr val="tx1"/>
                </a:solidFill>
                <a:sym typeface="CorpoS" pitchFamily="2" charset="0"/>
              </a:rPr>
              <a:t>2.3</a:t>
            </a:r>
            <a:r>
              <a:rPr lang="ja-JP" altLang="en-US" sz="2000" dirty="0">
                <a:solidFill>
                  <a:schemeClr val="tx1"/>
                </a:solidFill>
                <a:sym typeface="CorpoS" pitchFamily="2" charset="0"/>
              </a:rPr>
              <a:t>　複数</a:t>
            </a:r>
            <a:r>
              <a:rPr lang="en-US" altLang="ja-JP" sz="2000" dirty="0">
                <a:solidFill>
                  <a:schemeClr val="tx1"/>
                </a:solidFill>
                <a:sym typeface="CorpoS" pitchFamily="2" charset="0"/>
              </a:rPr>
              <a:t>UID</a:t>
            </a:r>
            <a:r>
              <a:rPr lang="ja-JP" altLang="en-US" sz="2000" dirty="0">
                <a:solidFill>
                  <a:schemeClr val="tx1"/>
                </a:solidFill>
                <a:sym typeface="CorpoS" pitchFamily="2" charset="0"/>
              </a:rPr>
              <a:t>が必要な</a:t>
            </a:r>
            <a:r>
              <a:rPr lang="ja-JP" altLang="en-US" sz="2000" dirty="0" smtClean="0">
                <a:solidFill>
                  <a:schemeClr val="tx1"/>
                </a:solidFill>
                <a:sym typeface="CorpoS" pitchFamily="2" charset="0"/>
              </a:rPr>
              <a:t>社員の例　</a:t>
            </a:r>
            <a:r>
              <a:rPr lang="en-US" altLang="ja-JP" sz="2000" dirty="0" smtClean="0">
                <a:solidFill>
                  <a:schemeClr val="tx1"/>
                </a:solidFill>
                <a:sym typeface="CorpoS" pitchFamily="2" charset="0"/>
              </a:rPr>
              <a:t>- </a:t>
            </a:r>
            <a:r>
              <a:rPr lang="ja-JP" altLang="en-US" sz="2000" dirty="0" smtClean="0">
                <a:solidFill>
                  <a:schemeClr val="tx1"/>
                </a:solidFill>
                <a:sym typeface="CorpoS" pitchFamily="2" charset="0"/>
              </a:rPr>
              <a:t>①　複数</a:t>
            </a:r>
            <a:r>
              <a:rPr lang="en-US" altLang="ja-JP" sz="2000" dirty="0" smtClean="0">
                <a:solidFill>
                  <a:schemeClr val="tx1"/>
                </a:solidFill>
                <a:sym typeface="CorpoS" pitchFamily="2" charset="0"/>
              </a:rPr>
              <a:t>SC</a:t>
            </a:r>
            <a:r>
              <a:rPr lang="ja-JP" altLang="en-US" sz="2000" dirty="0" smtClean="0">
                <a:solidFill>
                  <a:schemeClr val="tx1"/>
                </a:solidFill>
                <a:sym typeface="CorpoS" pitchFamily="2" charset="0"/>
              </a:rPr>
              <a:t>・拠点を担当</a:t>
            </a:r>
            <a:endParaRPr lang="ja-JP" altLang="en-US" sz="2000" dirty="0">
              <a:solidFill>
                <a:schemeClr val="tx1"/>
              </a:solidFill>
              <a:sym typeface="CorpoS" pitchFamily="2" charset="0"/>
            </a:endParaRPr>
          </a:p>
        </p:txBody>
      </p:sp>
      <p:sp>
        <p:nvSpPr>
          <p:cNvPr id="7" name="Rechteck 12">
            <a:extLst>
              <a:ext uri="{FF2B5EF4-FFF2-40B4-BE49-F238E27FC236}">
                <a16:creationId xmlns:a16="http://schemas.microsoft.com/office/drawing/2014/main" id="{B247BD26-CC3F-4252-A978-DB140B45A001}"/>
              </a:ext>
            </a:extLst>
          </p:cNvPr>
          <p:cNvSpPr/>
          <p:nvPr/>
        </p:nvSpPr>
        <p:spPr bwMode="gray">
          <a:xfrm>
            <a:off x="628650" y="549275"/>
            <a:ext cx="357372" cy="562201"/>
          </a:xfrm>
          <a:prstGeom prst="rect">
            <a:avLst/>
          </a:prstGeom>
          <a:solidFill>
            <a:sysClr val="windowText" lastClr="000000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marL="0" marR="0" lvl="0" indent="0" algn="ctr" defTabSz="801688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2</a:t>
            </a:r>
          </a:p>
        </p:txBody>
      </p:sp>
      <p:sp>
        <p:nvSpPr>
          <p:cNvPr id="8" name="Rechteck 13">
            <a:extLst>
              <a:ext uri="{FF2B5EF4-FFF2-40B4-BE49-F238E27FC236}">
                <a16:creationId xmlns:a16="http://schemas.microsoft.com/office/drawing/2014/main" id="{FB03C564-73F6-43DE-83D5-F23FDFB7F3F8}"/>
              </a:ext>
            </a:extLst>
          </p:cNvPr>
          <p:cNvSpPr/>
          <p:nvPr/>
        </p:nvSpPr>
        <p:spPr bwMode="gray">
          <a:xfrm>
            <a:off x="985118" y="549275"/>
            <a:ext cx="2783318" cy="562201"/>
          </a:xfrm>
          <a:prstGeom prst="rect">
            <a:avLst/>
          </a:prstGeom>
          <a:solidFill>
            <a:srgbClr val="00647F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128016" tIns="0" rIns="0" bIns="0" anchor="ctr"/>
          <a:lstStyle/>
          <a:p>
            <a:pPr lvl="0" defTabSz="801688" eaLnBrk="0" hangingPunct="0">
              <a:lnSpc>
                <a:spcPct val="90000"/>
              </a:lnSpc>
              <a:defRPr/>
            </a:pPr>
            <a:r>
              <a:rPr lang="ja-JP" altLang="en-US" sz="2000" kern="0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初期配備社員マスタ</a:t>
            </a:r>
            <a:endParaRPr lang="en-US" altLang="ja-JP" sz="2000" kern="0" dirty="0">
              <a:solidFill>
                <a:srgbClr val="FFFFFF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68" name="Rectangle 16"/>
          <p:cNvSpPr/>
          <p:nvPr/>
        </p:nvSpPr>
        <p:spPr>
          <a:xfrm>
            <a:off x="629999" y="1433960"/>
            <a:ext cx="7828201" cy="879750"/>
          </a:xfrm>
          <a:prstGeom prst="rect">
            <a:avLst/>
          </a:prstGeom>
          <a:noFill/>
          <a:ln w="15875" cap="flat" cmpd="sng" algn="ctr">
            <a:solidFill>
              <a:srgbClr val="C8C8C8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E9E9E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18000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1">
              <a:buClr>
                <a:srgbClr val="000000"/>
              </a:buClr>
              <a:buSzPct val="100000"/>
            </a:pPr>
            <a:r>
              <a:rPr lang="ja-JP" altLang="en-US" sz="1400" noProof="1" smtClea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■複数</a:t>
            </a:r>
            <a:r>
              <a:rPr lang="en-US" altLang="ja-JP" sz="1400" noProof="1" smtClea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SC</a:t>
            </a:r>
            <a:r>
              <a:rPr lang="ja-JP" altLang="en-US" sz="1400" noProof="1" smtClea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・拠点の業務を兼務している社員は複数</a:t>
            </a:r>
            <a:r>
              <a:rPr lang="en-US" altLang="ja-JP" sz="1400" noProof="1" smtClea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UID</a:t>
            </a:r>
            <a:r>
              <a:rPr lang="ja-JP" altLang="en-US" sz="1400" noProof="1" smtClea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の保持が必要。</a:t>
            </a:r>
            <a:endParaRPr lang="en-US" altLang="ja-JP" sz="1400" noProof="1" smtClean="0">
              <a:solidFill>
                <a:srgbClr val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marL="0" lvl="1">
              <a:buClr>
                <a:srgbClr val="000000"/>
              </a:buClr>
              <a:buSzPct val="100000"/>
            </a:pPr>
            <a:endParaRPr lang="en-US" sz="1400" noProof="1">
              <a:solidFill>
                <a:srgbClr val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69" name="Rectangle 10"/>
          <p:cNvSpPr/>
          <p:nvPr/>
        </p:nvSpPr>
        <p:spPr>
          <a:xfrm>
            <a:off x="629999" y="2584114"/>
            <a:ext cx="7828201" cy="3744538"/>
          </a:xfrm>
          <a:prstGeom prst="rect">
            <a:avLst/>
          </a:prstGeom>
          <a:noFill/>
          <a:ln w="15875" cap="flat" cmpd="sng" algn="ctr">
            <a:solidFill>
              <a:srgbClr val="C8C8C8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E9E9E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noProof="1"/>
          </a:p>
        </p:txBody>
      </p:sp>
      <p:sp>
        <p:nvSpPr>
          <p:cNvPr id="70" name="Rectangle 77"/>
          <p:cNvSpPr/>
          <p:nvPr/>
        </p:nvSpPr>
        <p:spPr>
          <a:xfrm>
            <a:off x="792369" y="2444750"/>
            <a:ext cx="925595" cy="289205"/>
          </a:xfrm>
          <a:prstGeom prst="rect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FFFFFF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ja-JP" altLang="en-US" sz="1600" i="1" noProof="1" smtClean="0">
                <a:solidFill>
                  <a:schemeClr val="folHlin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詳細</a:t>
            </a:r>
            <a:endParaRPr lang="ja-JP" altLang="en-US" sz="1600" i="1" noProof="1">
              <a:solidFill>
                <a:schemeClr val="folHlink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71" name="Rectangle 57"/>
          <p:cNvSpPr/>
          <p:nvPr/>
        </p:nvSpPr>
        <p:spPr>
          <a:xfrm>
            <a:off x="792370" y="1337293"/>
            <a:ext cx="729000" cy="169754"/>
          </a:xfrm>
          <a:prstGeom prst="rect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FFFFFF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ja-JP" altLang="en-US" sz="1600" i="1" noProof="1" smtClean="0">
                <a:solidFill>
                  <a:schemeClr val="folHlin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概要</a:t>
            </a:r>
            <a:endParaRPr lang="ja-JP" altLang="en-US" sz="1600" i="1" noProof="1">
              <a:solidFill>
                <a:schemeClr val="folHlink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72" name="Rectangle 46"/>
          <p:cNvSpPr/>
          <p:nvPr/>
        </p:nvSpPr>
        <p:spPr>
          <a:xfrm>
            <a:off x="8674359" y="1433958"/>
            <a:ext cx="3074296" cy="4894694"/>
          </a:xfrm>
          <a:prstGeom prst="rect">
            <a:avLst/>
          </a:prstGeom>
          <a:noFill/>
          <a:ln w="15875" cap="flat" cmpd="sng" algn="ctr">
            <a:solidFill>
              <a:srgbClr val="C8C8C8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E9E9E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0" rIns="9144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1">
              <a:buClr>
                <a:srgbClr val="000000"/>
              </a:buClr>
              <a:buSzPct val="100000"/>
            </a:pPr>
            <a:endParaRPr lang="en-US" altLang="ja-JP" sz="1400" dirty="0" smtClean="0"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marL="85725" lvl="1">
              <a:buClr>
                <a:srgbClr val="000000"/>
              </a:buClr>
              <a:buSzPct val="100000"/>
            </a:pPr>
            <a:r>
              <a:rPr lang="ja-JP" altLang="en-US" sz="1200" noProof="1" smtClea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■</a:t>
            </a:r>
            <a:r>
              <a:rPr lang="en-US" altLang="ja-JP" sz="1200" noProof="1" smtClea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SC</a:t>
            </a:r>
            <a:r>
              <a:rPr lang="ja-JP" altLang="en-US" sz="1200" noProof="1" smtClea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本部に所属している社員については</a:t>
            </a:r>
            <a:endParaRPr lang="en-US" altLang="ja-JP" sz="1200" noProof="1" smtClean="0">
              <a:solidFill>
                <a:srgbClr val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marL="85725" lvl="1">
              <a:buClr>
                <a:srgbClr val="000000"/>
              </a:buClr>
              <a:buSzPct val="100000"/>
            </a:pPr>
            <a:r>
              <a:rPr lang="ja-JP" altLang="en-US" sz="1200" noProof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　</a:t>
            </a:r>
            <a:r>
              <a:rPr lang="ja-JP" altLang="en-US" sz="1200" noProof="1" smtClea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南関東業務用、甲信業務用の社員レコード</a:t>
            </a:r>
            <a:endParaRPr lang="en-US" altLang="ja-JP" sz="1200" noProof="1" smtClean="0">
              <a:solidFill>
                <a:srgbClr val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marL="85725" lvl="1">
              <a:buClr>
                <a:srgbClr val="000000"/>
              </a:buClr>
              <a:buSzPct val="100000"/>
            </a:pPr>
            <a:r>
              <a:rPr lang="ja-JP" altLang="en-US" sz="1200" noProof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　</a:t>
            </a:r>
            <a:r>
              <a:rPr lang="ja-JP" altLang="en-US" sz="1200" noProof="1" smtClea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を作成済み。</a:t>
            </a:r>
            <a:endParaRPr lang="en-US" altLang="ja-JP" sz="1200" noProof="1" smtClean="0">
              <a:solidFill>
                <a:srgbClr val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marL="85725" lvl="1">
              <a:buClr>
                <a:srgbClr val="000000"/>
              </a:buClr>
              <a:buSzPct val="100000"/>
            </a:pPr>
            <a:endParaRPr lang="en-US" altLang="ja-JP" sz="1200" noProof="1">
              <a:solidFill>
                <a:srgbClr val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marL="85725" lvl="1">
              <a:buClr>
                <a:srgbClr val="000000"/>
              </a:buClr>
              <a:buSzPct val="100000"/>
            </a:pPr>
            <a:r>
              <a:rPr lang="ja-JP" altLang="en-US" sz="1200" noProof="1" smtClea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■</a:t>
            </a:r>
            <a:r>
              <a:rPr lang="en-US" altLang="ja-JP" sz="1200" noProof="1" smtClea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Hub</a:t>
            </a:r>
            <a:r>
              <a:rPr lang="ja-JP" altLang="en-US" sz="1200" noProof="1" smtClea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と</a:t>
            </a:r>
            <a:r>
              <a:rPr lang="en-US" altLang="ja-JP" sz="1200" noProof="1" smtClea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Spork</a:t>
            </a:r>
            <a:r>
              <a:rPr lang="ja-JP" altLang="en-US" sz="1200" noProof="1" smtClea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の部品マネージャーについては</a:t>
            </a:r>
            <a:endParaRPr lang="en-US" altLang="ja-JP" sz="1200" noProof="1" smtClean="0">
              <a:solidFill>
                <a:srgbClr val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marL="85725" lvl="1">
              <a:buClr>
                <a:srgbClr val="000000"/>
              </a:buClr>
              <a:buSzPct val="100000"/>
            </a:pPr>
            <a:r>
              <a:rPr lang="ja-JP" altLang="en-US" sz="1200" noProof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　 </a:t>
            </a:r>
            <a:r>
              <a:rPr lang="ja-JP" altLang="en-US" sz="1200" noProof="1" smtClea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同マネージャーにて設定済み</a:t>
            </a:r>
            <a:endParaRPr lang="en-US" altLang="ja-JP" sz="1200" noProof="1" smtClean="0">
              <a:solidFill>
                <a:srgbClr val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marL="85725" lvl="1">
              <a:buClr>
                <a:srgbClr val="000000"/>
              </a:buClr>
              <a:buSzPct val="100000"/>
            </a:pPr>
            <a:r>
              <a:rPr lang="ja-JP" altLang="en-US" sz="1200" noProof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　 </a:t>
            </a:r>
          </a:p>
        </p:txBody>
      </p:sp>
      <p:sp>
        <p:nvSpPr>
          <p:cNvPr id="73" name="Rectangle 48"/>
          <p:cNvSpPr/>
          <p:nvPr/>
        </p:nvSpPr>
        <p:spPr>
          <a:xfrm>
            <a:off x="8926618" y="1310518"/>
            <a:ext cx="937818" cy="196529"/>
          </a:xfrm>
          <a:prstGeom prst="rect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FFFFFF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ja-JP" altLang="en-US" sz="1600" i="1" noProof="1" smtClean="0">
                <a:solidFill>
                  <a:schemeClr val="folHlin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注意点</a:t>
            </a:r>
            <a:endParaRPr lang="en-US" sz="1600" i="1" noProof="1" smtClean="0">
              <a:solidFill>
                <a:schemeClr val="folHlink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grpSp>
        <p:nvGrpSpPr>
          <p:cNvPr id="76" name="Group 112"/>
          <p:cNvGrpSpPr>
            <a:grpSpLocks noChangeAspect="1"/>
          </p:cNvGrpSpPr>
          <p:nvPr/>
        </p:nvGrpSpPr>
        <p:grpSpPr>
          <a:xfrm>
            <a:off x="2762282" y="3487677"/>
            <a:ext cx="635336" cy="635336"/>
            <a:chOff x="1563866" y="3369910"/>
            <a:chExt cx="994581" cy="994581"/>
          </a:xfrm>
        </p:grpSpPr>
        <p:grpSp>
          <p:nvGrpSpPr>
            <p:cNvPr id="77" name="Group 131"/>
            <p:cNvGrpSpPr>
              <a:grpSpLocks noChangeAspect="1"/>
            </p:cNvGrpSpPr>
            <p:nvPr/>
          </p:nvGrpSpPr>
          <p:grpSpPr bwMode="gray">
            <a:xfrm>
              <a:off x="1563866" y="3369910"/>
              <a:ext cx="994581" cy="994581"/>
              <a:chOff x="4814888" y="1222375"/>
              <a:chExt cx="828675" cy="828675"/>
            </a:xfrm>
          </p:grpSpPr>
          <p:sp>
            <p:nvSpPr>
              <p:cNvPr id="79" name="AutoShape 13"/>
              <p:cNvSpPr>
                <a:spLocks noChangeAspect="1" noChangeArrowheads="1" noTextEdit="1"/>
              </p:cNvSpPr>
              <p:nvPr/>
            </p:nvSpPr>
            <p:spPr bwMode="gray">
              <a:xfrm>
                <a:off x="4814888" y="1222375"/>
                <a:ext cx="828675" cy="8286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0" name="Freeform 15"/>
              <p:cNvSpPr>
                <a:spLocks/>
              </p:cNvSpPr>
              <p:nvPr/>
            </p:nvSpPr>
            <p:spPr bwMode="gray">
              <a:xfrm>
                <a:off x="4956176" y="1600200"/>
                <a:ext cx="250825" cy="339725"/>
              </a:xfrm>
              <a:custGeom>
                <a:avLst/>
                <a:gdLst>
                  <a:gd name="T0" fmla="*/ 183 w 439"/>
                  <a:gd name="T1" fmla="*/ 290 h 580"/>
                  <a:gd name="T2" fmla="*/ 214 w 439"/>
                  <a:gd name="T3" fmla="*/ 259 h 580"/>
                  <a:gd name="T4" fmla="*/ 439 w 439"/>
                  <a:gd name="T5" fmla="*/ 259 h 580"/>
                  <a:gd name="T6" fmla="*/ 295 w 439"/>
                  <a:gd name="T7" fmla="*/ 0 h 580"/>
                  <a:gd name="T8" fmla="*/ 189 w 439"/>
                  <a:gd name="T9" fmla="*/ 22 h 580"/>
                  <a:gd name="T10" fmla="*/ 132 w 439"/>
                  <a:gd name="T11" fmla="*/ 76 h 580"/>
                  <a:gd name="T12" fmla="*/ 6 w 439"/>
                  <a:gd name="T13" fmla="*/ 486 h 580"/>
                  <a:gd name="T14" fmla="*/ 19 w 439"/>
                  <a:gd name="T15" fmla="*/ 551 h 580"/>
                  <a:gd name="T16" fmla="*/ 78 w 439"/>
                  <a:gd name="T17" fmla="*/ 580 h 580"/>
                  <a:gd name="T18" fmla="*/ 184 w 439"/>
                  <a:gd name="T19" fmla="*/ 580 h 580"/>
                  <a:gd name="T20" fmla="*/ 183 w 439"/>
                  <a:gd name="T21" fmla="*/ 290 h 580"/>
                  <a:gd name="T22" fmla="*/ 183 w 439"/>
                  <a:gd name="T23" fmla="*/ 290 h 5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39" h="580">
                    <a:moveTo>
                      <a:pt x="183" y="290"/>
                    </a:moveTo>
                    <a:lnTo>
                      <a:pt x="214" y="259"/>
                    </a:lnTo>
                    <a:lnTo>
                      <a:pt x="439" y="259"/>
                    </a:lnTo>
                    <a:lnTo>
                      <a:pt x="295" y="0"/>
                    </a:lnTo>
                    <a:lnTo>
                      <a:pt x="189" y="22"/>
                    </a:lnTo>
                    <a:cubicBezTo>
                      <a:pt x="162" y="27"/>
                      <a:pt x="140" y="48"/>
                      <a:pt x="132" y="76"/>
                    </a:cubicBezTo>
                    <a:lnTo>
                      <a:pt x="6" y="486"/>
                    </a:lnTo>
                    <a:cubicBezTo>
                      <a:pt x="0" y="509"/>
                      <a:pt x="5" y="532"/>
                      <a:pt x="19" y="551"/>
                    </a:cubicBezTo>
                    <a:cubicBezTo>
                      <a:pt x="34" y="569"/>
                      <a:pt x="55" y="580"/>
                      <a:pt x="78" y="580"/>
                    </a:cubicBezTo>
                    <a:lnTo>
                      <a:pt x="184" y="580"/>
                    </a:lnTo>
                    <a:lnTo>
                      <a:pt x="183" y="290"/>
                    </a:lnTo>
                    <a:lnTo>
                      <a:pt x="183" y="290"/>
                    </a:lnTo>
                    <a:close/>
                  </a:path>
                </a:pathLst>
              </a:custGeom>
              <a:solidFill>
                <a:srgbClr val="4D4D4D"/>
              </a:solidFill>
              <a:ln w="0">
                <a:noFill/>
                <a:prstDash val="solid"/>
                <a:round/>
                <a:headEnd/>
                <a:tailEnd/>
              </a:ln>
              <a:extLst>
                <a:ext uri="{91240B29-F687-4F45-9708-019B960494DF}">
                  <a14:hiddenLine xmlns:a14="http://schemas.microsoft.com/office/drawing/2010/main"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1" name="Freeform 16"/>
              <p:cNvSpPr>
                <a:spLocks/>
              </p:cNvSpPr>
              <p:nvPr/>
            </p:nvSpPr>
            <p:spPr bwMode="gray">
              <a:xfrm>
                <a:off x="5229226" y="1600200"/>
                <a:ext cx="252413" cy="339725"/>
              </a:xfrm>
              <a:custGeom>
                <a:avLst/>
                <a:gdLst>
                  <a:gd name="T0" fmla="*/ 433 w 439"/>
                  <a:gd name="T1" fmla="*/ 485 h 579"/>
                  <a:gd name="T2" fmla="*/ 307 w 439"/>
                  <a:gd name="T3" fmla="*/ 75 h 579"/>
                  <a:gd name="T4" fmla="*/ 249 w 439"/>
                  <a:gd name="T5" fmla="*/ 20 h 579"/>
                  <a:gd name="T6" fmla="*/ 143 w 439"/>
                  <a:gd name="T7" fmla="*/ 0 h 579"/>
                  <a:gd name="T8" fmla="*/ 0 w 439"/>
                  <a:gd name="T9" fmla="*/ 258 h 579"/>
                  <a:gd name="T10" fmla="*/ 242 w 439"/>
                  <a:gd name="T11" fmla="*/ 258 h 579"/>
                  <a:gd name="T12" fmla="*/ 273 w 439"/>
                  <a:gd name="T13" fmla="*/ 289 h 579"/>
                  <a:gd name="T14" fmla="*/ 273 w 439"/>
                  <a:gd name="T15" fmla="*/ 579 h 579"/>
                  <a:gd name="T16" fmla="*/ 361 w 439"/>
                  <a:gd name="T17" fmla="*/ 579 h 579"/>
                  <a:gd name="T18" fmla="*/ 420 w 439"/>
                  <a:gd name="T19" fmla="*/ 550 h 579"/>
                  <a:gd name="T20" fmla="*/ 433 w 439"/>
                  <a:gd name="T21" fmla="*/ 485 h 5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39" h="579">
                    <a:moveTo>
                      <a:pt x="433" y="485"/>
                    </a:moveTo>
                    <a:lnTo>
                      <a:pt x="307" y="75"/>
                    </a:lnTo>
                    <a:cubicBezTo>
                      <a:pt x="299" y="47"/>
                      <a:pt x="277" y="26"/>
                      <a:pt x="249" y="20"/>
                    </a:cubicBezTo>
                    <a:lnTo>
                      <a:pt x="143" y="0"/>
                    </a:lnTo>
                    <a:lnTo>
                      <a:pt x="0" y="258"/>
                    </a:lnTo>
                    <a:lnTo>
                      <a:pt x="242" y="258"/>
                    </a:lnTo>
                    <a:lnTo>
                      <a:pt x="273" y="289"/>
                    </a:lnTo>
                    <a:lnTo>
                      <a:pt x="273" y="579"/>
                    </a:lnTo>
                    <a:lnTo>
                      <a:pt x="361" y="579"/>
                    </a:lnTo>
                    <a:cubicBezTo>
                      <a:pt x="384" y="579"/>
                      <a:pt x="406" y="568"/>
                      <a:pt x="420" y="550"/>
                    </a:cubicBezTo>
                    <a:cubicBezTo>
                      <a:pt x="434" y="531"/>
                      <a:pt x="439" y="508"/>
                      <a:pt x="433" y="485"/>
                    </a:cubicBezTo>
                    <a:close/>
                  </a:path>
                </a:pathLst>
              </a:custGeom>
              <a:solidFill>
                <a:srgbClr val="4D4D4D"/>
              </a:solidFill>
              <a:ln w="0">
                <a:noFill/>
                <a:prstDash val="solid"/>
                <a:round/>
                <a:headEnd/>
                <a:tailEnd/>
              </a:ln>
              <a:extLst>
                <a:ext uri="{91240B29-F687-4F45-9708-019B960494DF}">
                  <a14:hiddenLine xmlns:a14="http://schemas.microsoft.com/office/drawing/2010/main"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2" name="Freeform 17"/>
              <p:cNvSpPr>
                <a:spLocks/>
              </p:cNvSpPr>
              <p:nvPr/>
            </p:nvSpPr>
            <p:spPr bwMode="gray">
              <a:xfrm>
                <a:off x="5091113" y="1787525"/>
                <a:ext cx="258763" cy="152400"/>
              </a:xfrm>
              <a:custGeom>
                <a:avLst/>
                <a:gdLst>
                  <a:gd name="T0" fmla="*/ 0 w 163"/>
                  <a:gd name="T1" fmla="*/ 96 h 96"/>
                  <a:gd name="T2" fmla="*/ 160 w 163"/>
                  <a:gd name="T3" fmla="*/ 96 h 96"/>
                  <a:gd name="T4" fmla="*/ 160 w 163"/>
                  <a:gd name="T5" fmla="*/ 96 h 96"/>
                  <a:gd name="T6" fmla="*/ 163 w 163"/>
                  <a:gd name="T7" fmla="*/ 96 h 96"/>
                  <a:gd name="T8" fmla="*/ 163 w 163"/>
                  <a:gd name="T9" fmla="*/ 0 h 96"/>
                  <a:gd name="T10" fmla="*/ 3 w 163"/>
                  <a:gd name="T11" fmla="*/ 0 h 96"/>
                  <a:gd name="T12" fmla="*/ 3 w 163"/>
                  <a:gd name="T13" fmla="*/ 96 h 96"/>
                  <a:gd name="T14" fmla="*/ 0 w 163"/>
                  <a:gd name="T15" fmla="*/ 96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3" h="96">
                    <a:moveTo>
                      <a:pt x="0" y="96"/>
                    </a:moveTo>
                    <a:lnTo>
                      <a:pt x="160" y="96"/>
                    </a:lnTo>
                    <a:lnTo>
                      <a:pt x="160" y="96"/>
                    </a:lnTo>
                    <a:lnTo>
                      <a:pt x="163" y="96"/>
                    </a:lnTo>
                    <a:lnTo>
                      <a:pt x="163" y="0"/>
                    </a:lnTo>
                    <a:lnTo>
                      <a:pt x="3" y="0"/>
                    </a:lnTo>
                    <a:lnTo>
                      <a:pt x="3" y="96"/>
                    </a:lnTo>
                    <a:lnTo>
                      <a:pt x="0" y="96"/>
                    </a:ln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3" name="Rectangle 18"/>
              <p:cNvSpPr>
                <a:spLocks noChangeArrowheads="1"/>
              </p:cNvSpPr>
              <p:nvPr/>
            </p:nvSpPr>
            <p:spPr bwMode="gray">
              <a:xfrm>
                <a:off x="5026026" y="1955800"/>
                <a:ext cx="385763" cy="31750"/>
              </a:xfrm>
              <a:prstGeom prst="rect">
                <a:avLst/>
              </a:prstGeom>
              <a:solidFill>
                <a:srgbClr val="4D4D4D"/>
              </a:solidFill>
              <a:ln w="0">
                <a:noFill/>
                <a:prstDash val="solid"/>
                <a:miter lim="800000"/>
                <a:headEnd/>
                <a:tailEnd/>
              </a:ln>
              <a:extLst>
                <a:ext uri="{91240B29-F687-4F45-9708-019B960494DF}">
                  <a14:hiddenLine xmlns:a14="http://schemas.microsoft.com/office/drawing/2010/main" w="0">
                    <a:solidFill>
                      <a:srgbClr val="000000"/>
                    </a:solidFill>
                    <a:prstDash val="solid"/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4" name="Freeform 19"/>
              <p:cNvSpPr>
                <a:spLocks noEditPoints="1"/>
              </p:cNvSpPr>
              <p:nvPr/>
            </p:nvSpPr>
            <p:spPr bwMode="gray">
              <a:xfrm>
                <a:off x="5073651" y="1284288"/>
                <a:ext cx="287338" cy="346075"/>
              </a:xfrm>
              <a:custGeom>
                <a:avLst/>
                <a:gdLst>
                  <a:gd name="T0" fmla="*/ 13 w 501"/>
                  <a:gd name="T1" fmla="*/ 358 h 591"/>
                  <a:gd name="T2" fmla="*/ 17 w 501"/>
                  <a:gd name="T3" fmla="*/ 368 h 591"/>
                  <a:gd name="T4" fmla="*/ 37 w 501"/>
                  <a:gd name="T5" fmla="*/ 402 h 591"/>
                  <a:gd name="T6" fmla="*/ 252 w 501"/>
                  <a:gd name="T7" fmla="*/ 590 h 591"/>
                  <a:gd name="T8" fmla="*/ 465 w 501"/>
                  <a:gd name="T9" fmla="*/ 401 h 591"/>
                  <a:gd name="T10" fmla="*/ 484 w 501"/>
                  <a:gd name="T11" fmla="*/ 366 h 591"/>
                  <a:gd name="T12" fmla="*/ 488 w 501"/>
                  <a:gd name="T13" fmla="*/ 356 h 591"/>
                  <a:gd name="T14" fmla="*/ 479 w 501"/>
                  <a:gd name="T15" fmla="*/ 288 h 591"/>
                  <a:gd name="T16" fmla="*/ 479 w 501"/>
                  <a:gd name="T17" fmla="*/ 286 h 591"/>
                  <a:gd name="T18" fmla="*/ 250 w 501"/>
                  <a:gd name="T19" fmla="*/ 1 h 591"/>
                  <a:gd name="T20" fmla="*/ 22 w 501"/>
                  <a:gd name="T21" fmla="*/ 287 h 591"/>
                  <a:gd name="T22" fmla="*/ 22 w 501"/>
                  <a:gd name="T23" fmla="*/ 290 h 591"/>
                  <a:gd name="T24" fmla="*/ 13 w 501"/>
                  <a:gd name="T25" fmla="*/ 358 h 591"/>
                  <a:gd name="T26" fmla="*/ 43 w 501"/>
                  <a:gd name="T27" fmla="*/ 313 h 591"/>
                  <a:gd name="T28" fmla="*/ 43 w 501"/>
                  <a:gd name="T29" fmla="*/ 313 h 591"/>
                  <a:gd name="T30" fmla="*/ 51 w 501"/>
                  <a:gd name="T31" fmla="*/ 306 h 591"/>
                  <a:gd name="T32" fmla="*/ 88 w 501"/>
                  <a:gd name="T33" fmla="*/ 312 h 591"/>
                  <a:gd name="T34" fmla="*/ 96 w 501"/>
                  <a:gd name="T35" fmla="*/ 307 h 591"/>
                  <a:gd name="T36" fmla="*/ 119 w 501"/>
                  <a:gd name="T37" fmla="*/ 254 h 591"/>
                  <a:gd name="T38" fmla="*/ 323 w 501"/>
                  <a:gd name="T39" fmla="*/ 282 h 591"/>
                  <a:gd name="T40" fmla="*/ 382 w 501"/>
                  <a:gd name="T41" fmla="*/ 275 h 591"/>
                  <a:gd name="T42" fmla="*/ 397 w 501"/>
                  <a:gd name="T43" fmla="*/ 311 h 591"/>
                  <a:gd name="T44" fmla="*/ 404 w 501"/>
                  <a:gd name="T45" fmla="*/ 316 h 591"/>
                  <a:gd name="T46" fmla="*/ 406 w 501"/>
                  <a:gd name="T47" fmla="*/ 315 h 591"/>
                  <a:gd name="T48" fmla="*/ 449 w 501"/>
                  <a:gd name="T49" fmla="*/ 303 h 591"/>
                  <a:gd name="T50" fmla="*/ 458 w 501"/>
                  <a:gd name="T51" fmla="*/ 312 h 591"/>
                  <a:gd name="T52" fmla="*/ 459 w 501"/>
                  <a:gd name="T53" fmla="*/ 312 h 591"/>
                  <a:gd name="T54" fmla="*/ 460 w 501"/>
                  <a:gd name="T55" fmla="*/ 343 h 591"/>
                  <a:gd name="T56" fmla="*/ 455 w 501"/>
                  <a:gd name="T57" fmla="*/ 355 h 591"/>
                  <a:gd name="T58" fmla="*/ 444 w 501"/>
                  <a:gd name="T59" fmla="*/ 378 h 591"/>
                  <a:gd name="T60" fmla="*/ 437 w 501"/>
                  <a:gd name="T61" fmla="*/ 387 h 591"/>
                  <a:gd name="T62" fmla="*/ 252 w 501"/>
                  <a:gd name="T63" fmla="*/ 559 h 591"/>
                  <a:gd name="T64" fmla="*/ 65 w 501"/>
                  <a:gd name="T65" fmla="*/ 388 h 591"/>
                  <a:gd name="T66" fmla="*/ 58 w 501"/>
                  <a:gd name="T67" fmla="*/ 379 h 591"/>
                  <a:gd name="T68" fmla="*/ 46 w 501"/>
                  <a:gd name="T69" fmla="*/ 356 h 591"/>
                  <a:gd name="T70" fmla="*/ 41 w 501"/>
                  <a:gd name="T71" fmla="*/ 344 h 591"/>
                  <a:gd name="T72" fmla="*/ 43 w 501"/>
                  <a:gd name="T73" fmla="*/ 313 h 5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501" h="591">
                    <a:moveTo>
                      <a:pt x="13" y="358"/>
                    </a:moveTo>
                    <a:cubicBezTo>
                      <a:pt x="14" y="360"/>
                      <a:pt x="16" y="364"/>
                      <a:pt x="17" y="368"/>
                    </a:cubicBezTo>
                    <a:cubicBezTo>
                      <a:pt x="24" y="384"/>
                      <a:pt x="29" y="395"/>
                      <a:pt x="37" y="402"/>
                    </a:cubicBezTo>
                    <a:cubicBezTo>
                      <a:pt x="71" y="513"/>
                      <a:pt x="159" y="591"/>
                      <a:pt x="252" y="590"/>
                    </a:cubicBezTo>
                    <a:cubicBezTo>
                      <a:pt x="346" y="590"/>
                      <a:pt x="433" y="512"/>
                      <a:pt x="465" y="401"/>
                    </a:cubicBezTo>
                    <a:cubicBezTo>
                      <a:pt x="473" y="394"/>
                      <a:pt x="478" y="382"/>
                      <a:pt x="484" y="366"/>
                    </a:cubicBezTo>
                    <a:cubicBezTo>
                      <a:pt x="486" y="362"/>
                      <a:pt x="487" y="359"/>
                      <a:pt x="488" y="356"/>
                    </a:cubicBezTo>
                    <a:cubicBezTo>
                      <a:pt x="501" y="330"/>
                      <a:pt x="497" y="302"/>
                      <a:pt x="479" y="288"/>
                    </a:cubicBezTo>
                    <a:lnTo>
                      <a:pt x="479" y="286"/>
                    </a:lnTo>
                    <a:cubicBezTo>
                      <a:pt x="479" y="147"/>
                      <a:pt x="460" y="0"/>
                      <a:pt x="250" y="1"/>
                    </a:cubicBezTo>
                    <a:cubicBezTo>
                      <a:pt x="39" y="1"/>
                      <a:pt x="21" y="143"/>
                      <a:pt x="22" y="287"/>
                    </a:cubicBezTo>
                    <a:cubicBezTo>
                      <a:pt x="22" y="288"/>
                      <a:pt x="22" y="289"/>
                      <a:pt x="22" y="290"/>
                    </a:cubicBezTo>
                    <a:cubicBezTo>
                      <a:pt x="4" y="304"/>
                      <a:pt x="0" y="332"/>
                      <a:pt x="13" y="358"/>
                    </a:cubicBezTo>
                    <a:close/>
                    <a:moveTo>
                      <a:pt x="43" y="313"/>
                    </a:moveTo>
                    <a:lnTo>
                      <a:pt x="43" y="313"/>
                    </a:lnTo>
                    <a:cubicBezTo>
                      <a:pt x="47" y="312"/>
                      <a:pt x="49" y="309"/>
                      <a:pt x="51" y="306"/>
                    </a:cubicBezTo>
                    <a:lnTo>
                      <a:pt x="88" y="312"/>
                    </a:lnTo>
                    <a:cubicBezTo>
                      <a:pt x="91" y="312"/>
                      <a:pt x="95" y="311"/>
                      <a:pt x="96" y="307"/>
                    </a:cubicBezTo>
                    <a:lnTo>
                      <a:pt x="119" y="254"/>
                    </a:lnTo>
                    <a:cubicBezTo>
                      <a:pt x="146" y="260"/>
                      <a:pt x="245" y="283"/>
                      <a:pt x="323" y="282"/>
                    </a:cubicBezTo>
                    <a:cubicBezTo>
                      <a:pt x="347" y="282"/>
                      <a:pt x="367" y="280"/>
                      <a:pt x="382" y="275"/>
                    </a:cubicBezTo>
                    <a:lnTo>
                      <a:pt x="397" y="311"/>
                    </a:lnTo>
                    <a:cubicBezTo>
                      <a:pt x="398" y="314"/>
                      <a:pt x="401" y="316"/>
                      <a:pt x="404" y="316"/>
                    </a:cubicBezTo>
                    <a:cubicBezTo>
                      <a:pt x="405" y="316"/>
                      <a:pt x="406" y="315"/>
                      <a:pt x="406" y="315"/>
                    </a:cubicBezTo>
                    <a:lnTo>
                      <a:pt x="449" y="303"/>
                    </a:lnTo>
                    <a:cubicBezTo>
                      <a:pt x="451" y="307"/>
                      <a:pt x="454" y="310"/>
                      <a:pt x="458" y="312"/>
                    </a:cubicBezTo>
                    <a:lnTo>
                      <a:pt x="459" y="312"/>
                    </a:lnTo>
                    <a:cubicBezTo>
                      <a:pt x="465" y="315"/>
                      <a:pt x="467" y="329"/>
                      <a:pt x="460" y="343"/>
                    </a:cubicBezTo>
                    <a:cubicBezTo>
                      <a:pt x="459" y="346"/>
                      <a:pt x="457" y="350"/>
                      <a:pt x="455" y="355"/>
                    </a:cubicBezTo>
                    <a:cubicBezTo>
                      <a:pt x="453" y="361"/>
                      <a:pt x="447" y="374"/>
                      <a:pt x="444" y="378"/>
                    </a:cubicBezTo>
                    <a:cubicBezTo>
                      <a:pt x="440" y="380"/>
                      <a:pt x="438" y="383"/>
                      <a:pt x="437" y="387"/>
                    </a:cubicBezTo>
                    <a:cubicBezTo>
                      <a:pt x="409" y="488"/>
                      <a:pt x="333" y="559"/>
                      <a:pt x="252" y="559"/>
                    </a:cubicBezTo>
                    <a:cubicBezTo>
                      <a:pt x="171" y="559"/>
                      <a:pt x="94" y="489"/>
                      <a:pt x="65" y="388"/>
                    </a:cubicBezTo>
                    <a:cubicBezTo>
                      <a:pt x="64" y="384"/>
                      <a:pt x="61" y="381"/>
                      <a:pt x="58" y="379"/>
                    </a:cubicBezTo>
                    <a:cubicBezTo>
                      <a:pt x="54" y="376"/>
                      <a:pt x="49" y="362"/>
                      <a:pt x="46" y="356"/>
                    </a:cubicBezTo>
                    <a:cubicBezTo>
                      <a:pt x="44" y="351"/>
                      <a:pt x="43" y="347"/>
                      <a:pt x="41" y="344"/>
                    </a:cubicBezTo>
                    <a:cubicBezTo>
                      <a:pt x="34" y="330"/>
                      <a:pt x="36" y="316"/>
                      <a:pt x="43" y="313"/>
                    </a:cubicBezTo>
                    <a:close/>
                  </a:path>
                </a:pathLst>
              </a:custGeom>
              <a:solidFill>
                <a:srgbClr val="4D4D4D"/>
              </a:solidFill>
              <a:ln w="0">
                <a:noFill/>
                <a:prstDash val="solid"/>
                <a:round/>
                <a:headEnd/>
                <a:tailEnd/>
              </a:ln>
              <a:extLst>
                <a:ext uri="{91240B29-F687-4F45-9708-019B960494DF}">
                  <a14:hiddenLine xmlns:a14="http://schemas.microsoft.com/office/drawing/2010/main"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pic>
          <p:nvPicPr>
            <p:cNvPr id="78" name="Picture 3" descr="C:\Users\rajarrv\AppData\Local\Microsoft\Windows\Temporary Internet Files\Content.Outlook\3CY2KM7L\B-No Background FORCE LOGO.png"/>
            <p:cNvPicPr>
              <a:picLocks noChangeAspect="1" noChangeArrowheads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919134" y="4095401"/>
              <a:ext cx="276515" cy="7896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cxnSp>
        <p:nvCxnSpPr>
          <p:cNvPr id="85" name="直線コネクタ 84"/>
          <p:cNvCxnSpPr/>
          <p:nvPr/>
        </p:nvCxnSpPr>
        <p:spPr bwMode="auto">
          <a:xfrm flipV="1">
            <a:off x="1230610" y="4294456"/>
            <a:ext cx="5905727" cy="13855"/>
          </a:xfrm>
          <a:prstGeom prst="line">
            <a:avLst/>
          </a:prstGeom>
          <a:noFill/>
          <a:ln w="15875" cap="flat" cmpd="sng" algn="ctr">
            <a:solidFill>
              <a:srgbClr val="C8C8C8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E9E9E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0" name="直線矢印コネクタ 89"/>
          <p:cNvCxnSpPr>
            <a:stCxn id="79" idx="3"/>
          </p:cNvCxnSpPr>
          <p:nvPr/>
        </p:nvCxnSpPr>
        <p:spPr>
          <a:xfrm>
            <a:off x="3397618" y="3805345"/>
            <a:ext cx="1553220" cy="1092271"/>
          </a:xfrm>
          <a:prstGeom prst="straightConnector1">
            <a:avLst/>
          </a:prstGeom>
          <a:noFill/>
          <a:ln w="9525" cap="rnd" cmpd="sng" algn="ctr">
            <a:solidFill>
              <a:sysClr val="windowText" lastClr="000000">
                <a:lumMod val="60000"/>
                <a:lumOff val="40000"/>
              </a:sysClr>
            </a:solidFill>
            <a:prstDash val="solid"/>
            <a:round/>
            <a:tailEnd type="triangle"/>
          </a:ln>
          <a:effectLst/>
        </p:spPr>
      </p:cxnSp>
      <p:cxnSp>
        <p:nvCxnSpPr>
          <p:cNvPr id="91" name="直線矢印コネクタ 90"/>
          <p:cNvCxnSpPr>
            <a:stCxn id="79" idx="3"/>
          </p:cNvCxnSpPr>
          <p:nvPr/>
        </p:nvCxnSpPr>
        <p:spPr>
          <a:xfrm flipV="1">
            <a:off x="3397618" y="3799108"/>
            <a:ext cx="1539365" cy="6237"/>
          </a:xfrm>
          <a:prstGeom prst="straightConnector1">
            <a:avLst/>
          </a:prstGeom>
          <a:noFill/>
          <a:ln w="9525" cap="rnd" cmpd="sng" algn="ctr">
            <a:solidFill>
              <a:sysClr val="windowText" lastClr="000000">
                <a:lumMod val="60000"/>
                <a:lumOff val="40000"/>
              </a:sysClr>
            </a:solidFill>
            <a:prstDash val="solid"/>
            <a:round/>
            <a:tailEnd type="triangle"/>
          </a:ln>
          <a:effectLst/>
        </p:spPr>
      </p:cxnSp>
      <p:sp>
        <p:nvSpPr>
          <p:cNvPr id="92" name="正方形/長方形 91"/>
          <p:cNvSpPr/>
          <p:nvPr/>
        </p:nvSpPr>
        <p:spPr>
          <a:xfrm>
            <a:off x="3515679" y="3430044"/>
            <a:ext cx="1135247" cy="27699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solidFill>
              <a:schemeClr val="tx2"/>
            </a:solidFill>
            <a:prstDash val="sysDot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altLang="ja-JP" sz="1200" dirty="0" smtClea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UID:UID01S</a:t>
            </a:r>
            <a:endParaRPr lang="ja-JP" altLang="en-US" sz="1200" dirty="0">
              <a:solidFill>
                <a:srgbClr val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93" name="正方形/長方形 92"/>
          <p:cNvSpPr/>
          <p:nvPr/>
        </p:nvSpPr>
        <p:spPr>
          <a:xfrm>
            <a:off x="3562339" y="4981577"/>
            <a:ext cx="1091966" cy="27699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solidFill>
              <a:schemeClr val="tx2"/>
            </a:solidFill>
            <a:prstDash val="sysDot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altLang="ja-JP" sz="1200" dirty="0" smtClea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UID:UID01O</a:t>
            </a:r>
            <a:endParaRPr lang="ja-JP" altLang="en-US" sz="1200" dirty="0">
              <a:solidFill>
                <a:srgbClr val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96" name="正方形/長方形 95"/>
          <p:cNvSpPr/>
          <p:nvPr/>
        </p:nvSpPr>
        <p:spPr>
          <a:xfrm>
            <a:off x="3342440" y="3207254"/>
            <a:ext cx="1388522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defTabSz="914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FORCE LOG IN UID</a:t>
            </a:r>
            <a:endParaRPr kumimoji="0" lang="ja-JP" altLang="en-US" sz="10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97" name="正方形/長方形 96"/>
          <p:cNvSpPr/>
          <p:nvPr/>
        </p:nvSpPr>
        <p:spPr>
          <a:xfrm>
            <a:off x="3342440" y="4745595"/>
            <a:ext cx="1388522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defTabSz="914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FORCE LOG IN UID</a:t>
            </a:r>
            <a:endParaRPr kumimoji="0" lang="ja-JP" altLang="en-US" sz="10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98" name="タイトル 4"/>
          <p:cNvSpPr txBox="1">
            <a:spLocks/>
          </p:cNvSpPr>
          <p:nvPr/>
        </p:nvSpPr>
        <p:spPr>
          <a:xfrm>
            <a:off x="1058858" y="5688973"/>
            <a:ext cx="7244481" cy="276999"/>
          </a:xfrm>
          <a:prstGeom prst="rect">
            <a:avLst/>
          </a:prstGeom>
          <a:noFill/>
          <a:ln w="19050" cap="flat" cmpd="sng" algn="ctr">
            <a:noFill/>
            <a:prstDash val="solid"/>
          </a:ln>
          <a:effectLst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3943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3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n-ea"/>
                <a:cs typeface="+mn-cs"/>
                <a:sym typeface="CorpoS" pitchFamily="2" charset="0"/>
              </a:defRPr>
            </a:lvl1pPr>
            <a:lvl2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C36">
                  <a:lumMod val="75000"/>
                  <a:lumOff val="25000"/>
                </a:srgbClr>
              </a:buClr>
              <a:buSzTx/>
              <a:tabLst/>
              <a:defRPr/>
            </a:pPr>
            <a:r>
              <a:rPr kumimoji="1" lang="ja-JP" alt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　</a:t>
            </a:r>
            <a:r>
              <a:rPr kumimoji="1" lang="en-US" altLang="ja-JP" sz="14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FORCE</a:t>
            </a:r>
            <a:r>
              <a:rPr kumimoji="1" lang="ja-JP" alt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ログイン時に品川拠点用の</a:t>
            </a:r>
            <a:r>
              <a:rPr kumimoji="1" lang="en-US" altLang="ja-JP" sz="14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UID</a:t>
            </a:r>
            <a:r>
              <a:rPr kumimoji="1" lang="ja-JP" altLang="en-US" sz="140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、</a:t>
            </a:r>
            <a:r>
              <a:rPr kumimoji="1" lang="ja-JP" alt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または大田拠点用の</a:t>
            </a:r>
            <a:r>
              <a:rPr kumimoji="1" lang="en-US" altLang="ja-JP" sz="14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UID</a:t>
            </a:r>
            <a:r>
              <a:rPr kumimoji="1" lang="ja-JP" alt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を使い分ける必要がある。</a:t>
            </a:r>
            <a:endParaRPr kumimoji="1" lang="ja-JP" altLang="en-US" sz="14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37" name="Rectangle 77"/>
          <p:cNvSpPr/>
          <p:nvPr/>
        </p:nvSpPr>
        <p:spPr>
          <a:xfrm>
            <a:off x="757553" y="2666377"/>
            <a:ext cx="7271750" cy="39378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ja-JP" altLang="en-US" sz="1400" noProof="1" smtClean="0">
                <a:solidFill>
                  <a:schemeClr val="folHlin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■</a:t>
            </a:r>
            <a:r>
              <a:rPr lang="en-US" altLang="ja-JP" sz="1400" noProof="1" smtClean="0">
                <a:solidFill>
                  <a:schemeClr val="folHlin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2</a:t>
            </a:r>
            <a:r>
              <a:rPr lang="ja-JP" altLang="en-US" sz="1400" noProof="1" smtClean="0">
                <a:solidFill>
                  <a:schemeClr val="folHlin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拠点で（品川・大田）で</a:t>
            </a:r>
            <a:r>
              <a:rPr lang="ja-JP" altLang="en-US" sz="1400" noProof="1">
                <a:solidFill>
                  <a:schemeClr val="folHlin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「支店 整備スタッフ」</a:t>
            </a:r>
            <a:r>
              <a:rPr lang="ja-JP" altLang="en-US" sz="1400" noProof="1" smtClean="0">
                <a:solidFill>
                  <a:schemeClr val="folHlin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の役割を兼務している場合、</a:t>
            </a:r>
            <a:r>
              <a:rPr lang="en-US" altLang="ja-JP" sz="1400" noProof="1" smtClean="0">
                <a:solidFill>
                  <a:schemeClr val="folHlin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2UID</a:t>
            </a:r>
            <a:r>
              <a:rPr lang="ja-JP" altLang="en-US" sz="1400" noProof="1" smtClean="0">
                <a:solidFill>
                  <a:schemeClr val="folHlin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が必要。</a:t>
            </a:r>
            <a:endParaRPr lang="en-US" altLang="ja-JP" sz="1400" noProof="1" smtClean="0">
              <a:solidFill>
                <a:schemeClr val="folHlink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39" name="正方形/長方形 38"/>
          <p:cNvSpPr/>
          <p:nvPr/>
        </p:nvSpPr>
        <p:spPr>
          <a:xfrm>
            <a:off x="4936983" y="3448880"/>
            <a:ext cx="1451428" cy="700456"/>
          </a:xfrm>
          <a:prstGeom prst="rect">
            <a:avLst/>
          </a:prstGeom>
          <a:solidFill>
            <a:sysClr val="window" lastClr="FFFFFF"/>
          </a:solidFill>
          <a:ln w="10795" cap="flat" cmpd="sng" algn="ctr">
            <a:solidFill>
              <a:srgbClr val="00677F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21600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766" eaLnBrk="1" fontAlgn="auto" latinLnBrk="0" hangingPunct="1">
              <a:lnSpc>
                <a:spcPts val="14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1" lang="ja-JP" altLang="en-US" sz="1200" kern="0" dirty="0" smtClean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品川整備スタッフ</a:t>
            </a:r>
            <a:endParaRPr kumimoji="1" lang="en-US" altLang="ja-JP" sz="120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marL="0" marR="0" lvl="0" indent="0" algn="ctr" defTabSz="914766" eaLnBrk="1" fontAlgn="auto" latinLnBrk="0" hangingPunct="1">
              <a:lnSpc>
                <a:spcPts val="14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1" lang="ja-JP" altLang="en-US" sz="120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業務</a:t>
            </a:r>
            <a:r>
              <a:rPr kumimoji="1" lang="ja-JP" altLang="en-US" sz="1200" kern="0" dirty="0" smtClean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ﾒﾆｭｰ</a:t>
            </a:r>
            <a:endParaRPr kumimoji="1" lang="ja-JP" altLang="en-US" sz="120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40" name="正方形/長方形 39"/>
          <p:cNvSpPr/>
          <p:nvPr/>
        </p:nvSpPr>
        <p:spPr>
          <a:xfrm>
            <a:off x="4950838" y="4547388"/>
            <a:ext cx="1451428" cy="700456"/>
          </a:xfrm>
          <a:prstGeom prst="rect">
            <a:avLst/>
          </a:prstGeom>
          <a:solidFill>
            <a:sysClr val="window" lastClr="FFFFFF"/>
          </a:solidFill>
          <a:ln w="10795" cap="flat" cmpd="sng" algn="ctr">
            <a:solidFill>
              <a:srgbClr val="00677F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21600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766">
              <a:lnSpc>
                <a:spcPts val="1400"/>
              </a:lnSpc>
            </a:pPr>
            <a:r>
              <a:rPr kumimoji="1" lang="ja-JP" altLang="en-US" sz="1200" kern="0" dirty="0" smtClean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大田整備スタッフ</a:t>
            </a:r>
            <a:endParaRPr kumimoji="1" lang="en-US" altLang="ja-JP" sz="1200" kern="0" dirty="0" smtClean="0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algn="ctr" defTabSz="914766">
              <a:lnSpc>
                <a:spcPts val="1400"/>
              </a:lnSpc>
            </a:pPr>
            <a:r>
              <a:rPr kumimoji="1" lang="ja-JP" altLang="en-US" sz="1200" kern="0" dirty="0" smtClean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業務ﾒﾆｭｰ</a:t>
            </a:r>
            <a:endParaRPr kumimoji="1" lang="ja-JP" altLang="en-US" sz="1200" kern="0" dirty="0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pic>
        <p:nvPicPr>
          <p:cNvPr id="41" name="Picture 3" descr="C:\Users\rajarrv\AppData\Local\Microsoft\Windows\Temporary Internet Files\Content.Outlook\3CY2KM7L\B-No Background FORCE LOGO.png"/>
          <p:cNvPicPr>
            <a:picLocks noChangeAspect="1" noChangeArrowheads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507728" y="3465949"/>
            <a:ext cx="879081" cy="2510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3" descr="C:\Users\rajarrv\AppData\Local\Microsoft\Windows\Temporary Internet Files\Content.Outlook\3CY2KM7L\B-No Background FORCE LOGO.png"/>
          <p:cNvPicPr>
            <a:picLocks noChangeAspect="1" noChangeArrowheads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535433" y="4560489"/>
            <a:ext cx="879081" cy="2510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58205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タイトル 2"/>
          <p:cNvSpPr txBox="1">
            <a:spLocks/>
          </p:cNvSpPr>
          <p:nvPr/>
        </p:nvSpPr>
        <p:spPr>
          <a:xfrm>
            <a:off x="630328" y="622944"/>
            <a:ext cx="10938894" cy="47100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3943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3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CorpoS" pitchFamily="2" charset="0"/>
              </a:defRPr>
            </a:lvl1pPr>
          </a:lstStyle>
          <a:p>
            <a:pPr marL="0" marR="0" lvl="0" indent="0" algn="l" defTabSz="91394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3300" b="0" i="0" u="none" strike="noStrike" kern="1200" cap="none" spc="0" normalizeH="0" baseline="0" noProof="0">
              <a:ln>
                <a:noFill/>
              </a:ln>
              <a:solidFill>
                <a:srgbClr val="00647F">
                  <a:lumMod val="100000"/>
                </a:srgbClr>
              </a:solidFill>
              <a:effectLst/>
              <a:uLnTx/>
              <a:uFillTx/>
              <a:latin typeface="CorpoS"/>
              <a:ea typeface="+mj-ea"/>
              <a:cs typeface="+mj-cs"/>
              <a:sym typeface="CorpoS" pitchFamily="2" charset="0"/>
            </a:endParaRPr>
          </a:p>
        </p:txBody>
      </p:sp>
      <p:sp>
        <p:nvSpPr>
          <p:cNvPr id="6" name="タイトル 4"/>
          <p:cNvSpPr txBox="1">
            <a:spLocks/>
          </p:cNvSpPr>
          <p:nvPr/>
        </p:nvSpPr>
        <p:spPr>
          <a:xfrm>
            <a:off x="3778268" y="549275"/>
            <a:ext cx="7662239" cy="561600"/>
          </a:xfrm>
          <a:prstGeom prst="rect">
            <a:avLst/>
          </a:prstGeom>
          <a:solidFill>
            <a:sysClr val="window" lastClr="FFFFFF"/>
          </a:solidFill>
          <a:ln w="10795" cap="flat" cmpd="sng" algn="ctr">
            <a:noFill/>
            <a:prstDash val="solid"/>
          </a:ln>
          <a:effectLst/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de-DE"/>
            </a:defPPr>
            <a:lvl1pPr marR="0" lvl="0" indent="0" defTabSz="913943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1" sz="2800" b="0" i="0" u="none" strike="noStrike" cap="none" spc="0" normalizeH="0" baseline="0">
                <a:ln>
                  <a:noFill/>
                </a:ln>
                <a:solidFill>
                  <a:srgbClr val="00647F">
                    <a:lumMod val="100000"/>
                  </a:srgbClr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ja-JP" altLang="en-US" sz="2000" dirty="0" smtClean="0">
                <a:solidFill>
                  <a:schemeClr val="tx1"/>
                </a:solidFill>
                <a:sym typeface="CorpoS" pitchFamily="2" charset="0"/>
              </a:rPr>
              <a:t> </a:t>
            </a:r>
            <a:r>
              <a:rPr lang="en-US" altLang="ja-JP" sz="2000" dirty="0" smtClean="0">
                <a:solidFill>
                  <a:schemeClr val="tx1"/>
                </a:solidFill>
                <a:sym typeface="CorpoS" pitchFamily="2" charset="0"/>
              </a:rPr>
              <a:t>2.3</a:t>
            </a:r>
            <a:r>
              <a:rPr lang="ja-JP" altLang="en-US" sz="2000" dirty="0">
                <a:solidFill>
                  <a:schemeClr val="tx1"/>
                </a:solidFill>
                <a:sym typeface="CorpoS" pitchFamily="2" charset="0"/>
              </a:rPr>
              <a:t>　複数</a:t>
            </a:r>
            <a:r>
              <a:rPr lang="en-US" altLang="ja-JP" sz="2000" dirty="0">
                <a:solidFill>
                  <a:schemeClr val="tx1"/>
                </a:solidFill>
                <a:sym typeface="CorpoS" pitchFamily="2" charset="0"/>
              </a:rPr>
              <a:t>UID</a:t>
            </a:r>
            <a:r>
              <a:rPr lang="ja-JP" altLang="en-US" sz="2000" dirty="0">
                <a:solidFill>
                  <a:schemeClr val="tx1"/>
                </a:solidFill>
                <a:sym typeface="CorpoS" pitchFamily="2" charset="0"/>
              </a:rPr>
              <a:t>が必要な社員の例　</a:t>
            </a:r>
            <a:r>
              <a:rPr lang="en-US" altLang="ja-JP" sz="2000" dirty="0">
                <a:solidFill>
                  <a:schemeClr val="tx1"/>
                </a:solidFill>
                <a:sym typeface="CorpoS" pitchFamily="2" charset="0"/>
              </a:rPr>
              <a:t>- </a:t>
            </a:r>
            <a:r>
              <a:rPr lang="ja-JP" altLang="en-US" sz="2000" dirty="0" smtClean="0">
                <a:solidFill>
                  <a:schemeClr val="tx1"/>
                </a:solidFill>
                <a:sym typeface="CorpoS" pitchFamily="2" charset="0"/>
              </a:rPr>
              <a:t>②</a:t>
            </a:r>
            <a:r>
              <a:rPr lang="ja-JP" altLang="en-US" sz="2000" dirty="0">
                <a:solidFill>
                  <a:schemeClr val="tx1"/>
                </a:solidFill>
                <a:sym typeface="CorpoS" pitchFamily="2" charset="0"/>
              </a:rPr>
              <a:t>　</a:t>
            </a:r>
            <a:r>
              <a:rPr lang="ja-JP" altLang="en-US" sz="2000" dirty="0" smtClean="0">
                <a:solidFill>
                  <a:schemeClr val="tx1"/>
                </a:solidFill>
                <a:sym typeface="CorpoS" pitchFamily="2" charset="0"/>
              </a:rPr>
              <a:t>複数職位を</a:t>
            </a:r>
            <a:r>
              <a:rPr lang="ja-JP" altLang="en-US" sz="2000" dirty="0">
                <a:solidFill>
                  <a:schemeClr val="tx1"/>
                </a:solidFill>
                <a:sym typeface="CorpoS" pitchFamily="2" charset="0"/>
              </a:rPr>
              <a:t>担当</a:t>
            </a:r>
          </a:p>
        </p:txBody>
      </p:sp>
      <p:sp>
        <p:nvSpPr>
          <p:cNvPr id="7" name="Rechteck 12">
            <a:extLst>
              <a:ext uri="{FF2B5EF4-FFF2-40B4-BE49-F238E27FC236}">
                <a16:creationId xmlns:a16="http://schemas.microsoft.com/office/drawing/2014/main" id="{B247BD26-CC3F-4252-A978-DB140B45A001}"/>
              </a:ext>
            </a:extLst>
          </p:cNvPr>
          <p:cNvSpPr/>
          <p:nvPr/>
        </p:nvSpPr>
        <p:spPr bwMode="gray">
          <a:xfrm>
            <a:off x="628650" y="549275"/>
            <a:ext cx="357372" cy="562201"/>
          </a:xfrm>
          <a:prstGeom prst="rect">
            <a:avLst/>
          </a:prstGeom>
          <a:solidFill>
            <a:sysClr val="windowText" lastClr="000000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marL="0" marR="0" lvl="0" indent="0" algn="ctr" defTabSz="801688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ja-JP" sz="3600" b="1" kern="0" dirty="0">
                <a:solidFill>
                  <a:srgbClr val="FFFFFF"/>
                </a:solidFill>
              </a:rPr>
              <a:t>2</a:t>
            </a:r>
            <a:endParaRPr kumimoji="0" lang="en-US" altLang="ja-JP" sz="36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8" name="Rechteck 13">
            <a:extLst>
              <a:ext uri="{FF2B5EF4-FFF2-40B4-BE49-F238E27FC236}">
                <a16:creationId xmlns:a16="http://schemas.microsoft.com/office/drawing/2014/main" id="{FB03C564-73F6-43DE-83D5-F23FDFB7F3F8}"/>
              </a:ext>
            </a:extLst>
          </p:cNvPr>
          <p:cNvSpPr/>
          <p:nvPr/>
        </p:nvSpPr>
        <p:spPr bwMode="gray">
          <a:xfrm>
            <a:off x="985118" y="549275"/>
            <a:ext cx="2783318" cy="562201"/>
          </a:xfrm>
          <a:prstGeom prst="rect">
            <a:avLst/>
          </a:prstGeom>
          <a:solidFill>
            <a:srgbClr val="00647F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128016" tIns="0" rIns="0" bIns="0" anchor="ctr"/>
          <a:lstStyle/>
          <a:p>
            <a:pPr lvl="0" defTabSz="801688" eaLnBrk="0" hangingPunct="0">
              <a:lnSpc>
                <a:spcPct val="90000"/>
              </a:lnSpc>
              <a:defRPr/>
            </a:pPr>
            <a:r>
              <a:rPr lang="ja-JP" altLang="en-US" sz="2000" kern="0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初期配備社員マスタ</a:t>
            </a:r>
            <a:endParaRPr lang="en-US" altLang="ja-JP" sz="2000" kern="0" dirty="0">
              <a:solidFill>
                <a:srgbClr val="FFFFFF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68" name="Rectangle 16"/>
          <p:cNvSpPr/>
          <p:nvPr/>
        </p:nvSpPr>
        <p:spPr>
          <a:xfrm>
            <a:off x="629999" y="1433960"/>
            <a:ext cx="7828201" cy="879750"/>
          </a:xfrm>
          <a:prstGeom prst="rect">
            <a:avLst/>
          </a:prstGeom>
          <a:noFill/>
          <a:ln w="15875" cap="flat" cmpd="sng" algn="ctr">
            <a:solidFill>
              <a:srgbClr val="C8C8C8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E9E9E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18000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1">
              <a:buClr>
                <a:srgbClr val="000000"/>
              </a:buClr>
              <a:buSzPct val="100000"/>
            </a:pPr>
            <a:r>
              <a:rPr lang="ja-JP" altLang="en-US" sz="1400" noProof="1" smtClea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■複数の職位を持つ社員は複数</a:t>
            </a:r>
            <a:r>
              <a:rPr lang="en-US" altLang="ja-JP" sz="1400" noProof="1" smtClea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UID</a:t>
            </a:r>
            <a:r>
              <a:rPr lang="ja-JP" altLang="en-US" sz="1400" noProof="1" smtClea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の保持が必要。</a:t>
            </a:r>
            <a:endParaRPr lang="en-US" altLang="ja-JP" sz="1400" noProof="1" smtClean="0">
              <a:solidFill>
                <a:srgbClr val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marL="0" lvl="1">
              <a:buClr>
                <a:srgbClr val="000000"/>
              </a:buClr>
              <a:buSzPct val="100000"/>
            </a:pPr>
            <a:r>
              <a:rPr lang="ja-JP" altLang="en-US" sz="1400" noProof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　　 </a:t>
            </a:r>
            <a:r>
              <a:rPr lang="ja-JP" altLang="en-US" sz="1400" noProof="1" smtClea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　　（</a:t>
            </a:r>
            <a:r>
              <a:rPr lang="ja-JP" altLang="en-US" sz="1400" noProof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例：支店長 が 支店営業</a:t>
            </a:r>
            <a:r>
              <a:rPr lang="ja-JP" altLang="en-US" sz="1400" noProof="1" smtClea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マネージャーを</a:t>
            </a:r>
            <a:r>
              <a:rPr lang="ja-JP" altLang="en-US" sz="1400" noProof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兼務）</a:t>
            </a:r>
            <a:endParaRPr lang="en-US" sz="1400" noProof="1">
              <a:solidFill>
                <a:srgbClr val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69" name="Rectangle 10"/>
          <p:cNvSpPr/>
          <p:nvPr/>
        </p:nvSpPr>
        <p:spPr>
          <a:xfrm>
            <a:off x="629999" y="2584114"/>
            <a:ext cx="7828201" cy="3744538"/>
          </a:xfrm>
          <a:prstGeom prst="rect">
            <a:avLst/>
          </a:prstGeom>
          <a:noFill/>
          <a:ln w="15875" cap="flat" cmpd="sng" algn="ctr">
            <a:solidFill>
              <a:srgbClr val="C8C8C8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E9E9E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noProof="1"/>
          </a:p>
        </p:txBody>
      </p:sp>
      <p:sp>
        <p:nvSpPr>
          <p:cNvPr id="70" name="Rectangle 77"/>
          <p:cNvSpPr/>
          <p:nvPr/>
        </p:nvSpPr>
        <p:spPr>
          <a:xfrm>
            <a:off x="792369" y="2444750"/>
            <a:ext cx="925595" cy="289205"/>
          </a:xfrm>
          <a:prstGeom prst="rect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FFFFFF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ja-JP" altLang="en-US" sz="1600" i="1" noProof="1" smtClean="0">
                <a:solidFill>
                  <a:schemeClr val="folHlin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詳細</a:t>
            </a:r>
            <a:endParaRPr lang="ja-JP" altLang="en-US" sz="1600" i="1" noProof="1">
              <a:solidFill>
                <a:schemeClr val="folHlink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71" name="Rectangle 57"/>
          <p:cNvSpPr/>
          <p:nvPr/>
        </p:nvSpPr>
        <p:spPr>
          <a:xfrm>
            <a:off x="792370" y="1337293"/>
            <a:ext cx="729000" cy="169754"/>
          </a:xfrm>
          <a:prstGeom prst="rect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FFFFFF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ja-JP" altLang="en-US" sz="1600" i="1" noProof="1" smtClean="0">
                <a:solidFill>
                  <a:schemeClr val="folHlin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概要</a:t>
            </a:r>
            <a:endParaRPr lang="ja-JP" altLang="en-US" sz="1600" i="1" noProof="1">
              <a:solidFill>
                <a:schemeClr val="folHlink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72" name="Rectangle 46"/>
          <p:cNvSpPr/>
          <p:nvPr/>
        </p:nvSpPr>
        <p:spPr>
          <a:xfrm>
            <a:off x="8674359" y="1433958"/>
            <a:ext cx="3074296" cy="2071772"/>
          </a:xfrm>
          <a:prstGeom prst="rect">
            <a:avLst/>
          </a:prstGeom>
          <a:noFill/>
          <a:ln w="15875" cap="flat" cmpd="sng" algn="ctr">
            <a:solidFill>
              <a:srgbClr val="C8C8C8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E9E9E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0" rIns="9144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1">
              <a:buClr>
                <a:srgbClr val="000000"/>
              </a:buClr>
              <a:buSzPct val="100000"/>
            </a:pPr>
            <a:endParaRPr lang="en-US" altLang="ja-JP" sz="1400" dirty="0"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marL="0" lvl="1">
              <a:buClr>
                <a:srgbClr val="000000"/>
              </a:buClr>
              <a:buSzPct val="100000"/>
            </a:pPr>
            <a:endParaRPr lang="en-US" sz="1400" noProof="1" smtClean="0">
              <a:solidFill>
                <a:srgbClr val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marL="0" lvl="1">
              <a:buClr>
                <a:srgbClr val="000000"/>
              </a:buClr>
              <a:buSzPct val="100000"/>
            </a:pPr>
            <a:endParaRPr lang="en-US" sz="1400" noProof="1">
              <a:solidFill>
                <a:srgbClr val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marL="0" lvl="1">
              <a:buClr>
                <a:srgbClr val="000000"/>
              </a:buClr>
              <a:buSzPct val="100000"/>
            </a:pPr>
            <a:endParaRPr lang="en-US" sz="1400" noProof="1" smtClean="0">
              <a:solidFill>
                <a:srgbClr val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marL="0" lvl="1">
              <a:buClr>
                <a:srgbClr val="000000"/>
              </a:buClr>
              <a:buSzPct val="100000"/>
            </a:pPr>
            <a:endParaRPr lang="en-US" sz="1400" noProof="1">
              <a:solidFill>
                <a:srgbClr val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73" name="Rectangle 48"/>
          <p:cNvSpPr/>
          <p:nvPr/>
        </p:nvSpPr>
        <p:spPr>
          <a:xfrm>
            <a:off x="8926618" y="1310518"/>
            <a:ext cx="937818" cy="196529"/>
          </a:xfrm>
          <a:prstGeom prst="rect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FFFFFF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ja-JP" altLang="en-US" sz="1600" i="1" noProof="1" smtClean="0">
                <a:solidFill>
                  <a:schemeClr val="folHlin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注意点</a:t>
            </a:r>
            <a:endParaRPr lang="en-US" sz="1600" i="1" noProof="1" smtClean="0">
              <a:solidFill>
                <a:schemeClr val="folHlink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74" name="Rectangle 46"/>
          <p:cNvSpPr/>
          <p:nvPr/>
        </p:nvSpPr>
        <p:spPr>
          <a:xfrm>
            <a:off x="8674358" y="3799902"/>
            <a:ext cx="3074297" cy="2528750"/>
          </a:xfrm>
          <a:prstGeom prst="rect">
            <a:avLst/>
          </a:prstGeom>
          <a:noFill/>
          <a:ln w="15875" cap="flat" cmpd="sng" algn="ctr">
            <a:solidFill>
              <a:srgbClr val="C8C8C8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E9E9E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82550" lvl="1">
              <a:buClr>
                <a:srgbClr val="000000"/>
              </a:buClr>
              <a:buSzPct val="100000"/>
            </a:pPr>
            <a:endParaRPr lang="en-US" altLang="ja-JP" sz="1400" noProof="1">
              <a:solidFill>
                <a:srgbClr val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marL="82550" lvl="1">
              <a:buClr>
                <a:srgbClr val="000000"/>
              </a:buClr>
              <a:buSzPct val="100000"/>
            </a:pPr>
            <a:r>
              <a:rPr lang="ja-JP" altLang="en-US" sz="1200" noProof="1" smtClea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■</a:t>
            </a:r>
            <a:r>
              <a:rPr lang="ja-JP" altLang="en-US" sz="1200" noProof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複数職位の</a:t>
            </a:r>
            <a:r>
              <a:rPr lang="en-US" altLang="ja-JP" sz="1200" noProof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UID</a:t>
            </a:r>
            <a:r>
              <a:rPr lang="ja-JP" altLang="en-US" sz="1200" noProof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を持つユーザー</a:t>
            </a:r>
            <a:r>
              <a:rPr lang="ja-JP" altLang="en-US" sz="1200" noProof="1" smtClea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は</a:t>
            </a:r>
            <a:endParaRPr lang="en-US" altLang="ja-JP" sz="1200" noProof="1" smtClean="0">
              <a:solidFill>
                <a:srgbClr val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marL="82550" lvl="1">
              <a:buClr>
                <a:srgbClr val="000000"/>
              </a:buClr>
              <a:buSzPct val="100000"/>
            </a:pPr>
            <a:r>
              <a:rPr lang="ja-JP" altLang="en-US" sz="1200" noProof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　 </a:t>
            </a:r>
            <a:r>
              <a:rPr lang="ja-JP" altLang="en-US" sz="1200" noProof="1" smtClea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下位</a:t>
            </a:r>
            <a:r>
              <a:rPr lang="ja-JP" altLang="en-US" sz="1200" noProof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職位の</a:t>
            </a:r>
            <a:r>
              <a:rPr lang="en-US" altLang="ja-JP" sz="1200" noProof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UID</a:t>
            </a:r>
            <a:r>
              <a:rPr lang="ja-JP" altLang="en-US" sz="1200" noProof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の「代替承認者」と</a:t>
            </a:r>
            <a:r>
              <a:rPr lang="ja-JP" altLang="en-US" sz="1200" noProof="1" smtClea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して</a:t>
            </a:r>
            <a:endParaRPr lang="en-US" altLang="ja-JP" sz="1200" noProof="1" smtClean="0">
              <a:solidFill>
                <a:srgbClr val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marL="82550" lvl="1">
              <a:buClr>
                <a:srgbClr val="000000"/>
              </a:buClr>
              <a:buSzPct val="100000"/>
            </a:pPr>
            <a:r>
              <a:rPr lang="ja-JP" altLang="en-US" sz="1200" noProof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　</a:t>
            </a:r>
            <a:r>
              <a:rPr lang="ja-JP" altLang="en-US" sz="1200" noProof="1" smtClea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 「</a:t>
            </a:r>
            <a:r>
              <a:rPr lang="ja-JP" altLang="en-US" sz="1200" noProof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上位職位の</a:t>
            </a:r>
            <a:r>
              <a:rPr lang="en-US" altLang="ja-JP" sz="1200" noProof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UID</a:t>
            </a:r>
            <a:r>
              <a:rPr lang="ja-JP" altLang="en-US" sz="1200" noProof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」を設定することで、</a:t>
            </a:r>
            <a:r>
              <a:rPr lang="ja-JP" altLang="en-US" sz="1200" noProof="1" smtClea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上位</a:t>
            </a:r>
            <a:endParaRPr lang="en-US" altLang="ja-JP" sz="1200" noProof="1" smtClean="0">
              <a:solidFill>
                <a:srgbClr val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marL="82550" lvl="1">
              <a:buClr>
                <a:srgbClr val="000000"/>
              </a:buClr>
              <a:buSzPct val="100000"/>
            </a:pPr>
            <a:r>
              <a:rPr lang="ja-JP" altLang="en-US" sz="1200" noProof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　</a:t>
            </a:r>
            <a:r>
              <a:rPr lang="ja-JP" altLang="en-US" sz="1200" noProof="1" smtClea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 職位</a:t>
            </a:r>
            <a:r>
              <a:rPr lang="ja-JP" altLang="en-US" sz="1200" noProof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の</a:t>
            </a:r>
            <a:r>
              <a:rPr lang="en-US" altLang="ja-JP" sz="1200" noProof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UID</a:t>
            </a:r>
            <a:r>
              <a:rPr lang="ja-JP" altLang="en-US" sz="1200" noProof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で両方の承認業務が行える</a:t>
            </a:r>
            <a:r>
              <a:rPr lang="ja-JP" altLang="en-US" sz="1200" noProof="1" smtClea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よう</a:t>
            </a:r>
            <a:endParaRPr lang="en-US" altLang="ja-JP" sz="1200" noProof="1" smtClean="0">
              <a:solidFill>
                <a:srgbClr val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marL="82550" lvl="1">
              <a:buClr>
                <a:srgbClr val="000000"/>
              </a:buClr>
              <a:buSzPct val="100000"/>
            </a:pPr>
            <a:r>
              <a:rPr lang="ja-JP" altLang="en-US" sz="1200" noProof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 </a:t>
            </a:r>
            <a:r>
              <a:rPr lang="ja-JP" altLang="en-US" sz="1200" noProof="1" smtClea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  に</a:t>
            </a:r>
            <a:r>
              <a:rPr lang="ja-JP" altLang="en-US" sz="1200" noProof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なる。</a:t>
            </a:r>
          </a:p>
        </p:txBody>
      </p:sp>
      <p:sp>
        <p:nvSpPr>
          <p:cNvPr id="75" name="Rectangle 48"/>
          <p:cNvSpPr/>
          <p:nvPr/>
        </p:nvSpPr>
        <p:spPr>
          <a:xfrm>
            <a:off x="8968178" y="3693573"/>
            <a:ext cx="937818" cy="196529"/>
          </a:xfrm>
          <a:prstGeom prst="rect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FFFFFF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ja-JP" altLang="en-US" sz="1600" i="1" noProof="1" smtClean="0">
                <a:solidFill>
                  <a:schemeClr val="folHlin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その他</a:t>
            </a:r>
            <a:endParaRPr lang="en-US" sz="1600" i="1" noProof="1" smtClean="0">
              <a:solidFill>
                <a:schemeClr val="folHlink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grpSp>
        <p:nvGrpSpPr>
          <p:cNvPr id="76" name="Group 112"/>
          <p:cNvGrpSpPr>
            <a:grpSpLocks noChangeAspect="1"/>
          </p:cNvGrpSpPr>
          <p:nvPr/>
        </p:nvGrpSpPr>
        <p:grpSpPr>
          <a:xfrm>
            <a:off x="2762282" y="3487677"/>
            <a:ext cx="635336" cy="635336"/>
            <a:chOff x="1563866" y="3369910"/>
            <a:chExt cx="994581" cy="994581"/>
          </a:xfrm>
        </p:grpSpPr>
        <p:grpSp>
          <p:nvGrpSpPr>
            <p:cNvPr id="77" name="Group 131"/>
            <p:cNvGrpSpPr>
              <a:grpSpLocks noChangeAspect="1"/>
            </p:cNvGrpSpPr>
            <p:nvPr/>
          </p:nvGrpSpPr>
          <p:grpSpPr bwMode="gray">
            <a:xfrm>
              <a:off x="1563866" y="3369910"/>
              <a:ext cx="994581" cy="994581"/>
              <a:chOff x="4814888" y="1222375"/>
              <a:chExt cx="828675" cy="828675"/>
            </a:xfrm>
          </p:grpSpPr>
          <p:sp>
            <p:nvSpPr>
              <p:cNvPr id="79" name="AutoShape 13"/>
              <p:cNvSpPr>
                <a:spLocks noChangeAspect="1" noChangeArrowheads="1" noTextEdit="1"/>
              </p:cNvSpPr>
              <p:nvPr/>
            </p:nvSpPr>
            <p:spPr bwMode="gray">
              <a:xfrm>
                <a:off x="4814888" y="1222375"/>
                <a:ext cx="828675" cy="8286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0" name="Freeform 15"/>
              <p:cNvSpPr>
                <a:spLocks/>
              </p:cNvSpPr>
              <p:nvPr/>
            </p:nvSpPr>
            <p:spPr bwMode="gray">
              <a:xfrm>
                <a:off x="4956176" y="1600200"/>
                <a:ext cx="250825" cy="339725"/>
              </a:xfrm>
              <a:custGeom>
                <a:avLst/>
                <a:gdLst>
                  <a:gd name="T0" fmla="*/ 183 w 439"/>
                  <a:gd name="T1" fmla="*/ 290 h 580"/>
                  <a:gd name="T2" fmla="*/ 214 w 439"/>
                  <a:gd name="T3" fmla="*/ 259 h 580"/>
                  <a:gd name="T4" fmla="*/ 439 w 439"/>
                  <a:gd name="T5" fmla="*/ 259 h 580"/>
                  <a:gd name="T6" fmla="*/ 295 w 439"/>
                  <a:gd name="T7" fmla="*/ 0 h 580"/>
                  <a:gd name="T8" fmla="*/ 189 w 439"/>
                  <a:gd name="T9" fmla="*/ 22 h 580"/>
                  <a:gd name="T10" fmla="*/ 132 w 439"/>
                  <a:gd name="T11" fmla="*/ 76 h 580"/>
                  <a:gd name="T12" fmla="*/ 6 w 439"/>
                  <a:gd name="T13" fmla="*/ 486 h 580"/>
                  <a:gd name="T14" fmla="*/ 19 w 439"/>
                  <a:gd name="T15" fmla="*/ 551 h 580"/>
                  <a:gd name="T16" fmla="*/ 78 w 439"/>
                  <a:gd name="T17" fmla="*/ 580 h 580"/>
                  <a:gd name="T18" fmla="*/ 184 w 439"/>
                  <a:gd name="T19" fmla="*/ 580 h 580"/>
                  <a:gd name="T20" fmla="*/ 183 w 439"/>
                  <a:gd name="T21" fmla="*/ 290 h 580"/>
                  <a:gd name="T22" fmla="*/ 183 w 439"/>
                  <a:gd name="T23" fmla="*/ 290 h 5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39" h="580">
                    <a:moveTo>
                      <a:pt x="183" y="290"/>
                    </a:moveTo>
                    <a:lnTo>
                      <a:pt x="214" y="259"/>
                    </a:lnTo>
                    <a:lnTo>
                      <a:pt x="439" y="259"/>
                    </a:lnTo>
                    <a:lnTo>
                      <a:pt x="295" y="0"/>
                    </a:lnTo>
                    <a:lnTo>
                      <a:pt x="189" y="22"/>
                    </a:lnTo>
                    <a:cubicBezTo>
                      <a:pt x="162" y="27"/>
                      <a:pt x="140" y="48"/>
                      <a:pt x="132" y="76"/>
                    </a:cubicBezTo>
                    <a:lnTo>
                      <a:pt x="6" y="486"/>
                    </a:lnTo>
                    <a:cubicBezTo>
                      <a:pt x="0" y="509"/>
                      <a:pt x="5" y="532"/>
                      <a:pt x="19" y="551"/>
                    </a:cubicBezTo>
                    <a:cubicBezTo>
                      <a:pt x="34" y="569"/>
                      <a:pt x="55" y="580"/>
                      <a:pt x="78" y="580"/>
                    </a:cubicBezTo>
                    <a:lnTo>
                      <a:pt x="184" y="580"/>
                    </a:lnTo>
                    <a:lnTo>
                      <a:pt x="183" y="290"/>
                    </a:lnTo>
                    <a:lnTo>
                      <a:pt x="183" y="290"/>
                    </a:lnTo>
                    <a:close/>
                  </a:path>
                </a:pathLst>
              </a:custGeom>
              <a:solidFill>
                <a:srgbClr val="4D4D4D"/>
              </a:solidFill>
              <a:ln w="0">
                <a:noFill/>
                <a:prstDash val="solid"/>
                <a:round/>
                <a:headEnd/>
                <a:tailEnd/>
              </a:ln>
              <a:extLst>
                <a:ext uri="{91240B29-F687-4F45-9708-019B960494DF}">
                  <a14:hiddenLine xmlns:a14="http://schemas.microsoft.com/office/drawing/2010/main"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1" name="Freeform 16"/>
              <p:cNvSpPr>
                <a:spLocks/>
              </p:cNvSpPr>
              <p:nvPr/>
            </p:nvSpPr>
            <p:spPr bwMode="gray">
              <a:xfrm>
                <a:off x="5229226" y="1600200"/>
                <a:ext cx="252413" cy="339725"/>
              </a:xfrm>
              <a:custGeom>
                <a:avLst/>
                <a:gdLst>
                  <a:gd name="T0" fmla="*/ 433 w 439"/>
                  <a:gd name="T1" fmla="*/ 485 h 579"/>
                  <a:gd name="T2" fmla="*/ 307 w 439"/>
                  <a:gd name="T3" fmla="*/ 75 h 579"/>
                  <a:gd name="T4" fmla="*/ 249 w 439"/>
                  <a:gd name="T5" fmla="*/ 20 h 579"/>
                  <a:gd name="T6" fmla="*/ 143 w 439"/>
                  <a:gd name="T7" fmla="*/ 0 h 579"/>
                  <a:gd name="T8" fmla="*/ 0 w 439"/>
                  <a:gd name="T9" fmla="*/ 258 h 579"/>
                  <a:gd name="T10" fmla="*/ 242 w 439"/>
                  <a:gd name="T11" fmla="*/ 258 h 579"/>
                  <a:gd name="T12" fmla="*/ 273 w 439"/>
                  <a:gd name="T13" fmla="*/ 289 h 579"/>
                  <a:gd name="T14" fmla="*/ 273 w 439"/>
                  <a:gd name="T15" fmla="*/ 579 h 579"/>
                  <a:gd name="T16" fmla="*/ 361 w 439"/>
                  <a:gd name="T17" fmla="*/ 579 h 579"/>
                  <a:gd name="T18" fmla="*/ 420 w 439"/>
                  <a:gd name="T19" fmla="*/ 550 h 579"/>
                  <a:gd name="T20" fmla="*/ 433 w 439"/>
                  <a:gd name="T21" fmla="*/ 485 h 5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39" h="579">
                    <a:moveTo>
                      <a:pt x="433" y="485"/>
                    </a:moveTo>
                    <a:lnTo>
                      <a:pt x="307" y="75"/>
                    </a:lnTo>
                    <a:cubicBezTo>
                      <a:pt x="299" y="47"/>
                      <a:pt x="277" y="26"/>
                      <a:pt x="249" y="20"/>
                    </a:cubicBezTo>
                    <a:lnTo>
                      <a:pt x="143" y="0"/>
                    </a:lnTo>
                    <a:lnTo>
                      <a:pt x="0" y="258"/>
                    </a:lnTo>
                    <a:lnTo>
                      <a:pt x="242" y="258"/>
                    </a:lnTo>
                    <a:lnTo>
                      <a:pt x="273" y="289"/>
                    </a:lnTo>
                    <a:lnTo>
                      <a:pt x="273" y="579"/>
                    </a:lnTo>
                    <a:lnTo>
                      <a:pt x="361" y="579"/>
                    </a:lnTo>
                    <a:cubicBezTo>
                      <a:pt x="384" y="579"/>
                      <a:pt x="406" y="568"/>
                      <a:pt x="420" y="550"/>
                    </a:cubicBezTo>
                    <a:cubicBezTo>
                      <a:pt x="434" y="531"/>
                      <a:pt x="439" y="508"/>
                      <a:pt x="433" y="485"/>
                    </a:cubicBezTo>
                    <a:close/>
                  </a:path>
                </a:pathLst>
              </a:custGeom>
              <a:solidFill>
                <a:srgbClr val="4D4D4D"/>
              </a:solidFill>
              <a:ln w="0">
                <a:noFill/>
                <a:prstDash val="solid"/>
                <a:round/>
                <a:headEnd/>
                <a:tailEnd/>
              </a:ln>
              <a:extLst>
                <a:ext uri="{91240B29-F687-4F45-9708-019B960494DF}">
                  <a14:hiddenLine xmlns:a14="http://schemas.microsoft.com/office/drawing/2010/main"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2" name="Freeform 17"/>
              <p:cNvSpPr>
                <a:spLocks/>
              </p:cNvSpPr>
              <p:nvPr/>
            </p:nvSpPr>
            <p:spPr bwMode="gray">
              <a:xfrm>
                <a:off x="5091113" y="1787525"/>
                <a:ext cx="258763" cy="152400"/>
              </a:xfrm>
              <a:custGeom>
                <a:avLst/>
                <a:gdLst>
                  <a:gd name="T0" fmla="*/ 0 w 163"/>
                  <a:gd name="T1" fmla="*/ 96 h 96"/>
                  <a:gd name="T2" fmla="*/ 160 w 163"/>
                  <a:gd name="T3" fmla="*/ 96 h 96"/>
                  <a:gd name="T4" fmla="*/ 160 w 163"/>
                  <a:gd name="T5" fmla="*/ 96 h 96"/>
                  <a:gd name="T6" fmla="*/ 163 w 163"/>
                  <a:gd name="T7" fmla="*/ 96 h 96"/>
                  <a:gd name="T8" fmla="*/ 163 w 163"/>
                  <a:gd name="T9" fmla="*/ 0 h 96"/>
                  <a:gd name="T10" fmla="*/ 3 w 163"/>
                  <a:gd name="T11" fmla="*/ 0 h 96"/>
                  <a:gd name="T12" fmla="*/ 3 w 163"/>
                  <a:gd name="T13" fmla="*/ 96 h 96"/>
                  <a:gd name="T14" fmla="*/ 0 w 163"/>
                  <a:gd name="T15" fmla="*/ 96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3" h="96">
                    <a:moveTo>
                      <a:pt x="0" y="96"/>
                    </a:moveTo>
                    <a:lnTo>
                      <a:pt x="160" y="96"/>
                    </a:lnTo>
                    <a:lnTo>
                      <a:pt x="160" y="96"/>
                    </a:lnTo>
                    <a:lnTo>
                      <a:pt x="163" y="96"/>
                    </a:lnTo>
                    <a:lnTo>
                      <a:pt x="163" y="0"/>
                    </a:lnTo>
                    <a:lnTo>
                      <a:pt x="3" y="0"/>
                    </a:lnTo>
                    <a:lnTo>
                      <a:pt x="3" y="96"/>
                    </a:lnTo>
                    <a:lnTo>
                      <a:pt x="0" y="96"/>
                    </a:ln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3" name="Rectangle 18"/>
              <p:cNvSpPr>
                <a:spLocks noChangeArrowheads="1"/>
              </p:cNvSpPr>
              <p:nvPr/>
            </p:nvSpPr>
            <p:spPr bwMode="gray">
              <a:xfrm>
                <a:off x="5026026" y="1955800"/>
                <a:ext cx="385763" cy="31750"/>
              </a:xfrm>
              <a:prstGeom prst="rect">
                <a:avLst/>
              </a:prstGeom>
              <a:solidFill>
                <a:srgbClr val="4D4D4D"/>
              </a:solidFill>
              <a:ln w="0">
                <a:noFill/>
                <a:prstDash val="solid"/>
                <a:miter lim="800000"/>
                <a:headEnd/>
                <a:tailEnd/>
              </a:ln>
              <a:extLst>
                <a:ext uri="{91240B29-F687-4F45-9708-019B960494DF}">
                  <a14:hiddenLine xmlns:a14="http://schemas.microsoft.com/office/drawing/2010/main" w="0">
                    <a:solidFill>
                      <a:srgbClr val="000000"/>
                    </a:solidFill>
                    <a:prstDash val="solid"/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4" name="Freeform 19"/>
              <p:cNvSpPr>
                <a:spLocks noEditPoints="1"/>
              </p:cNvSpPr>
              <p:nvPr/>
            </p:nvSpPr>
            <p:spPr bwMode="gray">
              <a:xfrm>
                <a:off x="5073651" y="1284288"/>
                <a:ext cx="287338" cy="346075"/>
              </a:xfrm>
              <a:custGeom>
                <a:avLst/>
                <a:gdLst>
                  <a:gd name="T0" fmla="*/ 13 w 501"/>
                  <a:gd name="T1" fmla="*/ 358 h 591"/>
                  <a:gd name="T2" fmla="*/ 17 w 501"/>
                  <a:gd name="T3" fmla="*/ 368 h 591"/>
                  <a:gd name="T4" fmla="*/ 37 w 501"/>
                  <a:gd name="T5" fmla="*/ 402 h 591"/>
                  <a:gd name="T6" fmla="*/ 252 w 501"/>
                  <a:gd name="T7" fmla="*/ 590 h 591"/>
                  <a:gd name="T8" fmla="*/ 465 w 501"/>
                  <a:gd name="T9" fmla="*/ 401 h 591"/>
                  <a:gd name="T10" fmla="*/ 484 w 501"/>
                  <a:gd name="T11" fmla="*/ 366 h 591"/>
                  <a:gd name="T12" fmla="*/ 488 w 501"/>
                  <a:gd name="T13" fmla="*/ 356 h 591"/>
                  <a:gd name="T14" fmla="*/ 479 w 501"/>
                  <a:gd name="T15" fmla="*/ 288 h 591"/>
                  <a:gd name="T16" fmla="*/ 479 w 501"/>
                  <a:gd name="T17" fmla="*/ 286 h 591"/>
                  <a:gd name="T18" fmla="*/ 250 w 501"/>
                  <a:gd name="T19" fmla="*/ 1 h 591"/>
                  <a:gd name="T20" fmla="*/ 22 w 501"/>
                  <a:gd name="T21" fmla="*/ 287 h 591"/>
                  <a:gd name="T22" fmla="*/ 22 w 501"/>
                  <a:gd name="T23" fmla="*/ 290 h 591"/>
                  <a:gd name="T24" fmla="*/ 13 w 501"/>
                  <a:gd name="T25" fmla="*/ 358 h 591"/>
                  <a:gd name="T26" fmla="*/ 43 w 501"/>
                  <a:gd name="T27" fmla="*/ 313 h 591"/>
                  <a:gd name="T28" fmla="*/ 43 w 501"/>
                  <a:gd name="T29" fmla="*/ 313 h 591"/>
                  <a:gd name="T30" fmla="*/ 51 w 501"/>
                  <a:gd name="T31" fmla="*/ 306 h 591"/>
                  <a:gd name="T32" fmla="*/ 88 w 501"/>
                  <a:gd name="T33" fmla="*/ 312 h 591"/>
                  <a:gd name="T34" fmla="*/ 96 w 501"/>
                  <a:gd name="T35" fmla="*/ 307 h 591"/>
                  <a:gd name="T36" fmla="*/ 119 w 501"/>
                  <a:gd name="T37" fmla="*/ 254 h 591"/>
                  <a:gd name="T38" fmla="*/ 323 w 501"/>
                  <a:gd name="T39" fmla="*/ 282 h 591"/>
                  <a:gd name="T40" fmla="*/ 382 w 501"/>
                  <a:gd name="T41" fmla="*/ 275 h 591"/>
                  <a:gd name="T42" fmla="*/ 397 w 501"/>
                  <a:gd name="T43" fmla="*/ 311 h 591"/>
                  <a:gd name="T44" fmla="*/ 404 w 501"/>
                  <a:gd name="T45" fmla="*/ 316 h 591"/>
                  <a:gd name="T46" fmla="*/ 406 w 501"/>
                  <a:gd name="T47" fmla="*/ 315 h 591"/>
                  <a:gd name="T48" fmla="*/ 449 w 501"/>
                  <a:gd name="T49" fmla="*/ 303 h 591"/>
                  <a:gd name="T50" fmla="*/ 458 w 501"/>
                  <a:gd name="T51" fmla="*/ 312 h 591"/>
                  <a:gd name="T52" fmla="*/ 459 w 501"/>
                  <a:gd name="T53" fmla="*/ 312 h 591"/>
                  <a:gd name="T54" fmla="*/ 460 w 501"/>
                  <a:gd name="T55" fmla="*/ 343 h 591"/>
                  <a:gd name="T56" fmla="*/ 455 w 501"/>
                  <a:gd name="T57" fmla="*/ 355 h 591"/>
                  <a:gd name="T58" fmla="*/ 444 w 501"/>
                  <a:gd name="T59" fmla="*/ 378 h 591"/>
                  <a:gd name="T60" fmla="*/ 437 w 501"/>
                  <a:gd name="T61" fmla="*/ 387 h 591"/>
                  <a:gd name="T62" fmla="*/ 252 w 501"/>
                  <a:gd name="T63" fmla="*/ 559 h 591"/>
                  <a:gd name="T64" fmla="*/ 65 w 501"/>
                  <a:gd name="T65" fmla="*/ 388 h 591"/>
                  <a:gd name="T66" fmla="*/ 58 w 501"/>
                  <a:gd name="T67" fmla="*/ 379 h 591"/>
                  <a:gd name="T68" fmla="*/ 46 w 501"/>
                  <a:gd name="T69" fmla="*/ 356 h 591"/>
                  <a:gd name="T70" fmla="*/ 41 w 501"/>
                  <a:gd name="T71" fmla="*/ 344 h 591"/>
                  <a:gd name="T72" fmla="*/ 43 w 501"/>
                  <a:gd name="T73" fmla="*/ 313 h 5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501" h="591">
                    <a:moveTo>
                      <a:pt x="13" y="358"/>
                    </a:moveTo>
                    <a:cubicBezTo>
                      <a:pt x="14" y="360"/>
                      <a:pt x="16" y="364"/>
                      <a:pt x="17" y="368"/>
                    </a:cubicBezTo>
                    <a:cubicBezTo>
                      <a:pt x="24" y="384"/>
                      <a:pt x="29" y="395"/>
                      <a:pt x="37" y="402"/>
                    </a:cubicBezTo>
                    <a:cubicBezTo>
                      <a:pt x="71" y="513"/>
                      <a:pt x="159" y="591"/>
                      <a:pt x="252" y="590"/>
                    </a:cubicBezTo>
                    <a:cubicBezTo>
                      <a:pt x="346" y="590"/>
                      <a:pt x="433" y="512"/>
                      <a:pt x="465" y="401"/>
                    </a:cubicBezTo>
                    <a:cubicBezTo>
                      <a:pt x="473" y="394"/>
                      <a:pt x="478" y="382"/>
                      <a:pt x="484" y="366"/>
                    </a:cubicBezTo>
                    <a:cubicBezTo>
                      <a:pt x="486" y="362"/>
                      <a:pt x="487" y="359"/>
                      <a:pt x="488" y="356"/>
                    </a:cubicBezTo>
                    <a:cubicBezTo>
                      <a:pt x="501" y="330"/>
                      <a:pt x="497" y="302"/>
                      <a:pt x="479" y="288"/>
                    </a:cubicBezTo>
                    <a:lnTo>
                      <a:pt x="479" y="286"/>
                    </a:lnTo>
                    <a:cubicBezTo>
                      <a:pt x="479" y="147"/>
                      <a:pt x="460" y="0"/>
                      <a:pt x="250" y="1"/>
                    </a:cubicBezTo>
                    <a:cubicBezTo>
                      <a:pt x="39" y="1"/>
                      <a:pt x="21" y="143"/>
                      <a:pt x="22" y="287"/>
                    </a:cubicBezTo>
                    <a:cubicBezTo>
                      <a:pt x="22" y="288"/>
                      <a:pt x="22" y="289"/>
                      <a:pt x="22" y="290"/>
                    </a:cubicBezTo>
                    <a:cubicBezTo>
                      <a:pt x="4" y="304"/>
                      <a:pt x="0" y="332"/>
                      <a:pt x="13" y="358"/>
                    </a:cubicBezTo>
                    <a:close/>
                    <a:moveTo>
                      <a:pt x="43" y="313"/>
                    </a:moveTo>
                    <a:lnTo>
                      <a:pt x="43" y="313"/>
                    </a:lnTo>
                    <a:cubicBezTo>
                      <a:pt x="47" y="312"/>
                      <a:pt x="49" y="309"/>
                      <a:pt x="51" y="306"/>
                    </a:cubicBezTo>
                    <a:lnTo>
                      <a:pt x="88" y="312"/>
                    </a:lnTo>
                    <a:cubicBezTo>
                      <a:pt x="91" y="312"/>
                      <a:pt x="95" y="311"/>
                      <a:pt x="96" y="307"/>
                    </a:cubicBezTo>
                    <a:lnTo>
                      <a:pt x="119" y="254"/>
                    </a:lnTo>
                    <a:cubicBezTo>
                      <a:pt x="146" y="260"/>
                      <a:pt x="245" y="283"/>
                      <a:pt x="323" y="282"/>
                    </a:cubicBezTo>
                    <a:cubicBezTo>
                      <a:pt x="347" y="282"/>
                      <a:pt x="367" y="280"/>
                      <a:pt x="382" y="275"/>
                    </a:cubicBezTo>
                    <a:lnTo>
                      <a:pt x="397" y="311"/>
                    </a:lnTo>
                    <a:cubicBezTo>
                      <a:pt x="398" y="314"/>
                      <a:pt x="401" y="316"/>
                      <a:pt x="404" y="316"/>
                    </a:cubicBezTo>
                    <a:cubicBezTo>
                      <a:pt x="405" y="316"/>
                      <a:pt x="406" y="315"/>
                      <a:pt x="406" y="315"/>
                    </a:cubicBezTo>
                    <a:lnTo>
                      <a:pt x="449" y="303"/>
                    </a:lnTo>
                    <a:cubicBezTo>
                      <a:pt x="451" y="307"/>
                      <a:pt x="454" y="310"/>
                      <a:pt x="458" y="312"/>
                    </a:cubicBezTo>
                    <a:lnTo>
                      <a:pt x="459" y="312"/>
                    </a:lnTo>
                    <a:cubicBezTo>
                      <a:pt x="465" y="315"/>
                      <a:pt x="467" y="329"/>
                      <a:pt x="460" y="343"/>
                    </a:cubicBezTo>
                    <a:cubicBezTo>
                      <a:pt x="459" y="346"/>
                      <a:pt x="457" y="350"/>
                      <a:pt x="455" y="355"/>
                    </a:cubicBezTo>
                    <a:cubicBezTo>
                      <a:pt x="453" y="361"/>
                      <a:pt x="447" y="374"/>
                      <a:pt x="444" y="378"/>
                    </a:cubicBezTo>
                    <a:cubicBezTo>
                      <a:pt x="440" y="380"/>
                      <a:pt x="438" y="383"/>
                      <a:pt x="437" y="387"/>
                    </a:cubicBezTo>
                    <a:cubicBezTo>
                      <a:pt x="409" y="488"/>
                      <a:pt x="333" y="559"/>
                      <a:pt x="252" y="559"/>
                    </a:cubicBezTo>
                    <a:cubicBezTo>
                      <a:pt x="171" y="559"/>
                      <a:pt x="94" y="489"/>
                      <a:pt x="65" y="388"/>
                    </a:cubicBezTo>
                    <a:cubicBezTo>
                      <a:pt x="64" y="384"/>
                      <a:pt x="61" y="381"/>
                      <a:pt x="58" y="379"/>
                    </a:cubicBezTo>
                    <a:cubicBezTo>
                      <a:pt x="54" y="376"/>
                      <a:pt x="49" y="362"/>
                      <a:pt x="46" y="356"/>
                    </a:cubicBezTo>
                    <a:cubicBezTo>
                      <a:pt x="44" y="351"/>
                      <a:pt x="43" y="347"/>
                      <a:pt x="41" y="344"/>
                    </a:cubicBezTo>
                    <a:cubicBezTo>
                      <a:pt x="34" y="330"/>
                      <a:pt x="36" y="316"/>
                      <a:pt x="43" y="313"/>
                    </a:cubicBezTo>
                    <a:close/>
                  </a:path>
                </a:pathLst>
              </a:custGeom>
              <a:solidFill>
                <a:srgbClr val="4D4D4D"/>
              </a:solidFill>
              <a:ln w="0">
                <a:noFill/>
                <a:prstDash val="solid"/>
                <a:round/>
                <a:headEnd/>
                <a:tailEnd/>
              </a:ln>
              <a:extLst>
                <a:ext uri="{91240B29-F687-4F45-9708-019B960494DF}">
                  <a14:hiddenLine xmlns:a14="http://schemas.microsoft.com/office/drawing/2010/main"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pic>
          <p:nvPicPr>
            <p:cNvPr id="78" name="Picture 3" descr="C:\Users\rajarrv\AppData\Local\Microsoft\Windows\Temporary Internet Files\Content.Outlook\3CY2KM7L\B-No Background FORCE LOGO.png"/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919134" y="4095401"/>
              <a:ext cx="276515" cy="7896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cxnSp>
        <p:nvCxnSpPr>
          <p:cNvPr id="85" name="直線コネクタ 84"/>
          <p:cNvCxnSpPr/>
          <p:nvPr/>
        </p:nvCxnSpPr>
        <p:spPr bwMode="auto">
          <a:xfrm flipV="1">
            <a:off x="1230610" y="4294456"/>
            <a:ext cx="5905727" cy="13855"/>
          </a:xfrm>
          <a:prstGeom prst="line">
            <a:avLst/>
          </a:prstGeom>
          <a:noFill/>
          <a:ln w="15875" cap="flat" cmpd="sng" algn="ctr">
            <a:solidFill>
              <a:srgbClr val="C8C8C8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E9E9E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86" name="TextBox 96"/>
          <p:cNvSpPr txBox="1"/>
          <p:nvPr/>
        </p:nvSpPr>
        <p:spPr bwMode="auto">
          <a:xfrm>
            <a:off x="1185650" y="3592274"/>
            <a:ext cx="1558378" cy="313429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ysDot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lvl="0" fontAlgn="base">
              <a:defRPr sz="1600">
                <a:solidFill>
                  <a:srgbClr val="000000"/>
                </a:solidFill>
                <a:latin typeface="CorpoS" pitchFamily="2" charset="0"/>
              </a:defRPr>
            </a:lvl1pPr>
          </a:lstStyle>
          <a:p>
            <a:pPr algn="ctr"/>
            <a:r>
              <a:rPr lang="ja-JP" altLang="en-US" sz="1400" noProof="1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支店長</a:t>
            </a:r>
            <a:r>
              <a:rPr lang="ja-JP" altLang="en-US" sz="1400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業務</a:t>
            </a:r>
            <a:endParaRPr lang="en-US" sz="1400" dirty="0"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88" name="正方形/長方形 87"/>
          <p:cNvSpPr/>
          <p:nvPr/>
        </p:nvSpPr>
        <p:spPr>
          <a:xfrm>
            <a:off x="4936983" y="3448880"/>
            <a:ext cx="1451428" cy="700456"/>
          </a:xfrm>
          <a:prstGeom prst="rect">
            <a:avLst/>
          </a:prstGeom>
          <a:solidFill>
            <a:sysClr val="window" lastClr="FFFFFF"/>
          </a:solidFill>
          <a:ln w="10795" cap="flat" cmpd="sng" algn="ctr">
            <a:solidFill>
              <a:srgbClr val="00677F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21600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ja-JP" altLang="en-US" sz="1200" noProof="1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支店長</a:t>
            </a:r>
            <a:endParaRPr lang="en-US" altLang="ja-JP" sz="1200" dirty="0"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marL="0" marR="0" lvl="0" indent="0" algn="ctr" defTabSz="914766" eaLnBrk="1" fontAlgn="auto" latinLnBrk="0" hangingPunct="1">
              <a:lnSpc>
                <a:spcPts val="14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1" lang="ja-JP" altLang="en-US" sz="120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業務メニュー</a:t>
            </a:r>
          </a:p>
        </p:txBody>
      </p:sp>
      <p:sp>
        <p:nvSpPr>
          <p:cNvPr id="89" name="正方形/長方形 88"/>
          <p:cNvSpPr/>
          <p:nvPr/>
        </p:nvSpPr>
        <p:spPr>
          <a:xfrm>
            <a:off x="4950838" y="4547388"/>
            <a:ext cx="1451428" cy="700456"/>
          </a:xfrm>
          <a:prstGeom prst="rect">
            <a:avLst/>
          </a:prstGeom>
          <a:solidFill>
            <a:sysClr val="window" lastClr="FFFFFF"/>
          </a:solidFill>
          <a:ln w="10795" cap="flat" cmpd="sng" algn="ctr">
            <a:solidFill>
              <a:srgbClr val="00677F"/>
            </a:solidFill>
            <a:prstDash val="solid"/>
          </a:ln>
          <a:effectLst/>
        </p:spPr>
        <p:txBody>
          <a:bodyPr rot="0" spcFirstLastPara="0" vertOverflow="overflow" horzOverflow="overflow" vert="horz" wrap="square" lIns="72000" tIns="21600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ja-JP" altLang="en-US" sz="1200" noProof="1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支店営業マネージャー</a:t>
            </a:r>
            <a:endParaRPr lang="en-US" altLang="ja-JP" sz="1200" noProof="1" smtClean="0"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algn="ctr"/>
            <a:r>
              <a:rPr kumimoji="1" lang="ja-JP" altLang="en-US" sz="1200" kern="0" dirty="0" smtClean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業務メニュー</a:t>
            </a:r>
            <a:endParaRPr kumimoji="1" lang="ja-JP" altLang="en-US" sz="1200" kern="0" dirty="0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cxnSp>
        <p:nvCxnSpPr>
          <p:cNvPr id="90" name="直線矢印コネクタ 89"/>
          <p:cNvCxnSpPr>
            <a:stCxn id="79" idx="3"/>
            <a:endCxn id="89" idx="1"/>
          </p:cNvCxnSpPr>
          <p:nvPr/>
        </p:nvCxnSpPr>
        <p:spPr>
          <a:xfrm>
            <a:off x="3397618" y="3805345"/>
            <a:ext cx="1553220" cy="1092271"/>
          </a:xfrm>
          <a:prstGeom prst="straightConnector1">
            <a:avLst/>
          </a:prstGeom>
          <a:noFill/>
          <a:ln w="9525" cap="rnd" cmpd="sng" algn="ctr">
            <a:solidFill>
              <a:sysClr val="windowText" lastClr="000000">
                <a:lumMod val="60000"/>
                <a:lumOff val="40000"/>
              </a:sysClr>
            </a:solidFill>
            <a:prstDash val="solid"/>
            <a:round/>
            <a:tailEnd type="triangle"/>
          </a:ln>
          <a:effectLst/>
        </p:spPr>
      </p:cxnSp>
      <p:cxnSp>
        <p:nvCxnSpPr>
          <p:cNvPr id="91" name="直線矢印コネクタ 90"/>
          <p:cNvCxnSpPr>
            <a:stCxn id="79" idx="3"/>
            <a:endCxn id="88" idx="1"/>
          </p:cNvCxnSpPr>
          <p:nvPr/>
        </p:nvCxnSpPr>
        <p:spPr>
          <a:xfrm flipV="1">
            <a:off x="3397618" y="3799108"/>
            <a:ext cx="1539365" cy="6237"/>
          </a:xfrm>
          <a:prstGeom prst="straightConnector1">
            <a:avLst/>
          </a:prstGeom>
          <a:noFill/>
          <a:ln w="9525" cap="rnd" cmpd="sng" algn="ctr">
            <a:solidFill>
              <a:sysClr val="windowText" lastClr="000000">
                <a:lumMod val="60000"/>
                <a:lumOff val="40000"/>
              </a:sysClr>
            </a:solidFill>
            <a:prstDash val="solid"/>
            <a:round/>
            <a:tailEnd type="triangle"/>
          </a:ln>
          <a:effectLst/>
        </p:spPr>
      </p:cxnSp>
      <p:sp>
        <p:nvSpPr>
          <p:cNvPr id="92" name="正方形/長方形 91"/>
          <p:cNvSpPr/>
          <p:nvPr/>
        </p:nvSpPr>
        <p:spPr>
          <a:xfrm>
            <a:off x="3515679" y="3434963"/>
            <a:ext cx="1120820" cy="27699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solidFill>
              <a:schemeClr val="tx2"/>
            </a:solidFill>
            <a:prstDash val="sysDot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altLang="ja-JP" sz="1200" dirty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UID:UID01S</a:t>
            </a:r>
            <a:endParaRPr lang="ja-JP" altLang="en-US" sz="1200" dirty="0">
              <a:solidFill>
                <a:srgbClr val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93" name="正方形/長方形 92"/>
          <p:cNvSpPr/>
          <p:nvPr/>
        </p:nvSpPr>
        <p:spPr>
          <a:xfrm>
            <a:off x="3547591" y="5006160"/>
            <a:ext cx="1151277" cy="27699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solidFill>
              <a:schemeClr val="tx2"/>
            </a:solidFill>
            <a:prstDash val="sysDot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altLang="ja-JP" sz="1200" dirty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UID:UID01M</a:t>
            </a:r>
            <a:endParaRPr lang="ja-JP" altLang="en-US" sz="1200" dirty="0">
              <a:solidFill>
                <a:srgbClr val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pic>
        <p:nvPicPr>
          <p:cNvPr id="94" name="Picture 3" descr="C:\Users\rajarrv\AppData\Local\Microsoft\Windows\Temporary Internet Files\Content.Outlook\3CY2KM7L\B-No Background FORCE LOGO.png"/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507728" y="3465949"/>
            <a:ext cx="879081" cy="2510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5" name="Picture 3" descr="C:\Users\rajarrv\AppData\Local\Microsoft\Windows\Temporary Internet Files\Content.Outlook\3CY2KM7L\B-No Background FORCE LOGO.png"/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535433" y="4560489"/>
            <a:ext cx="879081" cy="2510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6" name="正方形/長方形 95"/>
          <p:cNvSpPr/>
          <p:nvPr/>
        </p:nvSpPr>
        <p:spPr>
          <a:xfrm>
            <a:off x="3342440" y="3207254"/>
            <a:ext cx="1388522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defTabSz="914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FORCE LOG IN UID</a:t>
            </a:r>
            <a:endParaRPr kumimoji="0" lang="ja-JP" altLang="en-US" sz="10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97" name="正方形/長方形 96"/>
          <p:cNvSpPr/>
          <p:nvPr/>
        </p:nvSpPr>
        <p:spPr>
          <a:xfrm>
            <a:off x="3342440" y="4780007"/>
            <a:ext cx="1388522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defTabSz="914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FORCE LOG IN UID</a:t>
            </a:r>
            <a:endParaRPr kumimoji="0" lang="ja-JP" altLang="en-US" sz="10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98" name="タイトル 4"/>
          <p:cNvSpPr txBox="1">
            <a:spLocks/>
          </p:cNvSpPr>
          <p:nvPr/>
        </p:nvSpPr>
        <p:spPr>
          <a:xfrm>
            <a:off x="1029362" y="5644729"/>
            <a:ext cx="7244481" cy="276999"/>
          </a:xfrm>
          <a:prstGeom prst="rect">
            <a:avLst/>
          </a:prstGeom>
          <a:noFill/>
          <a:ln w="19050" cap="flat" cmpd="sng" algn="ctr">
            <a:noFill/>
            <a:prstDash val="solid"/>
          </a:ln>
          <a:effectLst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3943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3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n-ea"/>
                <a:cs typeface="+mn-cs"/>
                <a:sym typeface="CorpoS" pitchFamily="2" charset="0"/>
              </a:defRPr>
            </a:lvl1pPr>
            <a:lvl2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C36">
                  <a:lumMod val="75000"/>
                  <a:lumOff val="25000"/>
                </a:srgbClr>
              </a:buClr>
              <a:buSzTx/>
              <a:tabLst/>
              <a:defRPr/>
            </a:pPr>
            <a:r>
              <a:rPr kumimoji="1" lang="ja-JP" alt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　　 </a:t>
            </a:r>
            <a:r>
              <a:rPr kumimoji="1" lang="en-US" altLang="ja-JP" sz="14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FORCE</a:t>
            </a:r>
            <a:r>
              <a:rPr kumimoji="1" lang="ja-JP" alt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ログイン時に支店長用の</a:t>
            </a:r>
            <a:r>
              <a:rPr kumimoji="1" lang="en-US" altLang="ja-JP" sz="14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UID</a:t>
            </a:r>
            <a:r>
              <a:rPr kumimoji="1" lang="ja-JP" altLang="en-US" sz="1400" kern="0" dirty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、</a:t>
            </a:r>
            <a:r>
              <a:rPr kumimoji="1" lang="ja-JP" alt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または支店営業マネージャー用の</a:t>
            </a:r>
            <a:r>
              <a:rPr kumimoji="1" lang="en-US" altLang="ja-JP" sz="14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UID</a:t>
            </a:r>
            <a:r>
              <a:rPr kumimoji="1" lang="ja-JP" alt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を</a:t>
            </a:r>
            <a:endParaRPr kumimoji="1" lang="en-US" altLang="ja-JP" sz="14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marL="265113" marR="0" lvl="1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C36">
                  <a:lumMod val="75000"/>
                  <a:lumOff val="25000"/>
                </a:srgbClr>
              </a:buClr>
              <a:buSzTx/>
              <a:tabLst/>
              <a:defRPr/>
            </a:pPr>
            <a:r>
              <a:rPr kumimoji="1" lang="ja-JP" alt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使い分ける必要がある。</a:t>
            </a:r>
            <a:endParaRPr kumimoji="1" lang="ja-JP" altLang="en-US" sz="14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37" name="Rectangle 77"/>
          <p:cNvSpPr/>
          <p:nvPr/>
        </p:nvSpPr>
        <p:spPr>
          <a:xfrm>
            <a:off x="757555" y="2666377"/>
            <a:ext cx="6676008" cy="39378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ja-JP" altLang="en-US" sz="1400" noProof="1" smtClean="0">
                <a:solidFill>
                  <a:schemeClr val="folHlin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■</a:t>
            </a:r>
            <a:r>
              <a:rPr lang="ja-JP" altLang="en-US" sz="1400" noProof="1" smtClea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支店長が支店営業マネージャー</a:t>
            </a:r>
            <a:r>
              <a:rPr lang="ja-JP" altLang="en-US" sz="1400" noProof="1" smtClean="0">
                <a:solidFill>
                  <a:schemeClr val="folHlin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を兼務している場合、</a:t>
            </a:r>
            <a:r>
              <a:rPr lang="en-US" altLang="ja-JP" sz="1400" noProof="1" smtClean="0">
                <a:solidFill>
                  <a:schemeClr val="folHlin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2</a:t>
            </a:r>
            <a:r>
              <a:rPr lang="ja-JP" altLang="en-US" sz="1400" noProof="1" smtClean="0">
                <a:solidFill>
                  <a:schemeClr val="folHlin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つの</a:t>
            </a:r>
            <a:r>
              <a:rPr lang="en-US" altLang="ja-JP" sz="1400" noProof="1" smtClean="0">
                <a:solidFill>
                  <a:schemeClr val="folHlin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UID</a:t>
            </a:r>
            <a:r>
              <a:rPr lang="ja-JP" altLang="en-US" sz="1400" noProof="1" smtClean="0">
                <a:solidFill>
                  <a:schemeClr val="folHlin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が必要。</a:t>
            </a:r>
            <a:endParaRPr lang="en-US" altLang="ja-JP" sz="1400" noProof="1" smtClean="0">
              <a:solidFill>
                <a:schemeClr val="folHlink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38" name="TextBox 96"/>
          <p:cNvSpPr txBox="1"/>
          <p:nvPr/>
        </p:nvSpPr>
        <p:spPr bwMode="auto">
          <a:xfrm>
            <a:off x="1185650" y="4589735"/>
            <a:ext cx="1572920" cy="337077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ysDot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lvl="0" fontAlgn="base">
              <a:defRPr sz="1600">
                <a:solidFill>
                  <a:srgbClr val="000000"/>
                </a:solidFill>
                <a:latin typeface="CorpoS" pitchFamily="2" charset="0"/>
              </a:defRPr>
            </a:lvl1pPr>
          </a:lstStyle>
          <a:p>
            <a:pPr algn="ctr"/>
            <a:r>
              <a:rPr lang="ja-JP" altLang="en-US" sz="1200" noProof="1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支店</a:t>
            </a:r>
            <a:r>
              <a:rPr lang="ja-JP" altLang="en-US" sz="1200" noProof="1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営業マネージャー業務</a:t>
            </a:r>
            <a:endParaRPr lang="en-US" altLang="ja-JP" sz="1200" dirty="0"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094636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674220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38" name="think-cell スライド" r:id="rId5" imgW="473" imgH="473" progId="TCLayout.ActiveDocument.1">
                  <p:embed/>
                </p:oleObj>
              </mc:Choice>
              <mc:Fallback>
                <p:oleObj name="think-cell スライド" r:id="rId5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" name="TextBox 96"/>
          <p:cNvSpPr txBox="1"/>
          <p:nvPr/>
        </p:nvSpPr>
        <p:spPr bwMode="auto">
          <a:xfrm>
            <a:off x="1190688" y="4587813"/>
            <a:ext cx="1558378" cy="339964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ysDot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lvl="0" fontAlgn="base">
              <a:defRPr sz="1600">
                <a:solidFill>
                  <a:srgbClr val="000000"/>
                </a:solidFill>
                <a:latin typeface="CorpoS" pitchFamily="2" charset="0"/>
              </a:defRPr>
            </a:lvl1pPr>
          </a:lstStyle>
          <a:p>
            <a:pPr algn="ctr"/>
            <a:r>
              <a:rPr lang="ja-JP" altLang="en-US" sz="1400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支店 部品</a:t>
            </a:r>
            <a:r>
              <a:rPr lang="en-US" altLang="ja-JP" sz="1400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MGR</a:t>
            </a:r>
            <a:r>
              <a:rPr lang="ja-JP" altLang="en-US" sz="1400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業務</a:t>
            </a:r>
            <a:endParaRPr lang="en-US" altLang="ja-JP" sz="1400" dirty="0"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40" name="TextBox 96"/>
          <p:cNvSpPr txBox="1"/>
          <p:nvPr/>
        </p:nvSpPr>
        <p:spPr bwMode="auto">
          <a:xfrm>
            <a:off x="1185650" y="3592274"/>
            <a:ext cx="1558378" cy="358845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ysDot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lvl="0" fontAlgn="base">
              <a:defRPr sz="1600">
                <a:solidFill>
                  <a:srgbClr val="000000"/>
                </a:solidFill>
                <a:latin typeface="CorpoS" pitchFamily="2" charset="0"/>
              </a:defRPr>
            </a:lvl1pPr>
          </a:lstStyle>
          <a:p>
            <a:pPr algn="ctr"/>
            <a:r>
              <a:rPr lang="ja-JP" altLang="en-US" sz="1400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支店 整備</a:t>
            </a:r>
            <a:r>
              <a:rPr lang="en-US" altLang="ja-JP" sz="1400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MGR</a:t>
            </a:r>
            <a:r>
              <a:rPr lang="ja-JP" altLang="en-US" sz="1400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業務</a:t>
            </a:r>
            <a:endParaRPr lang="en-US" sz="1400" dirty="0"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5" name="タイトル 2"/>
          <p:cNvSpPr txBox="1">
            <a:spLocks/>
          </p:cNvSpPr>
          <p:nvPr/>
        </p:nvSpPr>
        <p:spPr>
          <a:xfrm>
            <a:off x="630328" y="622944"/>
            <a:ext cx="10938894" cy="47100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3943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3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CorpoS" pitchFamily="2" charset="0"/>
              </a:defRPr>
            </a:lvl1pPr>
          </a:lstStyle>
          <a:p>
            <a:pPr marL="0" marR="0" lvl="0" indent="0" algn="l" defTabSz="91394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3300" b="0" i="0" u="none" strike="noStrike" kern="1200" cap="none" spc="0" normalizeH="0" baseline="0" noProof="0">
              <a:ln>
                <a:noFill/>
              </a:ln>
              <a:solidFill>
                <a:srgbClr val="00647F">
                  <a:lumMod val="100000"/>
                </a:srgbClr>
              </a:solidFill>
              <a:effectLst/>
              <a:uLnTx/>
              <a:uFillTx/>
              <a:latin typeface="CorpoS"/>
              <a:ea typeface="+mj-ea"/>
              <a:cs typeface="+mj-cs"/>
              <a:sym typeface="CorpoS" pitchFamily="2" charset="0"/>
            </a:endParaRPr>
          </a:p>
        </p:txBody>
      </p:sp>
      <p:sp>
        <p:nvSpPr>
          <p:cNvPr id="6" name="タイトル 4"/>
          <p:cNvSpPr txBox="1">
            <a:spLocks/>
          </p:cNvSpPr>
          <p:nvPr/>
        </p:nvSpPr>
        <p:spPr>
          <a:xfrm>
            <a:off x="3782287" y="549275"/>
            <a:ext cx="7662239" cy="561600"/>
          </a:xfrm>
          <a:prstGeom prst="rect">
            <a:avLst/>
          </a:prstGeom>
          <a:solidFill>
            <a:sysClr val="window" lastClr="FFFFFF"/>
          </a:solidFill>
          <a:ln w="10795" cap="flat" cmpd="sng" algn="ctr">
            <a:noFill/>
            <a:prstDash val="solid"/>
          </a:ln>
          <a:effectLst/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de-DE"/>
            </a:defPPr>
            <a:lvl1pPr marR="0" lvl="0" indent="0" defTabSz="913943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1" sz="2800" b="0" i="0" u="none" strike="noStrike" cap="none" spc="0" normalizeH="0" baseline="0">
                <a:ln>
                  <a:noFill/>
                </a:ln>
                <a:solidFill>
                  <a:srgbClr val="00647F">
                    <a:lumMod val="100000"/>
                  </a:srgbClr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ja-JP" altLang="en-US" sz="2000" dirty="0" smtClean="0">
                <a:solidFill>
                  <a:schemeClr val="tx1"/>
                </a:solidFill>
                <a:sym typeface="CorpoS" pitchFamily="2" charset="0"/>
              </a:rPr>
              <a:t> </a:t>
            </a:r>
            <a:r>
              <a:rPr lang="en-US" altLang="ja-JP" sz="2000" dirty="0" smtClean="0">
                <a:solidFill>
                  <a:schemeClr val="tx1"/>
                </a:solidFill>
                <a:sym typeface="CorpoS" pitchFamily="2" charset="0"/>
              </a:rPr>
              <a:t>2.3</a:t>
            </a:r>
            <a:r>
              <a:rPr lang="ja-JP" altLang="en-US" sz="2000" dirty="0">
                <a:solidFill>
                  <a:schemeClr val="tx1"/>
                </a:solidFill>
                <a:sym typeface="CorpoS" pitchFamily="2" charset="0"/>
              </a:rPr>
              <a:t>　複数</a:t>
            </a:r>
            <a:r>
              <a:rPr lang="en-US" altLang="ja-JP" sz="2000" dirty="0">
                <a:solidFill>
                  <a:schemeClr val="tx1"/>
                </a:solidFill>
                <a:sym typeface="CorpoS" pitchFamily="2" charset="0"/>
              </a:rPr>
              <a:t>UID</a:t>
            </a:r>
            <a:r>
              <a:rPr lang="ja-JP" altLang="en-US" sz="2000" dirty="0">
                <a:solidFill>
                  <a:schemeClr val="tx1"/>
                </a:solidFill>
                <a:sym typeface="CorpoS" pitchFamily="2" charset="0"/>
              </a:rPr>
              <a:t>が必要な社員の例　</a:t>
            </a:r>
            <a:r>
              <a:rPr lang="en-US" altLang="ja-JP" sz="2000" dirty="0">
                <a:solidFill>
                  <a:schemeClr val="tx1"/>
                </a:solidFill>
                <a:sym typeface="CorpoS" pitchFamily="2" charset="0"/>
              </a:rPr>
              <a:t>- </a:t>
            </a:r>
            <a:r>
              <a:rPr lang="ja-JP" altLang="en-US" sz="2000" dirty="0" smtClean="0">
                <a:solidFill>
                  <a:schemeClr val="tx1"/>
                </a:solidFill>
                <a:sym typeface="CorpoS" pitchFamily="2" charset="0"/>
              </a:rPr>
              <a:t>③</a:t>
            </a:r>
            <a:r>
              <a:rPr lang="ja-JP" altLang="en-US" sz="2000" dirty="0">
                <a:solidFill>
                  <a:schemeClr val="tx1"/>
                </a:solidFill>
                <a:sym typeface="CorpoS" pitchFamily="2" charset="0"/>
              </a:rPr>
              <a:t>　</a:t>
            </a:r>
            <a:r>
              <a:rPr lang="ja-JP" altLang="en-US" sz="2000" dirty="0" smtClean="0">
                <a:solidFill>
                  <a:schemeClr val="tx1"/>
                </a:solidFill>
                <a:sym typeface="CorpoS" pitchFamily="2" charset="0"/>
              </a:rPr>
              <a:t>複数職務を</a:t>
            </a:r>
            <a:r>
              <a:rPr lang="ja-JP" altLang="en-US" sz="2000" dirty="0">
                <a:solidFill>
                  <a:schemeClr val="tx1"/>
                </a:solidFill>
                <a:sym typeface="CorpoS" pitchFamily="2" charset="0"/>
              </a:rPr>
              <a:t>担当</a:t>
            </a:r>
          </a:p>
        </p:txBody>
      </p:sp>
      <p:sp>
        <p:nvSpPr>
          <p:cNvPr id="7" name="Rechteck 12">
            <a:extLst>
              <a:ext uri="{FF2B5EF4-FFF2-40B4-BE49-F238E27FC236}">
                <a16:creationId xmlns:a16="http://schemas.microsoft.com/office/drawing/2014/main" id="{B247BD26-CC3F-4252-A978-DB140B45A001}"/>
              </a:ext>
            </a:extLst>
          </p:cNvPr>
          <p:cNvSpPr/>
          <p:nvPr/>
        </p:nvSpPr>
        <p:spPr bwMode="gray">
          <a:xfrm>
            <a:off x="628650" y="549275"/>
            <a:ext cx="357372" cy="562201"/>
          </a:xfrm>
          <a:prstGeom prst="rect">
            <a:avLst/>
          </a:prstGeom>
          <a:solidFill>
            <a:sysClr val="windowText" lastClr="000000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marL="0" marR="0" lvl="0" indent="0" algn="ctr" defTabSz="801688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2</a:t>
            </a:r>
          </a:p>
        </p:txBody>
      </p:sp>
      <p:sp>
        <p:nvSpPr>
          <p:cNvPr id="8" name="Rechteck 13">
            <a:extLst>
              <a:ext uri="{FF2B5EF4-FFF2-40B4-BE49-F238E27FC236}">
                <a16:creationId xmlns:a16="http://schemas.microsoft.com/office/drawing/2014/main" id="{FB03C564-73F6-43DE-83D5-F23FDFB7F3F8}"/>
              </a:ext>
            </a:extLst>
          </p:cNvPr>
          <p:cNvSpPr/>
          <p:nvPr/>
        </p:nvSpPr>
        <p:spPr bwMode="gray">
          <a:xfrm>
            <a:off x="985118" y="549275"/>
            <a:ext cx="2783318" cy="562201"/>
          </a:xfrm>
          <a:prstGeom prst="rect">
            <a:avLst/>
          </a:prstGeom>
          <a:solidFill>
            <a:srgbClr val="00647F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128016" tIns="0" rIns="0" bIns="0" anchor="ctr"/>
          <a:lstStyle/>
          <a:p>
            <a:pPr lvl="0" defTabSz="801688" eaLnBrk="0" hangingPunct="0">
              <a:lnSpc>
                <a:spcPct val="90000"/>
              </a:lnSpc>
              <a:defRPr/>
            </a:pPr>
            <a:r>
              <a:rPr lang="ja-JP" altLang="en-US" sz="2000" kern="0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初期配備社員マスタ</a:t>
            </a:r>
            <a:endParaRPr lang="en-US" altLang="ja-JP" sz="2000" kern="0" dirty="0">
              <a:solidFill>
                <a:srgbClr val="FFFFFF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68" name="Rectangle 16"/>
          <p:cNvSpPr/>
          <p:nvPr/>
        </p:nvSpPr>
        <p:spPr>
          <a:xfrm>
            <a:off x="629999" y="1433960"/>
            <a:ext cx="7828201" cy="879750"/>
          </a:xfrm>
          <a:prstGeom prst="rect">
            <a:avLst/>
          </a:prstGeom>
          <a:noFill/>
          <a:ln w="15875" cap="flat" cmpd="sng" algn="ctr">
            <a:solidFill>
              <a:srgbClr val="C8C8C8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E9E9E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18000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1">
              <a:buClr>
                <a:srgbClr val="000000"/>
              </a:buClr>
              <a:buSzPct val="100000"/>
            </a:pPr>
            <a:r>
              <a:rPr lang="ja-JP" altLang="en-US" sz="1400" noProof="1" smtClea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■複数の職務を持つ（例：支店整備・支店部品のマネージャを兼務）社員は複数</a:t>
            </a:r>
            <a:r>
              <a:rPr lang="en-US" altLang="ja-JP" sz="1400" noProof="1" smtClea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UID</a:t>
            </a:r>
            <a:r>
              <a:rPr lang="ja-JP" altLang="en-US" sz="1400" noProof="1" smtClea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の保持が必要。</a:t>
            </a:r>
            <a:endParaRPr lang="en-US" altLang="ja-JP" sz="1400" noProof="1" smtClean="0">
              <a:solidFill>
                <a:srgbClr val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marL="0" lvl="1">
              <a:buClr>
                <a:srgbClr val="000000"/>
              </a:buClr>
              <a:buSzPct val="100000"/>
            </a:pPr>
            <a:endParaRPr lang="en-US" sz="1400" noProof="1">
              <a:solidFill>
                <a:srgbClr val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69" name="Rectangle 10"/>
          <p:cNvSpPr/>
          <p:nvPr/>
        </p:nvSpPr>
        <p:spPr>
          <a:xfrm>
            <a:off x="633744" y="2584114"/>
            <a:ext cx="7828201" cy="3744538"/>
          </a:xfrm>
          <a:prstGeom prst="rect">
            <a:avLst/>
          </a:prstGeom>
          <a:noFill/>
          <a:ln w="15875" cap="flat" cmpd="sng" algn="ctr">
            <a:solidFill>
              <a:srgbClr val="C8C8C8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E9E9E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noProof="1"/>
          </a:p>
        </p:txBody>
      </p:sp>
      <p:sp>
        <p:nvSpPr>
          <p:cNvPr id="70" name="Rectangle 77"/>
          <p:cNvSpPr/>
          <p:nvPr/>
        </p:nvSpPr>
        <p:spPr>
          <a:xfrm>
            <a:off x="792369" y="2444750"/>
            <a:ext cx="925595" cy="289205"/>
          </a:xfrm>
          <a:prstGeom prst="rect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FFFFFF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ja-JP" altLang="en-US" sz="1600" i="1" noProof="1" smtClean="0">
                <a:solidFill>
                  <a:schemeClr val="folHlin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詳細</a:t>
            </a:r>
            <a:endParaRPr lang="ja-JP" altLang="en-US" sz="1600" i="1" noProof="1">
              <a:solidFill>
                <a:schemeClr val="folHlink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71" name="Rectangle 57"/>
          <p:cNvSpPr/>
          <p:nvPr/>
        </p:nvSpPr>
        <p:spPr>
          <a:xfrm>
            <a:off x="792370" y="1337293"/>
            <a:ext cx="729000" cy="169754"/>
          </a:xfrm>
          <a:prstGeom prst="rect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FFFFFF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ja-JP" altLang="en-US" sz="1600" i="1" noProof="1" smtClean="0">
                <a:solidFill>
                  <a:schemeClr val="folHlin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概要</a:t>
            </a:r>
            <a:endParaRPr lang="ja-JP" altLang="en-US" sz="1600" i="1" noProof="1">
              <a:solidFill>
                <a:schemeClr val="folHlink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72" name="Rectangle 46"/>
          <p:cNvSpPr/>
          <p:nvPr/>
        </p:nvSpPr>
        <p:spPr>
          <a:xfrm>
            <a:off x="8674359" y="1433958"/>
            <a:ext cx="3074296" cy="2071772"/>
          </a:xfrm>
          <a:prstGeom prst="rect">
            <a:avLst/>
          </a:prstGeom>
          <a:noFill/>
          <a:ln w="15875" cap="flat" cmpd="sng" algn="ctr">
            <a:solidFill>
              <a:srgbClr val="C8C8C8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E9E9E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0" rIns="9144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1">
              <a:buClr>
                <a:srgbClr val="000000"/>
              </a:buClr>
              <a:buSzPct val="100000"/>
            </a:pPr>
            <a:endParaRPr lang="en-US" altLang="ja-JP" sz="1400" dirty="0"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marL="0" lvl="1">
              <a:buClr>
                <a:srgbClr val="000000"/>
              </a:buClr>
              <a:buSzPct val="100000"/>
            </a:pPr>
            <a:endParaRPr lang="en-US" sz="1400" noProof="1" smtClean="0">
              <a:solidFill>
                <a:srgbClr val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marL="0" lvl="1">
              <a:buClr>
                <a:srgbClr val="000000"/>
              </a:buClr>
              <a:buSzPct val="100000"/>
            </a:pPr>
            <a:endParaRPr lang="en-US" sz="1400" noProof="1">
              <a:solidFill>
                <a:srgbClr val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marL="0" lvl="1">
              <a:buClr>
                <a:srgbClr val="000000"/>
              </a:buClr>
              <a:buSzPct val="100000"/>
            </a:pPr>
            <a:endParaRPr lang="en-US" sz="1400" noProof="1" smtClean="0">
              <a:solidFill>
                <a:srgbClr val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marL="0" lvl="1">
              <a:buClr>
                <a:srgbClr val="000000"/>
              </a:buClr>
              <a:buSzPct val="100000"/>
            </a:pPr>
            <a:endParaRPr lang="en-US" sz="1400" noProof="1">
              <a:solidFill>
                <a:srgbClr val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73" name="Rectangle 48"/>
          <p:cNvSpPr/>
          <p:nvPr/>
        </p:nvSpPr>
        <p:spPr>
          <a:xfrm>
            <a:off x="8926618" y="1310518"/>
            <a:ext cx="937818" cy="196529"/>
          </a:xfrm>
          <a:prstGeom prst="rect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FFFFFF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ja-JP" altLang="en-US" sz="1600" i="1" noProof="1" smtClean="0">
                <a:solidFill>
                  <a:schemeClr val="folHlin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注意点</a:t>
            </a:r>
            <a:endParaRPr lang="en-US" sz="1600" i="1" noProof="1" smtClean="0">
              <a:solidFill>
                <a:schemeClr val="folHlink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74" name="Rectangle 46"/>
          <p:cNvSpPr/>
          <p:nvPr/>
        </p:nvSpPr>
        <p:spPr>
          <a:xfrm>
            <a:off x="8674358" y="3799902"/>
            <a:ext cx="3074297" cy="2528750"/>
          </a:xfrm>
          <a:prstGeom prst="rect">
            <a:avLst/>
          </a:prstGeom>
          <a:noFill/>
          <a:ln w="15875" cap="flat" cmpd="sng" algn="ctr">
            <a:solidFill>
              <a:srgbClr val="C8C8C8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E9E9E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1">
              <a:buClr>
                <a:srgbClr val="000000"/>
              </a:buClr>
              <a:buSzPct val="100000"/>
            </a:pPr>
            <a:endParaRPr lang="en-US" altLang="ja-JP" sz="1400" noProof="1" smtClean="0">
              <a:solidFill>
                <a:srgbClr val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marL="0" lvl="1">
              <a:buClr>
                <a:srgbClr val="000000"/>
              </a:buClr>
              <a:buSzPct val="100000"/>
            </a:pPr>
            <a:r>
              <a:rPr lang="ja-JP" altLang="en-US" sz="1200" noProof="1" smtClea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■複数</a:t>
            </a:r>
            <a:r>
              <a:rPr lang="ja-JP" altLang="en-US" sz="1200" noProof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職務を兼務するユーザーは</a:t>
            </a:r>
            <a:r>
              <a:rPr lang="ja-JP" altLang="en-US" sz="1200" noProof="1" smtClea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、</a:t>
            </a:r>
            <a:endParaRPr lang="en-US" altLang="ja-JP" sz="1200" noProof="1" smtClean="0">
              <a:solidFill>
                <a:srgbClr val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marL="0" lvl="1">
              <a:buClr>
                <a:srgbClr val="000000"/>
              </a:buClr>
              <a:buSzPct val="100000"/>
            </a:pPr>
            <a:r>
              <a:rPr lang="ja-JP" altLang="en-US" sz="1200" noProof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　</a:t>
            </a:r>
            <a:r>
              <a:rPr lang="ja-JP" altLang="en-US" sz="1200" noProof="1" smtClea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 </a:t>
            </a:r>
            <a:r>
              <a:rPr lang="en-US" altLang="ja-JP" sz="1200" noProof="1" smtClea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UID</a:t>
            </a:r>
            <a:r>
              <a:rPr lang="ja-JP" altLang="en-US" sz="1200" noProof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②</a:t>
            </a:r>
            <a:r>
              <a:rPr lang="ja-JP" altLang="en-US" sz="1200" noProof="1" smtClea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の</a:t>
            </a:r>
            <a:r>
              <a:rPr lang="ja-JP" altLang="en-US" sz="1200" noProof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「代替承認者」と</a:t>
            </a:r>
            <a:r>
              <a:rPr lang="ja-JP" altLang="en-US" sz="1200" noProof="1" smtClea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して</a:t>
            </a:r>
            <a:r>
              <a:rPr lang="en-US" altLang="ja-JP" sz="1200" noProof="1" smtClea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UID</a:t>
            </a:r>
            <a:r>
              <a:rPr lang="ja-JP" altLang="en-US" sz="1200" noProof="1" smtClea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①を設定　</a:t>
            </a:r>
            <a:endParaRPr lang="en-US" altLang="ja-JP" sz="1200" noProof="1" smtClean="0">
              <a:solidFill>
                <a:srgbClr val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marL="0" lvl="1">
              <a:buClr>
                <a:srgbClr val="000000"/>
              </a:buClr>
              <a:buSzPct val="100000"/>
            </a:pPr>
            <a:r>
              <a:rPr lang="ja-JP" altLang="en-US" sz="1200" noProof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　</a:t>
            </a:r>
            <a:r>
              <a:rPr lang="ja-JP" altLang="en-US" sz="1200" noProof="1" smtClea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 する</a:t>
            </a:r>
            <a:r>
              <a:rPr lang="ja-JP" altLang="en-US" sz="1200" noProof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ことで</a:t>
            </a:r>
            <a:r>
              <a:rPr lang="ja-JP" altLang="en-US" sz="1200" noProof="1" smtClea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、</a:t>
            </a:r>
            <a:r>
              <a:rPr lang="en-US" altLang="ja-JP" sz="1200" noProof="1" smtClea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UID</a:t>
            </a:r>
            <a:r>
              <a:rPr lang="ja-JP" altLang="en-US" sz="1200" noProof="1" smtClea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①で</a:t>
            </a:r>
            <a:r>
              <a:rPr lang="ja-JP" altLang="en-US" sz="1200" noProof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両方の承認業務が</a:t>
            </a:r>
            <a:r>
              <a:rPr lang="ja-JP" altLang="en-US" sz="1200" noProof="1" smtClea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行え</a:t>
            </a:r>
            <a:endParaRPr lang="en-US" altLang="ja-JP" sz="1200" noProof="1" smtClean="0">
              <a:solidFill>
                <a:srgbClr val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marL="0" lvl="1">
              <a:buClr>
                <a:srgbClr val="000000"/>
              </a:buClr>
              <a:buSzPct val="100000"/>
            </a:pPr>
            <a:r>
              <a:rPr lang="ja-JP" altLang="en-US" sz="1200" noProof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　 </a:t>
            </a:r>
            <a:r>
              <a:rPr lang="ja-JP" altLang="en-US" sz="1200" noProof="1" smtClea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るように</a:t>
            </a:r>
            <a:r>
              <a:rPr lang="ja-JP" altLang="en-US" sz="1200" noProof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なる。</a:t>
            </a:r>
          </a:p>
          <a:p>
            <a:pPr marL="0" lvl="1">
              <a:buClr>
                <a:srgbClr val="000000"/>
              </a:buClr>
              <a:buSzPct val="100000"/>
            </a:pPr>
            <a:endParaRPr lang="en-US" altLang="ja-JP" sz="1400" noProof="1">
              <a:solidFill>
                <a:srgbClr val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75" name="Rectangle 48"/>
          <p:cNvSpPr/>
          <p:nvPr/>
        </p:nvSpPr>
        <p:spPr>
          <a:xfrm>
            <a:off x="8968178" y="3693573"/>
            <a:ext cx="937818" cy="196529"/>
          </a:xfrm>
          <a:prstGeom prst="rect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FFFFFF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ja-JP" altLang="en-US" sz="1600" i="1" noProof="1" smtClean="0">
                <a:solidFill>
                  <a:schemeClr val="folHlin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その他</a:t>
            </a:r>
            <a:endParaRPr lang="en-US" sz="1600" i="1" noProof="1" smtClean="0">
              <a:solidFill>
                <a:schemeClr val="folHlink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grpSp>
        <p:nvGrpSpPr>
          <p:cNvPr id="76" name="Group 112"/>
          <p:cNvGrpSpPr>
            <a:grpSpLocks noChangeAspect="1"/>
          </p:cNvGrpSpPr>
          <p:nvPr/>
        </p:nvGrpSpPr>
        <p:grpSpPr>
          <a:xfrm>
            <a:off x="2762282" y="3487677"/>
            <a:ext cx="635336" cy="635336"/>
            <a:chOff x="1563866" y="3369910"/>
            <a:chExt cx="994581" cy="994581"/>
          </a:xfrm>
        </p:grpSpPr>
        <p:grpSp>
          <p:nvGrpSpPr>
            <p:cNvPr id="77" name="Group 131"/>
            <p:cNvGrpSpPr>
              <a:grpSpLocks noChangeAspect="1"/>
            </p:cNvGrpSpPr>
            <p:nvPr/>
          </p:nvGrpSpPr>
          <p:grpSpPr bwMode="gray">
            <a:xfrm>
              <a:off x="1563866" y="3369910"/>
              <a:ext cx="994581" cy="994581"/>
              <a:chOff x="4814888" y="1222375"/>
              <a:chExt cx="828675" cy="828675"/>
            </a:xfrm>
          </p:grpSpPr>
          <p:sp>
            <p:nvSpPr>
              <p:cNvPr id="79" name="AutoShape 13"/>
              <p:cNvSpPr>
                <a:spLocks noChangeAspect="1" noChangeArrowheads="1" noTextEdit="1"/>
              </p:cNvSpPr>
              <p:nvPr/>
            </p:nvSpPr>
            <p:spPr bwMode="gray">
              <a:xfrm>
                <a:off x="4814888" y="1222375"/>
                <a:ext cx="828675" cy="8286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0" name="Freeform 15"/>
              <p:cNvSpPr>
                <a:spLocks/>
              </p:cNvSpPr>
              <p:nvPr/>
            </p:nvSpPr>
            <p:spPr bwMode="gray">
              <a:xfrm>
                <a:off x="4956176" y="1600200"/>
                <a:ext cx="250825" cy="339725"/>
              </a:xfrm>
              <a:custGeom>
                <a:avLst/>
                <a:gdLst>
                  <a:gd name="T0" fmla="*/ 183 w 439"/>
                  <a:gd name="T1" fmla="*/ 290 h 580"/>
                  <a:gd name="T2" fmla="*/ 214 w 439"/>
                  <a:gd name="T3" fmla="*/ 259 h 580"/>
                  <a:gd name="T4" fmla="*/ 439 w 439"/>
                  <a:gd name="T5" fmla="*/ 259 h 580"/>
                  <a:gd name="T6" fmla="*/ 295 w 439"/>
                  <a:gd name="T7" fmla="*/ 0 h 580"/>
                  <a:gd name="T8" fmla="*/ 189 w 439"/>
                  <a:gd name="T9" fmla="*/ 22 h 580"/>
                  <a:gd name="T10" fmla="*/ 132 w 439"/>
                  <a:gd name="T11" fmla="*/ 76 h 580"/>
                  <a:gd name="T12" fmla="*/ 6 w 439"/>
                  <a:gd name="T13" fmla="*/ 486 h 580"/>
                  <a:gd name="T14" fmla="*/ 19 w 439"/>
                  <a:gd name="T15" fmla="*/ 551 h 580"/>
                  <a:gd name="T16" fmla="*/ 78 w 439"/>
                  <a:gd name="T17" fmla="*/ 580 h 580"/>
                  <a:gd name="T18" fmla="*/ 184 w 439"/>
                  <a:gd name="T19" fmla="*/ 580 h 580"/>
                  <a:gd name="T20" fmla="*/ 183 w 439"/>
                  <a:gd name="T21" fmla="*/ 290 h 580"/>
                  <a:gd name="T22" fmla="*/ 183 w 439"/>
                  <a:gd name="T23" fmla="*/ 290 h 5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39" h="580">
                    <a:moveTo>
                      <a:pt x="183" y="290"/>
                    </a:moveTo>
                    <a:lnTo>
                      <a:pt x="214" y="259"/>
                    </a:lnTo>
                    <a:lnTo>
                      <a:pt x="439" y="259"/>
                    </a:lnTo>
                    <a:lnTo>
                      <a:pt x="295" y="0"/>
                    </a:lnTo>
                    <a:lnTo>
                      <a:pt x="189" y="22"/>
                    </a:lnTo>
                    <a:cubicBezTo>
                      <a:pt x="162" y="27"/>
                      <a:pt x="140" y="48"/>
                      <a:pt x="132" y="76"/>
                    </a:cubicBezTo>
                    <a:lnTo>
                      <a:pt x="6" y="486"/>
                    </a:lnTo>
                    <a:cubicBezTo>
                      <a:pt x="0" y="509"/>
                      <a:pt x="5" y="532"/>
                      <a:pt x="19" y="551"/>
                    </a:cubicBezTo>
                    <a:cubicBezTo>
                      <a:pt x="34" y="569"/>
                      <a:pt x="55" y="580"/>
                      <a:pt x="78" y="580"/>
                    </a:cubicBezTo>
                    <a:lnTo>
                      <a:pt x="184" y="580"/>
                    </a:lnTo>
                    <a:lnTo>
                      <a:pt x="183" y="290"/>
                    </a:lnTo>
                    <a:lnTo>
                      <a:pt x="183" y="290"/>
                    </a:lnTo>
                    <a:close/>
                  </a:path>
                </a:pathLst>
              </a:custGeom>
              <a:solidFill>
                <a:srgbClr val="4D4D4D"/>
              </a:solidFill>
              <a:ln w="0">
                <a:noFill/>
                <a:prstDash val="solid"/>
                <a:round/>
                <a:headEnd/>
                <a:tailEnd/>
              </a:ln>
              <a:extLst>
                <a:ext uri="{91240B29-F687-4F45-9708-019B960494DF}">
                  <a14:hiddenLine xmlns:a14="http://schemas.microsoft.com/office/drawing/2010/main"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1" name="Freeform 16"/>
              <p:cNvSpPr>
                <a:spLocks/>
              </p:cNvSpPr>
              <p:nvPr/>
            </p:nvSpPr>
            <p:spPr bwMode="gray">
              <a:xfrm>
                <a:off x="5229226" y="1600200"/>
                <a:ext cx="252413" cy="339725"/>
              </a:xfrm>
              <a:custGeom>
                <a:avLst/>
                <a:gdLst>
                  <a:gd name="T0" fmla="*/ 433 w 439"/>
                  <a:gd name="T1" fmla="*/ 485 h 579"/>
                  <a:gd name="T2" fmla="*/ 307 w 439"/>
                  <a:gd name="T3" fmla="*/ 75 h 579"/>
                  <a:gd name="T4" fmla="*/ 249 w 439"/>
                  <a:gd name="T5" fmla="*/ 20 h 579"/>
                  <a:gd name="T6" fmla="*/ 143 w 439"/>
                  <a:gd name="T7" fmla="*/ 0 h 579"/>
                  <a:gd name="T8" fmla="*/ 0 w 439"/>
                  <a:gd name="T9" fmla="*/ 258 h 579"/>
                  <a:gd name="T10" fmla="*/ 242 w 439"/>
                  <a:gd name="T11" fmla="*/ 258 h 579"/>
                  <a:gd name="T12" fmla="*/ 273 w 439"/>
                  <a:gd name="T13" fmla="*/ 289 h 579"/>
                  <a:gd name="T14" fmla="*/ 273 w 439"/>
                  <a:gd name="T15" fmla="*/ 579 h 579"/>
                  <a:gd name="T16" fmla="*/ 361 w 439"/>
                  <a:gd name="T17" fmla="*/ 579 h 579"/>
                  <a:gd name="T18" fmla="*/ 420 w 439"/>
                  <a:gd name="T19" fmla="*/ 550 h 579"/>
                  <a:gd name="T20" fmla="*/ 433 w 439"/>
                  <a:gd name="T21" fmla="*/ 485 h 5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39" h="579">
                    <a:moveTo>
                      <a:pt x="433" y="485"/>
                    </a:moveTo>
                    <a:lnTo>
                      <a:pt x="307" y="75"/>
                    </a:lnTo>
                    <a:cubicBezTo>
                      <a:pt x="299" y="47"/>
                      <a:pt x="277" y="26"/>
                      <a:pt x="249" y="20"/>
                    </a:cubicBezTo>
                    <a:lnTo>
                      <a:pt x="143" y="0"/>
                    </a:lnTo>
                    <a:lnTo>
                      <a:pt x="0" y="258"/>
                    </a:lnTo>
                    <a:lnTo>
                      <a:pt x="242" y="258"/>
                    </a:lnTo>
                    <a:lnTo>
                      <a:pt x="273" y="289"/>
                    </a:lnTo>
                    <a:lnTo>
                      <a:pt x="273" y="579"/>
                    </a:lnTo>
                    <a:lnTo>
                      <a:pt x="361" y="579"/>
                    </a:lnTo>
                    <a:cubicBezTo>
                      <a:pt x="384" y="579"/>
                      <a:pt x="406" y="568"/>
                      <a:pt x="420" y="550"/>
                    </a:cubicBezTo>
                    <a:cubicBezTo>
                      <a:pt x="434" y="531"/>
                      <a:pt x="439" y="508"/>
                      <a:pt x="433" y="485"/>
                    </a:cubicBezTo>
                    <a:close/>
                  </a:path>
                </a:pathLst>
              </a:custGeom>
              <a:solidFill>
                <a:srgbClr val="4D4D4D"/>
              </a:solidFill>
              <a:ln w="0">
                <a:noFill/>
                <a:prstDash val="solid"/>
                <a:round/>
                <a:headEnd/>
                <a:tailEnd/>
              </a:ln>
              <a:extLst>
                <a:ext uri="{91240B29-F687-4F45-9708-019B960494DF}">
                  <a14:hiddenLine xmlns:a14="http://schemas.microsoft.com/office/drawing/2010/main"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2" name="Freeform 17"/>
              <p:cNvSpPr>
                <a:spLocks/>
              </p:cNvSpPr>
              <p:nvPr/>
            </p:nvSpPr>
            <p:spPr bwMode="gray">
              <a:xfrm>
                <a:off x="5091113" y="1787525"/>
                <a:ext cx="258763" cy="152400"/>
              </a:xfrm>
              <a:custGeom>
                <a:avLst/>
                <a:gdLst>
                  <a:gd name="T0" fmla="*/ 0 w 163"/>
                  <a:gd name="T1" fmla="*/ 96 h 96"/>
                  <a:gd name="T2" fmla="*/ 160 w 163"/>
                  <a:gd name="T3" fmla="*/ 96 h 96"/>
                  <a:gd name="T4" fmla="*/ 160 w 163"/>
                  <a:gd name="T5" fmla="*/ 96 h 96"/>
                  <a:gd name="T6" fmla="*/ 163 w 163"/>
                  <a:gd name="T7" fmla="*/ 96 h 96"/>
                  <a:gd name="T8" fmla="*/ 163 w 163"/>
                  <a:gd name="T9" fmla="*/ 0 h 96"/>
                  <a:gd name="T10" fmla="*/ 3 w 163"/>
                  <a:gd name="T11" fmla="*/ 0 h 96"/>
                  <a:gd name="T12" fmla="*/ 3 w 163"/>
                  <a:gd name="T13" fmla="*/ 96 h 96"/>
                  <a:gd name="T14" fmla="*/ 0 w 163"/>
                  <a:gd name="T15" fmla="*/ 96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3" h="96">
                    <a:moveTo>
                      <a:pt x="0" y="96"/>
                    </a:moveTo>
                    <a:lnTo>
                      <a:pt x="160" y="96"/>
                    </a:lnTo>
                    <a:lnTo>
                      <a:pt x="160" y="96"/>
                    </a:lnTo>
                    <a:lnTo>
                      <a:pt x="163" y="96"/>
                    </a:lnTo>
                    <a:lnTo>
                      <a:pt x="163" y="0"/>
                    </a:lnTo>
                    <a:lnTo>
                      <a:pt x="3" y="0"/>
                    </a:lnTo>
                    <a:lnTo>
                      <a:pt x="3" y="96"/>
                    </a:lnTo>
                    <a:lnTo>
                      <a:pt x="0" y="96"/>
                    </a:ln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3" name="Rectangle 18"/>
              <p:cNvSpPr>
                <a:spLocks noChangeArrowheads="1"/>
              </p:cNvSpPr>
              <p:nvPr/>
            </p:nvSpPr>
            <p:spPr bwMode="gray">
              <a:xfrm>
                <a:off x="5026026" y="1955800"/>
                <a:ext cx="385763" cy="31750"/>
              </a:xfrm>
              <a:prstGeom prst="rect">
                <a:avLst/>
              </a:prstGeom>
              <a:solidFill>
                <a:srgbClr val="4D4D4D"/>
              </a:solidFill>
              <a:ln w="0">
                <a:noFill/>
                <a:prstDash val="solid"/>
                <a:miter lim="800000"/>
                <a:headEnd/>
                <a:tailEnd/>
              </a:ln>
              <a:extLst>
                <a:ext uri="{91240B29-F687-4F45-9708-019B960494DF}">
                  <a14:hiddenLine xmlns:a14="http://schemas.microsoft.com/office/drawing/2010/main" w="0">
                    <a:solidFill>
                      <a:srgbClr val="000000"/>
                    </a:solidFill>
                    <a:prstDash val="solid"/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4" name="Freeform 19"/>
              <p:cNvSpPr>
                <a:spLocks noEditPoints="1"/>
              </p:cNvSpPr>
              <p:nvPr/>
            </p:nvSpPr>
            <p:spPr bwMode="gray">
              <a:xfrm>
                <a:off x="5073651" y="1284288"/>
                <a:ext cx="287338" cy="346075"/>
              </a:xfrm>
              <a:custGeom>
                <a:avLst/>
                <a:gdLst>
                  <a:gd name="T0" fmla="*/ 13 w 501"/>
                  <a:gd name="T1" fmla="*/ 358 h 591"/>
                  <a:gd name="T2" fmla="*/ 17 w 501"/>
                  <a:gd name="T3" fmla="*/ 368 h 591"/>
                  <a:gd name="T4" fmla="*/ 37 w 501"/>
                  <a:gd name="T5" fmla="*/ 402 h 591"/>
                  <a:gd name="T6" fmla="*/ 252 w 501"/>
                  <a:gd name="T7" fmla="*/ 590 h 591"/>
                  <a:gd name="T8" fmla="*/ 465 w 501"/>
                  <a:gd name="T9" fmla="*/ 401 h 591"/>
                  <a:gd name="T10" fmla="*/ 484 w 501"/>
                  <a:gd name="T11" fmla="*/ 366 h 591"/>
                  <a:gd name="T12" fmla="*/ 488 w 501"/>
                  <a:gd name="T13" fmla="*/ 356 h 591"/>
                  <a:gd name="T14" fmla="*/ 479 w 501"/>
                  <a:gd name="T15" fmla="*/ 288 h 591"/>
                  <a:gd name="T16" fmla="*/ 479 w 501"/>
                  <a:gd name="T17" fmla="*/ 286 h 591"/>
                  <a:gd name="T18" fmla="*/ 250 w 501"/>
                  <a:gd name="T19" fmla="*/ 1 h 591"/>
                  <a:gd name="T20" fmla="*/ 22 w 501"/>
                  <a:gd name="T21" fmla="*/ 287 h 591"/>
                  <a:gd name="T22" fmla="*/ 22 w 501"/>
                  <a:gd name="T23" fmla="*/ 290 h 591"/>
                  <a:gd name="T24" fmla="*/ 13 w 501"/>
                  <a:gd name="T25" fmla="*/ 358 h 591"/>
                  <a:gd name="T26" fmla="*/ 43 w 501"/>
                  <a:gd name="T27" fmla="*/ 313 h 591"/>
                  <a:gd name="T28" fmla="*/ 43 w 501"/>
                  <a:gd name="T29" fmla="*/ 313 h 591"/>
                  <a:gd name="T30" fmla="*/ 51 w 501"/>
                  <a:gd name="T31" fmla="*/ 306 h 591"/>
                  <a:gd name="T32" fmla="*/ 88 w 501"/>
                  <a:gd name="T33" fmla="*/ 312 h 591"/>
                  <a:gd name="T34" fmla="*/ 96 w 501"/>
                  <a:gd name="T35" fmla="*/ 307 h 591"/>
                  <a:gd name="T36" fmla="*/ 119 w 501"/>
                  <a:gd name="T37" fmla="*/ 254 h 591"/>
                  <a:gd name="T38" fmla="*/ 323 w 501"/>
                  <a:gd name="T39" fmla="*/ 282 h 591"/>
                  <a:gd name="T40" fmla="*/ 382 w 501"/>
                  <a:gd name="T41" fmla="*/ 275 h 591"/>
                  <a:gd name="T42" fmla="*/ 397 w 501"/>
                  <a:gd name="T43" fmla="*/ 311 h 591"/>
                  <a:gd name="T44" fmla="*/ 404 w 501"/>
                  <a:gd name="T45" fmla="*/ 316 h 591"/>
                  <a:gd name="T46" fmla="*/ 406 w 501"/>
                  <a:gd name="T47" fmla="*/ 315 h 591"/>
                  <a:gd name="T48" fmla="*/ 449 w 501"/>
                  <a:gd name="T49" fmla="*/ 303 h 591"/>
                  <a:gd name="T50" fmla="*/ 458 w 501"/>
                  <a:gd name="T51" fmla="*/ 312 h 591"/>
                  <a:gd name="T52" fmla="*/ 459 w 501"/>
                  <a:gd name="T53" fmla="*/ 312 h 591"/>
                  <a:gd name="T54" fmla="*/ 460 w 501"/>
                  <a:gd name="T55" fmla="*/ 343 h 591"/>
                  <a:gd name="T56" fmla="*/ 455 w 501"/>
                  <a:gd name="T57" fmla="*/ 355 h 591"/>
                  <a:gd name="T58" fmla="*/ 444 w 501"/>
                  <a:gd name="T59" fmla="*/ 378 h 591"/>
                  <a:gd name="T60" fmla="*/ 437 w 501"/>
                  <a:gd name="T61" fmla="*/ 387 h 591"/>
                  <a:gd name="T62" fmla="*/ 252 w 501"/>
                  <a:gd name="T63" fmla="*/ 559 h 591"/>
                  <a:gd name="T64" fmla="*/ 65 w 501"/>
                  <a:gd name="T65" fmla="*/ 388 h 591"/>
                  <a:gd name="T66" fmla="*/ 58 w 501"/>
                  <a:gd name="T67" fmla="*/ 379 h 591"/>
                  <a:gd name="T68" fmla="*/ 46 w 501"/>
                  <a:gd name="T69" fmla="*/ 356 h 591"/>
                  <a:gd name="T70" fmla="*/ 41 w 501"/>
                  <a:gd name="T71" fmla="*/ 344 h 591"/>
                  <a:gd name="T72" fmla="*/ 43 w 501"/>
                  <a:gd name="T73" fmla="*/ 313 h 5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501" h="591">
                    <a:moveTo>
                      <a:pt x="13" y="358"/>
                    </a:moveTo>
                    <a:cubicBezTo>
                      <a:pt x="14" y="360"/>
                      <a:pt x="16" y="364"/>
                      <a:pt x="17" y="368"/>
                    </a:cubicBezTo>
                    <a:cubicBezTo>
                      <a:pt x="24" y="384"/>
                      <a:pt x="29" y="395"/>
                      <a:pt x="37" y="402"/>
                    </a:cubicBezTo>
                    <a:cubicBezTo>
                      <a:pt x="71" y="513"/>
                      <a:pt x="159" y="591"/>
                      <a:pt x="252" y="590"/>
                    </a:cubicBezTo>
                    <a:cubicBezTo>
                      <a:pt x="346" y="590"/>
                      <a:pt x="433" y="512"/>
                      <a:pt x="465" y="401"/>
                    </a:cubicBezTo>
                    <a:cubicBezTo>
                      <a:pt x="473" y="394"/>
                      <a:pt x="478" y="382"/>
                      <a:pt x="484" y="366"/>
                    </a:cubicBezTo>
                    <a:cubicBezTo>
                      <a:pt x="486" y="362"/>
                      <a:pt x="487" y="359"/>
                      <a:pt x="488" y="356"/>
                    </a:cubicBezTo>
                    <a:cubicBezTo>
                      <a:pt x="501" y="330"/>
                      <a:pt x="497" y="302"/>
                      <a:pt x="479" y="288"/>
                    </a:cubicBezTo>
                    <a:lnTo>
                      <a:pt x="479" y="286"/>
                    </a:lnTo>
                    <a:cubicBezTo>
                      <a:pt x="479" y="147"/>
                      <a:pt x="460" y="0"/>
                      <a:pt x="250" y="1"/>
                    </a:cubicBezTo>
                    <a:cubicBezTo>
                      <a:pt x="39" y="1"/>
                      <a:pt x="21" y="143"/>
                      <a:pt x="22" y="287"/>
                    </a:cubicBezTo>
                    <a:cubicBezTo>
                      <a:pt x="22" y="288"/>
                      <a:pt x="22" y="289"/>
                      <a:pt x="22" y="290"/>
                    </a:cubicBezTo>
                    <a:cubicBezTo>
                      <a:pt x="4" y="304"/>
                      <a:pt x="0" y="332"/>
                      <a:pt x="13" y="358"/>
                    </a:cubicBezTo>
                    <a:close/>
                    <a:moveTo>
                      <a:pt x="43" y="313"/>
                    </a:moveTo>
                    <a:lnTo>
                      <a:pt x="43" y="313"/>
                    </a:lnTo>
                    <a:cubicBezTo>
                      <a:pt x="47" y="312"/>
                      <a:pt x="49" y="309"/>
                      <a:pt x="51" y="306"/>
                    </a:cubicBezTo>
                    <a:lnTo>
                      <a:pt x="88" y="312"/>
                    </a:lnTo>
                    <a:cubicBezTo>
                      <a:pt x="91" y="312"/>
                      <a:pt x="95" y="311"/>
                      <a:pt x="96" y="307"/>
                    </a:cubicBezTo>
                    <a:lnTo>
                      <a:pt x="119" y="254"/>
                    </a:lnTo>
                    <a:cubicBezTo>
                      <a:pt x="146" y="260"/>
                      <a:pt x="245" y="283"/>
                      <a:pt x="323" y="282"/>
                    </a:cubicBezTo>
                    <a:cubicBezTo>
                      <a:pt x="347" y="282"/>
                      <a:pt x="367" y="280"/>
                      <a:pt x="382" y="275"/>
                    </a:cubicBezTo>
                    <a:lnTo>
                      <a:pt x="397" y="311"/>
                    </a:lnTo>
                    <a:cubicBezTo>
                      <a:pt x="398" y="314"/>
                      <a:pt x="401" y="316"/>
                      <a:pt x="404" y="316"/>
                    </a:cubicBezTo>
                    <a:cubicBezTo>
                      <a:pt x="405" y="316"/>
                      <a:pt x="406" y="315"/>
                      <a:pt x="406" y="315"/>
                    </a:cubicBezTo>
                    <a:lnTo>
                      <a:pt x="449" y="303"/>
                    </a:lnTo>
                    <a:cubicBezTo>
                      <a:pt x="451" y="307"/>
                      <a:pt x="454" y="310"/>
                      <a:pt x="458" y="312"/>
                    </a:cubicBezTo>
                    <a:lnTo>
                      <a:pt x="459" y="312"/>
                    </a:lnTo>
                    <a:cubicBezTo>
                      <a:pt x="465" y="315"/>
                      <a:pt x="467" y="329"/>
                      <a:pt x="460" y="343"/>
                    </a:cubicBezTo>
                    <a:cubicBezTo>
                      <a:pt x="459" y="346"/>
                      <a:pt x="457" y="350"/>
                      <a:pt x="455" y="355"/>
                    </a:cubicBezTo>
                    <a:cubicBezTo>
                      <a:pt x="453" y="361"/>
                      <a:pt x="447" y="374"/>
                      <a:pt x="444" y="378"/>
                    </a:cubicBezTo>
                    <a:cubicBezTo>
                      <a:pt x="440" y="380"/>
                      <a:pt x="438" y="383"/>
                      <a:pt x="437" y="387"/>
                    </a:cubicBezTo>
                    <a:cubicBezTo>
                      <a:pt x="409" y="488"/>
                      <a:pt x="333" y="559"/>
                      <a:pt x="252" y="559"/>
                    </a:cubicBezTo>
                    <a:cubicBezTo>
                      <a:pt x="171" y="559"/>
                      <a:pt x="94" y="489"/>
                      <a:pt x="65" y="388"/>
                    </a:cubicBezTo>
                    <a:cubicBezTo>
                      <a:pt x="64" y="384"/>
                      <a:pt x="61" y="381"/>
                      <a:pt x="58" y="379"/>
                    </a:cubicBezTo>
                    <a:cubicBezTo>
                      <a:pt x="54" y="376"/>
                      <a:pt x="49" y="362"/>
                      <a:pt x="46" y="356"/>
                    </a:cubicBezTo>
                    <a:cubicBezTo>
                      <a:pt x="44" y="351"/>
                      <a:pt x="43" y="347"/>
                      <a:pt x="41" y="344"/>
                    </a:cubicBezTo>
                    <a:cubicBezTo>
                      <a:pt x="34" y="330"/>
                      <a:pt x="36" y="316"/>
                      <a:pt x="43" y="313"/>
                    </a:cubicBezTo>
                    <a:close/>
                  </a:path>
                </a:pathLst>
              </a:custGeom>
              <a:solidFill>
                <a:srgbClr val="4D4D4D"/>
              </a:solidFill>
              <a:ln w="0">
                <a:noFill/>
                <a:prstDash val="solid"/>
                <a:round/>
                <a:headEnd/>
                <a:tailEnd/>
              </a:ln>
              <a:extLst>
                <a:ext uri="{91240B29-F687-4F45-9708-019B960494DF}">
                  <a14:hiddenLine xmlns:a14="http://schemas.microsoft.com/office/drawing/2010/main"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pic>
          <p:nvPicPr>
            <p:cNvPr id="78" name="Picture 3" descr="C:\Users\rajarrv\AppData\Local\Microsoft\Windows\Temporary Internet Files\Content.Outlook\3CY2KM7L\B-No Background FORCE LOGO.png"/>
            <p:cNvPicPr>
              <a:picLocks noChangeAspect="1" noChangeArrowheads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919134" y="4095401"/>
              <a:ext cx="276515" cy="7896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cxnSp>
        <p:nvCxnSpPr>
          <p:cNvPr id="85" name="直線コネクタ 84"/>
          <p:cNvCxnSpPr/>
          <p:nvPr/>
        </p:nvCxnSpPr>
        <p:spPr bwMode="auto">
          <a:xfrm flipV="1">
            <a:off x="1230610" y="4294456"/>
            <a:ext cx="5905727" cy="13855"/>
          </a:xfrm>
          <a:prstGeom prst="line">
            <a:avLst/>
          </a:prstGeom>
          <a:noFill/>
          <a:ln w="15875" cap="flat" cmpd="sng" algn="ctr">
            <a:solidFill>
              <a:srgbClr val="C8C8C8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E9E9E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88" name="正方形/長方形 87"/>
          <p:cNvSpPr/>
          <p:nvPr/>
        </p:nvSpPr>
        <p:spPr>
          <a:xfrm>
            <a:off x="4936983" y="3448880"/>
            <a:ext cx="1451428" cy="700456"/>
          </a:xfrm>
          <a:prstGeom prst="rect">
            <a:avLst/>
          </a:prstGeom>
          <a:solidFill>
            <a:sysClr val="window" lastClr="FFFFFF"/>
          </a:solidFill>
          <a:ln w="10795" cap="flat" cmpd="sng" algn="ctr">
            <a:solidFill>
              <a:srgbClr val="00677F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21600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766" eaLnBrk="1" fontAlgn="auto" latinLnBrk="0" hangingPunct="1">
              <a:lnSpc>
                <a:spcPts val="14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1" lang="ja-JP" altLang="en-US" sz="120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支店整備ＭＧ</a:t>
            </a:r>
            <a:endParaRPr kumimoji="1" lang="en-US" altLang="ja-JP" sz="120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marL="0" marR="0" lvl="0" indent="0" algn="ctr" defTabSz="914766" eaLnBrk="1" fontAlgn="auto" latinLnBrk="0" hangingPunct="1">
              <a:lnSpc>
                <a:spcPts val="14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1" lang="ja-JP" altLang="en-US" sz="120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業務メニュー</a:t>
            </a:r>
          </a:p>
        </p:txBody>
      </p:sp>
      <p:sp>
        <p:nvSpPr>
          <p:cNvPr id="89" name="正方形/長方形 88"/>
          <p:cNvSpPr/>
          <p:nvPr/>
        </p:nvSpPr>
        <p:spPr>
          <a:xfrm>
            <a:off x="4950838" y="4547388"/>
            <a:ext cx="1451428" cy="700456"/>
          </a:xfrm>
          <a:prstGeom prst="rect">
            <a:avLst/>
          </a:prstGeom>
          <a:solidFill>
            <a:sysClr val="window" lastClr="FFFFFF"/>
          </a:solidFill>
          <a:ln w="10795" cap="flat" cmpd="sng" algn="ctr">
            <a:solidFill>
              <a:srgbClr val="00677F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25200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766">
              <a:lnSpc>
                <a:spcPts val="1400"/>
              </a:lnSpc>
            </a:pPr>
            <a:r>
              <a:rPr kumimoji="1" lang="ja-JP" altLang="en-US" sz="1200" kern="0" dirty="0" smtClean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支店部品</a:t>
            </a:r>
            <a:r>
              <a:rPr kumimoji="1" lang="en-US" altLang="ja-JP" sz="1200" kern="0" dirty="0" smtClean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MG</a:t>
            </a:r>
          </a:p>
          <a:p>
            <a:pPr algn="ctr" defTabSz="914766">
              <a:lnSpc>
                <a:spcPts val="1400"/>
              </a:lnSpc>
            </a:pPr>
            <a:r>
              <a:rPr kumimoji="1" lang="ja-JP" altLang="en-US" sz="1200" kern="0" dirty="0" smtClean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業務</a:t>
            </a:r>
            <a:r>
              <a:rPr kumimoji="1" lang="ja-JP" altLang="en-US" sz="1200" kern="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メニュー</a:t>
            </a:r>
          </a:p>
        </p:txBody>
      </p:sp>
      <p:cxnSp>
        <p:nvCxnSpPr>
          <p:cNvPr id="90" name="直線矢印コネクタ 89"/>
          <p:cNvCxnSpPr>
            <a:stCxn id="79" idx="3"/>
            <a:endCxn id="89" idx="1"/>
          </p:cNvCxnSpPr>
          <p:nvPr/>
        </p:nvCxnSpPr>
        <p:spPr>
          <a:xfrm>
            <a:off x="3397618" y="3805345"/>
            <a:ext cx="1553220" cy="1092271"/>
          </a:xfrm>
          <a:prstGeom prst="straightConnector1">
            <a:avLst/>
          </a:prstGeom>
          <a:noFill/>
          <a:ln w="9525" cap="rnd" cmpd="sng" algn="ctr">
            <a:solidFill>
              <a:sysClr val="windowText" lastClr="000000">
                <a:lumMod val="60000"/>
                <a:lumOff val="40000"/>
              </a:sysClr>
            </a:solidFill>
            <a:prstDash val="solid"/>
            <a:round/>
            <a:tailEnd type="triangle"/>
          </a:ln>
          <a:effectLst/>
        </p:spPr>
      </p:cxnSp>
      <p:cxnSp>
        <p:nvCxnSpPr>
          <p:cNvPr id="91" name="直線矢印コネクタ 90"/>
          <p:cNvCxnSpPr>
            <a:stCxn id="79" idx="3"/>
            <a:endCxn id="88" idx="1"/>
          </p:cNvCxnSpPr>
          <p:nvPr/>
        </p:nvCxnSpPr>
        <p:spPr>
          <a:xfrm flipV="1">
            <a:off x="3397618" y="3799108"/>
            <a:ext cx="1539365" cy="6237"/>
          </a:xfrm>
          <a:prstGeom prst="straightConnector1">
            <a:avLst/>
          </a:prstGeom>
          <a:noFill/>
          <a:ln w="9525" cap="rnd" cmpd="sng" algn="ctr">
            <a:solidFill>
              <a:sysClr val="windowText" lastClr="000000">
                <a:lumMod val="60000"/>
                <a:lumOff val="40000"/>
              </a:sysClr>
            </a:solidFill>
            <a:prstDash val="solid"/>
            <a:round/>
            <a:tailEnd type="triangle"/>
          </a:ln>
          <a:effectLst/>
        </p:spPr>
      </p:cxnSp>
      <p:sp>
        <p:nvSpPr>
          <p:cNvPr id="92" name="正方形/長方形 91"/>
          <p:cNvSpPr/>
          <p:nvPr/>
        </p:nvSpPr>
        <p:spPr>
          <a:xfrm>
            <a:off x="3515679" y="3434960"/>
            <a:ext cx="1120820" cy="27699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solidFill>
              <a:schemeClr val="tx2"/>
            </a:solidFill>
            <a:prstDash val="sysDot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altLang="ja-JP" sz="1200" dirty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UID:UID01S</a:t>
            </a:r>
            <a:endParaRPr lang="ja-JP" altLang="en-US" sz="1200" dirty="0">
              <a:solidFill>
                <a:srgbClr val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93" name="正方形/長方形 92"/>
          <p:cNvSpPr/>
          <p:nvPr/>
        </p:nvSpPr>
        <p:spPr>
          <a:xfrm>
            <a:off x="3547591" y="4996325"/>
            <a:ext cx="1151277" cy="27699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solidFill>
              <a:schemeClr val="tx2"/>
            </a:solidFill>
            <a:prstDash val="sysDot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altLang="ja-JP" sz="1200" dirty="0" smtClea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UID:UID01P</a:t>
            </a:r>
            <a:endParaRPr lang="ja-JP" altLang="en-US" sz="1200" dirty="0">
              <a:solidFill>
                <a:srgbClr val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pic>
        <p:nvPicPr>
          <p:cNvPr id="94" name="Picture 3" descr="C:\Users\rajarrv\AppData\Local\Microsoft\Windows\Temporary Internet Files\Content.Outlook\3CY2KM7L\B-No Background FORCE LOGO.png"/>
          <p:cNvPicPr>
            <a:picLocks noChangeAspect="1" noChangeArrowheads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507728" y="3465949"/>
            <a:ext cx="879081" cy="2510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5" name="Picture 3" descr="C:\Users\rajarrv\AppData\Local\Microsoft\Windows\Temporary Internet Files\Content.Outlook\3CY2KM7L\B-No Background FORCE LOGO.png"/>
          <p:cNvPicPr>
            <a:picLocks noChangeAspect="1" noChangeArrowheads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535433" y="4560489"/>
            <a:ext cx="879081" cy="2510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6" name="正方形/長方形 95"/>
          <p:cNvSpPr/>
          <p:nvPr/>
        </p:nvSpPr>
        <p:spPr>
          <a:xfrm>
            <a:off x="3342440" y="3207254"/>
            <a:ext cx="1388522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defTabSz="914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FORCE LOG IN UID</a:t>
            </a:r>
            <a:endParaRPr kumimoji="0" lang="ja-JP" altLang="en-US" sz="10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97" name="正方形/長方形 96"/>
          <p:cNvSpPr/>
          <p:nvPr/>
        </p:nvSpPr>
        <p:spPr>
          <a:xfrm>
            <a:off x="3342440" y="4770175"/>
            <a:ext cx="1388522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defTabSz="914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FORCE LOG IN UID</a:t>
            </a:r>
            <a:endParaRPr kumimoji="0" lang="ja-JP" altLang="en-US" sz="10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98" name="タイトル 4"/>
          <p:cNvSpPr txBox="1">
            <a:spLocks/>
          </p:cNvSpPr>
          <p:nvPr/>
        </p:nvSpPr>
        <p:spPr>
          <a:xfrm>
            <a:off x="1029362" y="5644729"/>
            <a:ext cx="7244481" cy="276999"/>
          </a:xfrm>
          <a:prstGeom prst="rect">
            <a:avLst/>
          </a:prstGeom>
          <a:noFill/>
          <a:ln w="19050" cap="flat" cmpd="sng" algn="ctr">
            <a:noFill/>
            <a:prstDash val="solid"/>
          </a:ln>
          <a:effectLst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3943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3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n-ea"/>
                <a:cs typeface="+mn-cs"/>
                <a:sym typeface="CorpoS" pitchFamily="2" charset="0"/>
              </a:defRPr>
            </a:lvl1pPr>
            <a:lvl2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C36">
                  <a:lumMod val="75000"/>
                  <a:lumOff val="25000"/>
                </a:srgbClr>
              </a:buClr>
              <a:buSzTx/>
              <a:tabLst/>
              <a:defRPr/>
            </a:pPr>
            <a:r>
              <a:rPr kumimoji="1" lang="ja-JP" alt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 　　</a:t>
            </a:r>
            <a:r>
              <a:rPr kumimoji="1" lang="en-US" altLang="ja-JP" sz="14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FORCE</a:t>
            </a:r>
            <a:r>
              <a:rPr kumimoji="1" lang="ja-JP" alt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ログイン時に支店整備マネージャ用の</a:t>
            </a:r>
            <a:r>
              <a:rPr kumimoji="1" lang="en-US" altLang="ja-JP" sz="14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UID</a:t>
            </a:r>
            <a:r>
              <a:rPr kumimoji="1" lang="ja-JP" alt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　または支店部品マネージャの</a:t>
            </a:r>
            <a:r>
              <a:rPr kumimoji="1" lang="en-US" altLang="ja-JP" sz="14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UID</a:t>
            </a:r>
            <a:r>
              <a:rPr kumimoji="1" lang="ja-JP" alt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を</a:t>
            </a:r>
            <a:endParaRPr kumimoji="1" lang="en-US" altLang="ja-JP" sz="14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marL="265113" marR="0" lvl="1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C36">
                  <a:lumMod val="75000"/>
                  <a:lumOff val="25000"/>
                </a:srgbClr>
              </a:buClr>
              <a:buSzTx/>
              <a:tabLst/>
              <a:defRPr/>
            </a:pPr>
            <a:r>
              <a:rPr kumimoji="1" lang="ja-JP" alt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使い分ける必要がある。</a:t>
            </a:r>
            <a:endParaRPr kumimoji="1" lang="ja-JP" altLang="en-US" sz="14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37" name="Rectangle 77"/>
          <p:cNvSpPr/>
          <p:nvPr/>
        </p:nvSpPr>
        <p:spPr>
          <a:xfrm>
            <a:off x="757557" y="2666377"/>
            <a:ext cx="6676008" cy="39378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ja-JP" altLang="en-US" sz="1400" noProof="1" smtClean="0">
                <a:solidFill>
                  <a:schemeClr val="folHlin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■支店整備マネージャが部品マネージャを兼務している場合、</a:t>
            </a:r>
            <a:r>
              <a:rPr lang="en-US" altLang="ja-JP" sz="1400" noProof="1" smtClean="0">
                <a:solidFill>
                  <a:schemeClr val="folHlin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2</a:t>
            </a:r>
            <a:r>
              <a:rPr lang="ja-JP" altLang="en-US" sz="1400" noProof="1" smtClean="0">
                <a:solidFill>
                  <a:schemeClr val="folHlin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つの</a:t>
            </a:r>
            <a:r>
              <a:rPr lang="en-US" altLang="ja-JP" sz="1400" noProof="1" smtClean="0">
                <a:solidFill>
                  <a:schemeClr val="folHlin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UID</a:t>
            </a:r>
            <a:r>
              <a:rPr lang="ja-JP" altLang="en-US" sz="1400" noProof="1" smtClean="0">
                <a:solidFill>
                  <a:schemeClr val="folHlin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が必要。</a:t>
            </a:r>
            <a:endParaRPr lang="en-US" altLang="ja-JP" sz="1400" noProof="1" smtClean="0">
              <a:solidFill>
                <a:schemeClr val="folHlink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594698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682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#m&lt;/m_strFormatTime&gt;&lt;m_yearfmt&gt;&lt;begin val=&quot;0&quot;/&gt;&lt;end val=&quot;4&quot;/&gt;&lt;/m_yearfmt&gt;&lt;/m_precDefaultMonth&gt;&lt;m_precDefaultWeek&gt;&lt;m_bNumberIsYear val=&quot;0&quot;/&gt;&lt;m_strFormatTime&gt;%#m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CEUlZhkQvW90LgUHHctcg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dDi1G8SEWM35vDbeGQo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HI9JmMHQhegfLyie4B.0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1FuQtAXkizKj1cnbIoqw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ZMOA7S1UKw0XYH7Zsffw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Kcs8SiCQkaxARnT0NWabg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2sD_mObUKNrWQXeLRURA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eX0dVxSckiBxl4Hz97YRQ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eX0dVxSckiBxl4Hz97YRQ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7f17EEmShCzeV4jQHP4y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eX0dVxSckiBxl4Hz97YRQ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eX0dVxSckiBxl4Hz97YRQ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eX0dVxSckiBxl4Hz97YRQ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eX0dVxSckiBxl4Hz97YRQ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eX0dVxSckiBxl4Hz97YRQ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eX0dVxSckiBxl4Hz97YRQ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m_hdIjTaiLtx12TMzEDg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eX0dVxSckiBxl4Hz97YRQ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eX0dVxSckiBxl4Hz97YRQ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eX0dVxSckiBxl4Hz97YRQ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eX0dVxSckiBxl4Hz97YRQ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eX0dVxSckiBxl4Hz97YRQ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eX0dVxSckiBxl4Hz97YRQ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eX0dVxSckiBxl4Hz97YRQ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m_hdIjTaiLtx12TMzEDg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dDi1G8SEWM35vDbeGQow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HI9JmMHQhegfLyie4B.0w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CEUlZhkQvW90LgUHHctcg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h9U.zKRa23SRKdfJNVCg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dDi1G8SEWM35vDbeGQo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HI9JmMHQhegfLyie4B.0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heme/theme1.xml><?xml version="1.0" encoding="utf-8"?>
<a:theme xmlns:a="http://schemas.openxmlformats.org/drawingml/2006/main" name="DAIMLER PowerPoint Master">
  <a:themeElements>
    <a:clrScheme name="DAIMLER PPT">
      <a:dk1>
        <a:sysClr val="windowText" lastClr="000000"/>
      </a:dk1>
      <a:lt1>
        <a:sysClr val="window" lastClr="FFFFFF"/>
      </a:lt1>
      <a:dk2>
        <a:srgbClr val="E6E6E6"/>
      </a:dk2>
      <a:lt2>
        <a:srgbClr val="71180C"/>
      </a:lt2>
      <a:accent1>
        <a:srgbClr val="004355"/>
      </a:accent1>
      <a:accent2>
        <a:srgbClr val="00677F"/>
      </a:accent2>
      <a:accent3>
        <a:srgbClr val="007A93"/>
      </a:accent3>
      <a:accent4>
        <a:srgbClr val="A6CAD8"/>
      </a:accent4>
      <a:accent5>
        <a:srgbClr val="444444"/>
      </a:accent5>
      <a:accent6>
        <a:srgbClr val="9E9E9E"/>
      </a:accent6>
      <a:hlink>
        <a:srgbClr val="000000"/>
      </a:hlink>
      <a:folHlink>
        <a:srgbClr val="000000"/>
      </a:folHlink>
    </a:clrScheme>
    <a:fontScheme name="DAIMLER alte Schriften">
      <a:majorFont>
        <a:latin typeface="CorpoS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auto">
        <a:solidFill>
          <a:schemeClr val="bg1"/>
        </a:solidFill>
        <a:ln w="3175" cap="flat" cmpd="sng" algn="ctr">
          <a:solidFill>
            <a:schemeClr val="tx1"/>
          </a:solidFill>
          <a:prstDash val="solid"/>
          <a:miter lim="800000"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/>
      <a:lstStyle/>
    </a:lnDef>
    <a:txDef>
      <a:spPr bwMode="auto">
        <a:noFill/>
        <a:ln w="9525">
          <a:noFill/>
          <a:miter lim="800000"/>
          <a:headEnd/>
          <a:tailEnd/>
        </a:ln>
      </a:spPr>
      <a:bodyPr lIns="0" tIns="0" rIns="0" bIns="0" anchor="t" anchorCtr="0"/>
      <a:lstStyle>
        <a:defPPr fontAlgn="base">
          <a:spcBef>
            <a:spcPct val="0"/>
          </a:spcBef>
          <a:spcAft>
            <a:spcPct val="0"/>
          </a:spcAft>
          <a:defRPr sz="1600" dirty="0">
            <a:cs typeface="Daimler CS"/>
          </a:defRPr>
        </a:defPPr>
      </a:lstStyle>
    </a:txDef>
  </a:objectDefaults>
  <a:extraClrSchemeLst/>
  <a:custClrLst>
    <a:custClr name="Light Grey 100%">
      <a:srgbClr val="E6E6E6"/>
    </a:custClr>
    <a:custClr name="Light Grey 1">
      <a:srgbClr val="C8C8C8"/>
    </a:custClr>
    <a:custClr name="Light Grey 2">
      <a:srgbClr val="9E9E9E"/>
    </a:custClr>
    <a:custClr name="Light Grey 3">
      <a:srgbClr val="707070"/>
    </a:custClr>
    <a:custClr name="Light Grey 4">
      <a:srgbClr val="444444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Petrol 100%">
      <a:srgbClr val="00677F"/>
    </a:custClr>
    <a:custClr name="Petrol 1">
      <a:srgbClr val="A6CAD8"/>
    </a:custClr>
    <a:custClr name="Petrol 2">
      <a:srgbClr val="79AEBF"/>
    </a:custClr>
    <a:custClr name="Petrol 3">
      <a:srgbClr val="5097AB"/>
    </a:custClr>
    <a:custClr name="Petrol 4">
      <a:srgbClr val="007A93"/>
    </a:custClr>
    <a:custClr name="Petrol 5">
      <a:srgbClr val="00566A"/>
    </a:custClr>
    <a:custClr name="Petrol 6">
      <a:srgbClr val="004355"/>
    </a:custClr>
    <a:custClr>
      <a:srgbClr val="FFFFFF"/>
    </a:custClr>
    <a:custClr>
      <a:srgbClr val="FFFFFF"/>
    </a:custClr>
    <a:custClr>
      <a:srgbClr val="FFFFFF"/>
    </a:custClr>
    <a:custClr name="Deep Red 100%">
      <a:srgbClr val="71180C"/>
    </a:custClr>
    <a:custClr name="Deep Red 1">
      <a:srgbClr val="5A130A"/>
    </a:custClr>
    <a:custClr name="Deep Red 2">
      <a:srgbClr val="440E07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DAIMLER PowerPoint Master" id="{793FDC3B-D41A-4C27-ADC4-E7656CACEE35}" vid="{3BC20BE8-026D-4A29-B14D-60B8B229C191}"/>
    </a:ext>
  </a:extLst>
</a:theme>
</file>

<file path=ppt/theme/theme10.xml><?xml version="1.0" encoding="utf-8"?>
<a:theme xmlns:a="http://schemas.openxmlformats.org/drawingml/2006/main" name="3_BCG Grid 16:9">
  <a:themeElements>
    <a:clrScheme name="Daimler Theme Color">
      <a:dk1>
        <a:sysClr val="windowText" lastClr="000000"/>
      </a:dk1>
      <a:lt1>
        <a:sysClr val="window" lastClr="FFFFFF"/>
      </a:lt1>
      <a:dk2>
        <a:srgbClr val="00647F"/>
      </a:dk2>
      <a:lt2>
        <a:srgbClr val="F2F2F2"/>
      </a:lt2>
      <a:accent1>
        <a:srgbClr val="002C36"/>
      </a:accent1>
      <a:accent2>
        <a:srgbClr val="00333F"/>
      </a:accent2>
      <a:accent3>
        <a:srgbClr val="FFC000"/>
      </a:accent3>
      <a:accent4>
        <a:srgbClr val="00677F"/>
      </a:accent4>
      <a:accent5>
        <a:srgbClr val="444444"/>
      </a:accent5>
      <a:accent6>
        <a:srgbClr val="71180C"/>
      </a:accent6>
      <a:hlink>
        <a:srgbClr val="00333F"/>
      </a:hlink>
      <a:folHlink>
        <a:srgbClr val="004D5F"/>
      </a:folHlink>
    </a:clrScheme>
    <a:fontScheme name="Damier Theme Font">
      <a:majorFont>
        <a:latin typeface="CorpoS"/>
        <a:ea typeface=""/>
        <a:cs typeface=""/>
      </a:majorFont>
      <a:minorFont>
        <a:latin typeface="Corpo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>
          <a:noFill/>
          <a:prstDash val="sysDot"/>
          <a:round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1000"/>
          </a:spcAft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11.xml><?xml version="1.0" encoding="utf-8"?>
<a:theme xmlns:a="http://schemas.openxmlformats.org/drawingml/2006/main" name="4_DAIMLER PowerPoint Master">
  <a:themeElements>
    <a:clrScheme name="DAIMLER PPT">
      <a:dk1>
        <a:sysClr val="windowText" lastClr="000000"/>
      </a:dk1>
      <a:lt1>
        <a:sysClr val="window" lastClr="FFFFFF"/>
      </a:lt1>
      <a:dk2>
        <a:srgbClr val="E6E6E6"/>
      </a:dk2>
      <a:lt2>
        <a:srgbClr val="71180C"/>
      </a:lt2>
      <a:accent1>
        <a:srgbClr val="004355"/>
      </a:accent1>
      <a:accent2>
        <a:srgbClr val="00677F"/>
      </a:accent2>
      <a:accent3>
        <a:srgbClr val="007A93"/>
      </a:accent3>
      <a:accent4>
        <a:srgbClr val="A6CAD8"/>
      </a:accent4>
      <a:accent5>
        <a:srgbClr val="444444"/>
      </a:accent5>
      <a:accent6>
        <a:srgbClr val="9E9E9E"/>
      </a:accent6>
      <a:hlink>
        <a:srgbClr val="000000"/>
      </a:hlink>
      <a:folHlink>
        <a:srgbClr val="000000"/>
      </a:folHlink>
    </a:clrScheme>
    <a:fontScheme name="DAIMLER alte Schriften">
      <a:majorFont>
        <a:latin typeface="CorpoS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9E9E9E"/>
        </a:solidFill>
        <a:ln>
          <a:solidFill>
            <a:srgbClr val="9E9E9E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auto">
        <a:solidFill>
          <a:schemeClr val="bg1"/>
        </a:solidFill>
        <a:ln w="3175" cap="flat" cmpd="sng" algn="ctr">
          <a:solidFill>
            <a:srgbClr val="9E9E9E"/>
          </a:solidFill>
          <a:prstDash val="solid"/>
          <a:miter lim="800000"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/>
      <a:lstStyle/>
    </a:lnDef>
    <a:txDef>
      <a:spPr bwMode="auto">
        <a:noFill/>
        <a:ln w="9525">
          <a:noFill/>
          <a:miter lim="800000"/>
          <a:headEnd/>
          <a:tailEnd/>
        </a:ln>
      </a:spPr>
      <a:bodyPr wrap="none" lIns="72000" tIns="72000" rIns="72000" bIns="72000" rtlCol="0" anchor="t" anchorCtr="0">
        <a:spAutoFit/>
      </a:bodyPr>
      <a:lstStyle>
        <a:defPPr fontAlgn="base">
          <a:defRPr sz="1600" dirty="0" err="1" smtClean="0">
            <a:cs typeface="Daimler CS"/>
          </a:defRPr>
        </a:defPPr>
      </a:lstStyle>
    </a:txDef>
  </a:objectDefaults>
  <a:extraClrSchemeLst/>
  <a:custClrLst>
    <a:custClr name="Light Grey 100%">
      <a:srgbClr val="E6E6E6"/>
    </a:custClr>
    <a:custClr name="Light Grey 1">
      <a:srgbClr val="C8C8C8"/>
    </a:custClr>
    <a:custClr name="Light Grey 2">
      <a:srgbClr val="9E9E9E"/>
    </a:custClr>
    <a:custClr name="Light Grey 3">
      <a:srgbClr val="707070"/>
    </a:custClr>
    <a:custClr name="Light Grey 4">
      <a:srgbClr val="444444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Petrol 100%">
      <a:srgbClr val="00677F"/>
    </a:custClr>
    <a:custClr name="Petrol 1">
      <a:srgbClr val="A6CAD8"/>
    </a:custClr>
    <a:custClr name="Petrol 2">
      <a:srgbClr val="79AEBF"/>
    </a:custClr>
    <a:custClr name="Petrol 3">
      <a:srgbClr val="5097AB"/>
    </a:custClr>
    <a:custClr name="Petrol 4">
      <a:srgbClr val="007A93"/>
    </a:custClr>
    <a:custClr name="Petrol 5">
      <a:srgbClr val="00566A"/>
    </a:custClr>
    <a:custClr name="Petrol 6">
      <a:srgbClr val="004355"/>
    </a:custClr>
    <a:custClr>
      <a:srgbClr val="FFFFFF"/>
    </a:custClr>
    <a:custClr>
      <a:srgbClr val="FFFFFF"/>
    </a:custClr>
    <a:custClr>
      <a:srgbClr val="FFFFFF"/>
    </a:custClr>
    <a:custClr name="Deep Red 100%">
      <a:srgbClr val="71180C"/>
    </a:custClr>
    <a:custClr name="Deep Red 1">
      <a:srgbClr val="5A130A"/>
    </a:custClr>
    <a:custClr name="Deep Red 2">
      <a:srgbClr val="440E07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DAIMLER PowerPoint Master" id="{EC236F6F-0932-4579-B9C9-76061F3F806D}" vid="{FF3FD870-B082-4D1E-9BAD-62A395266FF0}"/>
    </a:ext>
  </a:extLst>
</a:theme>
</file>

<file path=ppt/theme/theme12.xml><?xml version="1.0" encoding="utf-8"?>
<a:theme xmlns:a="http://schemas.openxmlformats.org/drawingml/2006/main" name="1_BCG Grid 16:9">
  <a:themeElements>
    <a:clrScheme name="Daimler Theme Color">
      <a:dk1>
        <a:sysClr val="windowText" lastClr="000000"/>
      </a:dk1>
      <a:lt1>
        <a:sysClr val="window" lastClr="FFFFFF"/>
      </a:lt1>
      <a:dk2>
        <a:srgbClr val="00647F"/>
      </a:dk2>
      <a:lt2>
        <a:srgbClr val="F2F2F2"/>
      </a:lt2>
      <a:accent1>
        <a:srgbClr val="002C36"/>
      </a:accent1>
      <a:accent2>
        <a:srgbClr val="00333F"/>
      </a:accent2>
      <a:accent3>
        <a:srgbClr val="FFC000"/>
      </a:accent3>
      <a:accent4>
        <a:srgbClr val="00677F"/>
      </a:accent4>
      <a:accent5>
        <a:srgbClr val="444444"/>
      </a:accent5>
      <a:accent6>
        <a:srgbClr val="71180C"/>
      </a:accent6>
      <a:hlink>
        <a:srgbClr val="00333F"/>
      </a:hlink>
      <a:folHlink>
        <a:srgbClr val="004D5F"/>
      </a:folHlink>
    </a:clrScheme>
    <a:fontScheme name="Damier Theme Font">
      <a:majorFont>
        <a:latin typeface="CorpoS"/>
        <a:ea typeface=""/>
        <a:cs typeface=""/>
      </a:majorFont>
      <a:minorFont>
        <a:latin typeface="Corpo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>
          <a:noFill/>
          <a:prstDash val="sysDot"/>
          <a:round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1000"/>
          </a:spcAft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13.xml><?xml version="1.0" encoding="utf-8"?>
<a:theme xmlns:a="http://schemas.openxmlformats.org/drawingml/2006/main" name="2_BCG Grid 16:9">
  <a:themeElements>
    <a:clrScheme name="Daimler Theme Color">
      <a:dk1>
        <a:sysClr val="windowText" lastClr="000000"/>
      </a:dk1>
      <a:lt1>
        <a:sysClr val="window" lastClr="FFFFFF"/>
      </a:lt1>
      <a:dk2>
        <a:srgbClr val="00647F"/>
      </a:dk2>
      <a:lt2>
        <a:srgbClr val="F2F2F2"/>
      </a:lt2>
      <a:accent1>
        <a:srgbClr val="002C36"/>
      </a:accent1>
      <a:accent2>
        <a:srgbClr val="00333F"/>
      </a:accent2>
      <a:accent3>
        <a:srgbClr val="FFC000"/>
      </a:accent3>
      <a:accent4>
        <a:srgbClr val="00677F"/>
      </a:accent4>
      <a:accent5>
        <a:srgbClr val="444444"/>
      </a:accent5>
      <a:accent6>
        <a:srgbClr val="71180C"/>
      </a:accent6>
      <a:hlink>
        <a:srgbClr val="00333F"/>
      </a:hlink>
      <a:folHlink>
        <a:srgbClr val="004D5F"/>
      </a:folHlink>
    </a:clrScheme>
    <a:fontScheme name="Damier Theme Font">
      <a:majorFont>
        <a:latin typeface="CorpoS"/>
        <a:ea typeface=""/>
        <a:cs typeface=""/>
      </a:majorFont>
      <a:minorFont>
        <a:latin typeface="Corpo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>
          <a:noFill/>
          <a:prstDash val="sysDot"/>
          <a:round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1000"/>
          </a:spcAft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14.xml><?xml version="1.0" encoding="utf-8"?>
<a:theme xmlns:a="http://schemas.openxmlformats.org/drawingml/2006/main" name="4_BCG Grid 16:9">
  <a:themeElements>
    <a:clrScheme name="Daimler Theme Color">
      <a:dk1>
        <a:sysClr val="windowText" lastClr="000000"/>
      </a:dk1>
      <a:lt1>
        <a:sysClr val="window" lastClr="FFFFFF"/>
      </a:lt1>
      <a:dk2>
        <a:srgbClr val="00647F"/>
      </a:dk2>
      <a:lt2>
        <a:srgbClr val="F2F2F2"/>
      </a:lt2>
      <a:accent1>
        <a:srgbClr val="002C36"/>
      </a:accent1>
      <a:accent2>
        <a:srgbClr val="00333F"/>
      </a:accent2>
      <a:accent3>
        <a:srgbClr val="FFC000"/>
      </a:accent3>
      <a:accent4>
        <a:srgbClr val="00677F"/>
      </a:accent4>
      <a:accent5>
        <a:srgbClr val="444444"/>
      </a:accent5>
      <a:accent6>
        <a:srgbClr val="71180C"/>
      </a:accent6>
      <a:hlink>
        <a:srgbClr val="00333F"/>
      </a:hlink>
      <a:folHlink>
        <a:srgbClr val="004D5F"/>
      </a:folHlink>
    </a:clrScheme>
    <a:fontScheme name="Damier Theme Font">
      <a:majorFont>
        <a:latin typeface="CorpoS"/>
        <a:ea typeface=""/>
        <a:cs typeface=""/>
      </a:majorFont>
      <a:minorFont>
        <a:latin typeface="Corpo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>
          <a:noFill/>
          <a:prstDash val="sysDot"/>
          <a:round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1000"/>
          </a:spcAft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15.xml><?xml version="1.0" encoding="utf-8"?>
<a:theme xmlns:a="http://schemas.openxmlformats.org/drawingml/2006/main" name="5_DAIMLER PowerPoint Master">
  <a:themeElements>
    <a:clrScheme name="DAIMLER PPT">
      <a:dk1>
        <a:sysClr val="windowText" lastClr="000000"/>
      </a:dk1>
      <a:lt1>
        <a:sysClr val="window" lastClr="FFFFFF"/>
      </a:lt1>
      <a:dk2>
        <a:srgbClr val="E6E6E6"/>
      </a:dk2>
      <a:lt2>
        <a:srgbClr val="71180C"/>
      </a:lt2>
      <a:accent1>
        <a:srgbClr val="004355"/>
      </a:accent1>
      <a:accent2>
        <a:srgbClr val="00677F"/>
      </a:accent2>
      <a:accent3>
        <a:srgbClr val="007A93"/>
      </a:accent3>
      <a:accent4>
        <a:srgbClr val="A6CAD8"/>
      </a:accent4>
      <a:accent5>
        <a:srgbClr val="444444"/>
      </a:accent5>
      <a:accent6>
        <a:srgbClr val="9E9E9E"/>
      </a:accent6>
      <a:hlink>
        <a:srgbClr val="000000"/>
      </a:hlink>
      <a:folHlink>
        <a:srgbClr val="000000"/>
      </a:folHlink>
    </a:clrScheme>
    <a:fontScheme name="DAIMLER alte Schriften">
      <a:majorFont>
        <a:latin typeface="CorpoS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9E9E9E"/>
        </a:solidFill>
        <a:ln>
          <a:solidFill>
            <a:srgbClr val="9E9E9E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auto">
        <a:solidFill>
          <a:schemeClr val="bg1"/>
        </a:solidFill>
        <a:ln w="3175" cap="flat" cmpd="sng" algn="ctr">
          <a:solidFill>
            <a:srgbClr val="9E9E9E"/>
          </a:solidFill>
          <a:prstDash val="solid"/>
          <a:miter lim="800000"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/>
      <a:lstStyle/>
    </a:lnDef>
    <a:txDef>
      <a:spPr bwMode="auto">
        <a:noFill/>
        <a:ln w="9525">
          <a:noFill/>
          <a:miter lim="800000"/>
          <a:headEnd/>
          <a:tailEnd/>
        </a:ln>
      </a:spPr>
      <a:bodyPr wrap="none" lIns="72000" tIns="72000" rIns="72000" bIns="72000" rtlCol="0" anchor="t" anchorCtr="0">
        <a:spAutoFit/>
      </a:bodyPr>
      <a:lstStyle>
        <a:defPPr fontAlgn="base">
          <a:defRPr sz="1600" dirty="0" err="1" smtClean="0">
            <a:cs typeface="Daimler CS"/>
          </a:defRPr>
        </a:defPPr>
      </a:lstStyle>
    </a:txDef>
  </a:objectDefaults>
  <a:extraClrSchemeLst/>
  <a:custClrLst>
    <a:custClr name="Light Grey 100%">
      <a:srgbClr val="E6E6E6"/>
    </a:custClr>
    <a:custClr name="Light Grey 1">
      <a:srgbClr val="C8C8C8"/>
    </a:custClr>
    <a:custClr name="Light Grey 2">
      <a:srgbClr val="9E9E9E"/>
    </a:custClr>
    <a:custClr name="Light Grey 3">
      <a:srgbClr val="707070"/>
    </a:custClr>
    <a:custClr name="Light Grey 4">
      <a:srgbClr val="444444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Petrol 100%">
      <a:srgbClr val="00677F"/>
    </a:custClr>
    <a:custClr name="Petrol 1">
      <a:srgbClr val="A6CAD8"/>
    </a:custClr>
    <a:custClr name="Petrol 2">
      <a:srgbClr val="79AEBF"/>
    </a:custClr>
    <a:custClr name="Petrol 3">
      <a:srgbClr val="5097AB"/>
    </a:custClr>
    <a:custClr name="Petrol 4">
      <a:srgbClr val="007A93"/>
    </a:custClr>
    <a:custClr name="Petrol 5">
      <a:srgbClr val="00566A"/>
    </a:custClr>
    <a:custClr name="Petrol 6">
      <a:srgbClr val="004355"/>
    </a:custClr>
    <a:custClr>
      <a:srgbClr val="FFFFFF"/>
    </a:custClr>
    <a:custClr>
      <a:srgbClr val="FFFFFF"/>
    </a:custClr>
    <a:custClr>
      <a:srgbClr val="FFFFFF"/>
    </a:custClr>
    <a:custClr name="Deep Red 100%">
      <a:srgbClr val="71180C"/>
    </a:custClr>
    <a:custClr name="Deep Red 1">
      <a:srgbClr val="5A130A"/>
    </a:custClr>
    <a:custClr name="Deep Red 2">
      <a:srgbClr val="440E07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DAIMLER PowerPoint Master" id="{EC236F6F-0932-4579-B9C9-76061F3F806D}" vid="{FF3FD870-B082-4D1E-9BAD-62A395266FF0}"/>
    </a:ext>
  </a:extLst>
</a:theme>
</file>

<file path=ppt/theme/theme1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DAIMLER_PPT_Master_EN_01">
  <a:themeElements>
    <a:clrScheme name="DAIMLER PPT">
      <a:dk1>
        <a:sysClr val="windowText" lastClr="000000"/>
      </a:dk1>
      <a:lt1>
        <a:sysClr val="window" lastClr="FFFFFF"/>
      </a:lt1>
      <a:dk2>
        <a:srgbClr val="E6E6E6"/>
      </a:dk2>
      <a:lt2>
        <a:srgbClr val="71180C"/>
      </a:lt2>
      <a:accent1>
        <a:srgbClr val="004355"/>
      </a:accent1>
      <a:accent2>
        <a:srgbClr val="00677F"/>
      </a:accent2>
      <a:accent3>
        <a:srgbClr val="007A93"/>
      </a:accent3>
      <a:accent4>
        <a:srgbClr val="A6CAD8"/>
      </a:accent4>
      <a:accent5>
        <a:srgbClr val="444444"/>
      </a:accent5>
      <a:accent6>
        <a:srgbClr val="9E9E9E"/>
      </a:accent6>
      <a:hlink>
        <a:srgbClr val="000000"/>
      </a:hlink>
      <a:folHlink>
        <a:srgbClr val="000000"/>
      </a:folHlink>
    </a:clrScheme>
    <a:fontScheme name="DAIMLER alte Schriften">
      <a:majorFont>
        <a:latin typeface="CorpoS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auto">
        <a:solidFill>
          <a:schemeClr val="bg1"/>
        </a:solidFill>
        <a:ln w="3175" cap="flat" cmpd="sng" algn="ctr">
          <a:solidFill>
            <a:schemeClr val="tx1"/>
          </a:solidFill>
          <a:prstDash val="solid"/>
          <a:miter lim="800000"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/>
      <a:lstStyle/>
    </a:lnDef>
    <a:txDef>
      <a:spPr bwMode="auto">
        <a:noFill/>
        <a:ln w="9525">
          <a:noFill/>
          <a:miter lim="800000"/>
          <a:headEnd/>
          <a:tailEnd/>
        </a:ln>
      </a:spPr>
      <a:bodyPr lIns="0" tIns="0" rIns="0" bIns="0" anchor="t" anchorCtr="0"/>
      <a:lstStyle>
        <a:defPPr fontAlgn="base">
          <a:spcBef>
            <a:spcPct val="0"/>
          </a:spcBef>
          <a:spcAft>
            <a:spcPct val="0"/>
          </a:spcAft>
          <a:defRPr sz="1600" dirty="0">
            <a:cs typeface="Daimler CS"/>
          </a:defRPr>
        </a:defPPr>
      </a:lstStyle>
    </a:txDef>
  </a:objectDefaults>
  <a:extraClrSchemeLst/>
  <a:custClrLst>
    <a:custClr name="Light Grey 100%">
      <a:srgbClr val="E6E6E6"/>
    </a:custClr>
    <a:custClr name="Light Grey 1">
      <a:srgbClr val="C8C8C8"/>
    </a:custClr>
    <a:custClr name="Light Grey 2">
      <a:srgbClr val="9E9E9E"/>
    </a:custClr>
    <a:custClr name="Light Grey 3">
      <a:srgbClr val="707070"/>
    </a:custClr>
    <a:custClr name="Light Grey 4">
      <a:srgbClr val="444444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Petrol 100%">
      <a:srgbClr val="00677F"/>
    </a:custClr>
    <a:custClr name="Petrol 1">
      <a:srgbClr val="A6CAD8"/>
    </a:custClr>
    <a:custClr name="Petrol 2">
      <a:srgbClr val="79AEBF"/>
    </a:custClr>
    <a:custClr name="Petrol 3">
      <a:srgbClr val="5097AB"/>
    </a:custClr>
    <a:custClr name="Petrol 4">
      <a:srgbClr val="007A93"/>
    </a:custClr>
    <a:custClr name="Petrol 5">
      <a:srgbClr val="00566A"/>
    </a:custClr>
    <a:custClr name="Petrol 6">
      <a:srgbClr val="004355"/>
    </a:custClr>
    <a:custClr>
      <a:srgbClr val="FFFFFF"/>
    </a:custClr>
    <a:custClr>
      <a:srgbClr val="FFFFFF"/>
    </a:custClr>
    <a:custClr>
      <a:srgbClr val="FFFFFF"/>
    </a:custClr>
    <a:custClr name="Deep Red 100%">
      <a:srgbClr val="71180C"/>
    </a:custClr>
    <a:custClr name="Deep Red 1">
      <a:srgbClr val="5A130A"/>
    </a:custClr>
    <a:custClr name="Deep Red 2">
      <a:srgbClr val="440E07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DAIMLER_PPT_CorpoS_01.potx" id="{EC543FD7-5EC4-4BA6-8D46-55751DB26C9A}" vid="{AC52DE23-0984-469A-AEB4-5459A6B76E0F}"/>
    </a:ext>
  </a:extLst>
</a:theme>
</file>

<file path=ppt/theme/theme3.xml><?xml version="1.0" encoding="utf-8"?>
<a:theme xmlns:a="http://schemas.openxmlformats.org/drawingml/2006/main" name="Daimler_PowerPoint_Presentations_Template_EN">
  <a:themeElements>
    <a:clrScheme name="DAIMLER PPT">
      <a:dk1>
        <a:sysClr val="windowText" lastClr="000000"/>
      </a:dk1>
      <a:lt1>
        <a:sysClr val="window" lastClr="FFFFFF"/>
      </a:lt1>
      <a:dk2>
        <a:srgbClr val="E6E6E6"/>
      </a:dk2>
      <a:lt2>
        <a:srgbClr val="71180C"/>
      </a:lt2>
      <a:accent1>
        <a:srgbClr val="004355"/>
      </a:accent1>
      <a:accent2>
        <a:srgbClr val="00677F"/>
      </a:accent2>
      <a:accent3>
        <a:srgbClr val="007A93"/>
      </a:accent3>
      <a:accent4>
        <a:srgbClr val="A6CAD8"/>
      </a:accent4>
      <a:accent5>
        <a:srgbClr val="444444"/>
      </a:accent5>
      <a:accent6>
        <a:srgbClr val="9E9E9E"/>
      </a:accent6>
      <a:hlink>
        <a:srgbClr val="000000"/>
      </a:hlink>
      <a:folHlink>
        <a:srgbClr val="000000"/>
      </a:folHlink>
    </a:clrScheme>
    <a:fontScheme name="DAIMLER alte Schriften">
      <a:majorFont>
        <a:latin typeface="CorpoS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auto">
        <a:solidFill>
          <a:schemeClr val="bg1"/>
        </a:solidFill>
        <a:ln w="3175" cap="flat" cmpd="sng" algn="ctr">
          <a:solidFill>
            <a:schemeClr val="tx1"/>
          </a:solidFill>
          <a:prstDash val="solid"/>
          <a:miter lim="800000"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/>
      <a:lstStyle/>
    </a:lnDef>
    <a:txDef>
      <a:spPr bwMode="auto">
        <a:noFill/>
        <a:ln w="9525">
          <a:noFill/>
          <a:miter lim="800000"/>
          <a:headEnd/>
          <a:tailEnd/>
        </a:ln>
      </a:spPr>
      <a:bodyPr wrap="square" lIns="0" tIns="0" rIns="0" bIns="0" rtlCol="0" anchor="t" anchorCtr="0">
        <a:spAutoFit/>
      </a:bodyPr>
      <a:lstStyle>
        <a:defPPr marL="198000" indent="-198000" fontAlgn="base">
          <a:spcBef>
            <a:spcPct val="0"/>
          </a:spcBef>
          <a:spcAft>
            <a:spcPct val="0"/>
          </a:spcAft>
          <a:buClr>
            <a:srgbClr val="71180C"/>
          </a:buClr>
          <a:buSzPct val="80000"/>
          <a:buFont typeface="Wingdings" panose="05000000000000000000" pitchFamily="2" charset="2"/>
          <a:buChar char="n"/>
          <a:defRPr sz="2400" dirty="0" smtClean="0">
            <a:cs typeface="Daimler CS"/>
          </a:defRPr>
        </a:defPPr>
      </a:lstStyle>
    </a:txDef>
  </a:objectDefaults>
  <a:extraClrSchemeLst/>
  <a:custClrLst>
    <a:custClr name="Light Grey 100%">
      <a:srgbClr val="E6E6E6"/>
    </a:custClr>
    <a:custClr name="Light Grey 1">
      <a:srgbClr val="C8C8C8"/>
    </a:custClr>
    <a:custClr name="Light Grey 2">
      <a:srgbClr val="9E9E9E"/>
    </a:custClr>
    <a:custClr name="Light Grey 3">
      <a:srgbClr val="707070"/>
    </a:custClr>
    <a:custClr name="Light Grey 4">
      <a:srgbClr val="444444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Petrol 100%">
      <a:srgbClr val="00677F"/>
    </a:custClr>
    <a:custClr name="Petrol 1">
      <a:srgbClr val="A6CAD8"/>
    </a:custClr>
    <a:custClr name="Petrol 2">
      <a:srgbClr val="79AEBF"/>
    </a:custClr>
    <a:custClr name="Petrol 3">
      <a:srgbClr val="5097AB"/>
    </a:custClr>
    <a:custClr name="Petrol 4">
      <a:srgbClr val="007A93"/>
    </a:custClr>
    <a:custClr name="Petrol 5">
      <a:srgbClr val="00566A"/>
    </a:custClr>
    <a:custClr name="Petrol 6">
      <a:srgbClr val="004355"/>
    </a:custClr>
    <a:custClr>
      <a:srgbClr val="FFFFFF"/>
    </a:custClr>
    <a:custClr>
      <a:srgbClr val="FFFFFF"/>
    </a:custClr>
    <a:custClr>
      <a:srgbClr val="FFFFFF"/>
    </a:custClr>
    <a:custClr name="Deep Red 100%">
      <a:srgbClr val="71180C"/>
    </a:custClr>
    <a:custClr name="Deep Red 1">
      <a:srgbClr val="5A130A"/>
    </a:custClr>
    <a:custClr name="Deep Red 2">
      <a:srgbClr val="440E07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DAIMLER_PPT_CorpoS_01.potx" id="{EC543FD7-5EC4-4BA6-8D46-55751DB26C9A}" vid="{AC52DE23-0984-469A-AEB4-5459A6B76E0F}"/>
    </a:ext>
  </a:extLst>
</a:theme>
</file>

<file path=ppt/theme/theme4.xml><?xml version="1.0" encoding="utf-8"?>
<a:theme xmlns:a="http://schemas.openxmlformats.org/drawingml/2006/main" name="1_DAIMLER PowerPoint Master">
  <a:themeElements>
    <a:clrScheme name="DAIMLER PPT">
      <a:dk1>
        <a:sysClr val="windowText" lastClr="000000"/>
      </a:dk1>
      <a:lt1>
        <a:sysClr val="window" lastClr="FFFFFF"/>
      </a:lt1>
      <a:dk2>
        <a:srgbClr val="E6E6E6"/>
      </a:dk2>
      <a:lt2>
        <a:srgbClr val="71180C"/>
      </a:lt2>
      <a:accent1>
        <a:srgbClr val="004355"/>
      </a:accent1>
      <a:accent2>
        <a:srgbClr val="00677F"/>
      </a:accent2>
      <a:accent3>
        <a:srgbClr val="007A93"/>
      </a:accent3>
      <a:accent4>
        <a:srgbClr val="A6CAD8"/>
      </a:accent4>
      <a:accent5>
        <a:srgbClr val="444444"/>
      </a:accent5>
      <a:accent6>
        <a:srgbClr val="9E9E9E"/>
      </a:accent6>
      <a:hlink>
        <a:srgbClr val="000000"/>
      </a:hlink>
      <a:folHlink>
        <a:srgbClr val="000000"/>
      </a:folHlink>
    </a:clrScheme>
    <a:fontScheme name="DAIMLER alte Schriften">
      <a:majorFont>
        <a:latin typeface="CorpoS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9E9E9E"/>
        </a:solidFill>
        <a:ln>
          <a:solidFill>
            <a:srgbClr val="9E9E9E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auto">
        <a:solidFill>
          <a:schemeClr val="bg1"/>
        </a:solidFill>
        <a:ln w="3175" cap="flat" cmpd="sng" algn="ctr">
          <a:solidFill>
            <a:srgbClr val="9E9E9E"/>
          </a:solidFill>
          <a:prstDash val="solid"/>
          <a:miter lim="800000"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/>
      <a:lstStyle/>
    </a:lnDef>
    <a:txDef>
      <a:spPr bwMode="auto">
        <a:noFill/>
        <a:ln w="9525">
          <a:noFill/>
          <a:miter lim="800000"/>
          <a:headEnd/>
          <a:tailEnd/>
        </a:ln>
      </a:spPr>
      <a:bodyPr wrap="none" lIns="72000" tIns="72000" rIns="72000" bIns="72000" rtlCol="0" anchor="t" anchorCtr="0">
        <a:spAutoFit/>
      </a:bodyPr>
      <a:lstStyle>
        <a:defPPr fontAlgn="base">
          <a:defRPr sz="1600" dirty="0" err="1" smtClean="0">
            <a:cs typeface="Daimler CS"/>
          </a:defRPr>
        </a:defPPr>
      </a:lstStyle>
    </a:txDef>
  </a:objectDefaults>
  <a:extraClrSchemeLst/>
  <a:custClrLst>
    <a:custClr name="Light Grey 100%">
      <a:srgbClr val="E6E6E6"/>
    </a:custClr>
    <a:custClr name="Light Grey 1">
      <a:srgbClr val="C8C8C8"/>
    </a:custClr>
    <a:custClr name="Light Grey 2">
      <a:srgbClr val="9E9E9E"/>
    </a:custClr>
    <a:custClr name="Light Grey 3">
      <a:srgbClr val="707070"/>
    </a:custClr>
    <a:custClr name="Light Grey 4">
      <a:srgbClr val="444444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Petrol 100%">
      <a:srgbClr val="00677F"/>
    </a:custClr>
    <a:custClr name="Petrol 1">
      <a:srgbClr val="A6CAD8"/>
    </a:custClr>
    <a:custClr name="Petrol 2">
      <a:srgbClr val="79AEBF"/>
    </a:custClr>
    <a:custClr name="Petrol 3">
      <a:srgbClr val="5097AB"/>
    </a:custClr>
    <a:custClr name="Petrol 4">
      <a:srgbClr val="007A93"/>
    </a:custClr>
    <a:custClr name="Petrol 5">
      <a:srgbClr val="00566A"/>
    </a:custClr>
    <a:custClr name="Petrol 6">
      <a:srgbClr val="004355"/>
    </a:custClr>
    <a:custClr>
      <a:srgbClr val="FFFFFF"/>
    </a:custClr>
    <a:custClr>
      <a:srgbClr val="FFFFFF"/>
    </a:custClr>
    <a:custClr>
      <a:srgbClr val="FFFFFF"/>
    </a:custClr>
    <a:custClr name="Deep Red 100%">
      <a:srgbClr val="71180C"/>
    </a:custClr>
    <a:custClr name="Deep Red 1">
      <a:srgbClr val="5A130A"/>
    </a:custClr>
    <a:custClr name="Deep Red 2">
      <a:srgbClr val="440E07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DAIMLER PowerPoint Master" id="{EC236F6F-0932-4579-B9C9-76061F3F806D}" vid="{FF3FD870-B082-4D1E-9BAD-62A395266FF0}"/>
    </a:ext>
  </a:extLst>
</a:theme>
</file>

<file path=ppt/theme/theme5.xml><?xml version="1.0" encoding="utf-8"?>
<a:theme xmlns:a="http://schemas.openxmlformats.org/drawingml/2006/main" name="2_DAIMLER PowerPoint Master">
  <a:themeElements>
    <a:clrScheme name="DAIMLER PPT">
      <a:dk1>
        <a:sysClr val="windowText" lastClr="000000"/>
      </a:dk1>
      <a:lt1>
        <a:sysClr val="window" lastClr="FFFFFF"/>
      </a:lt1>
      <a:dk2>
        <a:srgbClr val="E6E6E6"/>
      </a:dk2>
      <a:lt2>
        <a:srgbClr val="71180C"/>
      </a:lt2>
      <a:accent1>
        <a:srgbClr val="004355"/>
      </a:accent1>
      <a:accent2>
        <a:srgbClr val="00677F"/>
      </a:accent2>
      <a:accent3>
        <a:srgbClr val="007A93"/>
      </a:accent3>
      <a:accent4>
        <a:srgbClr val="A6CAD8"/>
      </a:accent4>
      <a:accent5>
        <a:srgbClr val="444444"/>
      </a:accent5>
      <a:accent6>
        <a:srgbClr val="9E9E9E"/>
      </a:accent6>
      <a:hlink>
        <a:srgbClr val="000000"/>
      </a:hlink>
      <a:folHlink>
        <a:srgbClr val="000000"/>
      </a:folHlink>
    </a:clrScheme>
    <a:fontScheme name="DAIMLER alte Schriften">
      <a:majorFont>
        <a:latin typeface="CorpoS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9E9E9E"/>
        </a:solidFill>
        <a:ln>
          <a:solidFill>
            <a:srgbClr val="9E9E9E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auto">
        <a:solidFill>
          <a:schemeClr val="bg1"/>
        </a:solidFill>
        <a:ln w="3175" cap="flat" cmpd="sng" algn="ctr">
          <a:solidFill>
            <a:srgbClr val="9E9E9E"/>
          </a:solidFill>
          <a:prstDash val="solid"/>
          <a:miter lim="800000"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/>
      <a:lstStyle/>
    </a:lnDef>
    <a:txDef>
      <a:spPr bwMode="auto">
        <a:noFill/>
        <a:ln w="9525">
          <a:noFill/>
          <a:miter lim="800000"/>
          <a:headEnd/>
          <a:tailEnd/>
        </a:ln>
      </a:spPr>
      <a:bodyPr wrap="none" lIns="72000" tIns="72000" rIns="72000" bIns="72000" rtlCol="0" anchor="t" anchorCtr="0">
        <a:spAutoFit/>
      </a:bodyPr>
      <a:lstStyle>
        <a:defPPr fontAlgn="base">
          <a:defRPr sz="1600" dirty="0" err="1" smtClean="0">
            <a:cs typeface="Daimler CS"/>
          </a:defRPr>
        </a:defPPr>
      </a:lstStyle>
    </a:txDef>
  </a:objectDefaults>
  <a:extraClrSchemeLst/>
  <a:custClrLst>
    <a:custClr name="Light Grey 100%">
      <a:srgbClr val="E6E6E6"/>
    </a:custClr>
    <a:custClr name="Light Grey 1">
      <a:srgbClr val="C8C8C8"/>
    </a:custClr>
    <a:custClr name="Light Grey 2">
      <a:srgbClr val="9E9E9E"/>
    </a:custClr>
    <a:custClr name="Light Grey 3">
      <a:srgbClr val="707070"/>
    </a:custClr>
    <a:custClr name="Light Grey 4">
      <a:srgbClr val="444444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Petrol 100%">
      <a:srgbClr val="00677F"/>
    </a:custClr>
    <a:custClr name="Petrol 1">
      <a:srgbClr val="A6CAD8"/>
    </a:custClr>
    <a:custClr name="Petrol 2">
      <a:srgbClr val="79AEBF"/>
    </a:custClr>
    <a:custClr name="Petrol 3">
      <a:srgbClr val="5097AB"/>
    </a:custClr>
    <a:custClr name="Petrol 4">
      <a:srgbClr val="007A93"/>
    </a:custClr>
    <a:custClr name="Petrol 5">
      <a:srgbClr val="00566A"/>
    </a:custClr>
    <a:custClr name="Petrol 6">
      <a:srgbClr val="004355"/>
    </a:custClr>
    <a:custClr>
      <a:srgbClr val="FFFFFF"/>
    </a:custClr>
    <a:custClr>
      <a:srgbClr val="FFFFFF"/>
    </a:custClr>
    <a:custClr>
      <a:srgbClr val="FFFFFF"/>
    </a:custClr>
    <a:custClr name="Deep Red 100%">
      <a:srgbClr val="71180C"/>
    </a:custClr>
    <a:custClr name="Deep Red 1">
      <a:srgbClr val="5A130A"/>
    </a:custClr>
    <a:custClr name="Deep Red 2">
      <a:srgbClr val="440E07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Blank" id="{B51BCD62-B1CC-4F02-A717-A2FBE3A85447}" vid="{C7A3826C-A99F-4738-92E0-C595806DDFCA}"/>
    </a:ext>
  </a:extLst>
</a:theme>
</file>

<file path=ppt/theme/theme6.xml><?xml version="1.0" encoding="utf-8"?>
<a:theme xmlns:a="http://schemas.openxmlformats.org/drawingml/2006/main" name="3_DAIMLER PowerPoint Master">
  <a:themeElements>
    <a:clrScheme name="DAIMLER PPT">
      <a:dk1>
        <a:sysClr val="windowText" lastClr="000000"/>
      </a:dk1>
      <a:lt1>
        <a:sysClr val="window" lastClr="FFFFFF"/>
      </a:lt1>
      <a:dk2>
        <a:srgbClr val="E6E6E6"/>
      </a:dk2>
      <a:lt2>
        <a:srgbClr val="71180C"/>
      </a:lt2>
      <a:accent1>
        <a:srgbClr val="004355"/>
      </a:accent1>
      <a:accent2>
        <a:srgbClr val="00677F"/>
      </a:accent2>
      <a:accent3>
        <a:srgbClr val="007A93"/>
      </a:accent3>
      <a:accent4>
        <a:srgbClr val="A6CAD8"/>
      </a:accent4>
      <a:accent5>
        <a:srgbClr val="444444"/>
      </a:accent5>
      <a:accent6>
        <a:srgbClr val="9E9E9E"/>
      </a:accent6>
      <a:hlink>
        <a:srgbClr val="000000"/>
      </a:hlink>
      <a:folHlink>
        <a:srgbClr val="000000"/>
      </a:folHlink>
    </a:clrScheme>
    <a:fontScheme name="DAIMLER alte Schriften">
      <a:majorFont>
        <a:latin typeface="CorpoS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9E9E9E"/>
        </a:solidFill>
        <a:ln>
          <a:solidFill>
            <a:srgbClr val="9E9E9E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auto">
        <a:solidFill>
          <a:schemeClr val="bg1"/>
        </a:solidFill>
        <a:ln w="3175" cap="flat" cmpd="sng" algn="ctr">
          <a:solidFill>
            <a:srgbClr val="9E9E9E"/>
          </a:solidFill>
          <a:prstDash val="solid"/>
          <a:miter lim="800000"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/>
      <a:lstStyle/>
    </a:lnDef>
    <a:txDef>
      <a:spPr bwMode="auto">
        <a:noFill/>
        <a:ln w="9525">
          <a:noFill/>
          <a:miter lim="800000"/>
          <a:headEnd/>
          <a:tailEnd/>
        </a:ln>
      </a:spPr>
      <a:bodyPr wrap="none" lIns="72000" tIns="72000" rIns="72000" bIns="72000" rtlCol="0" anchor="t" anchorCtr="0">
        <a:spAutoFit/>
      </a:bodyPr>
      <a:lstStyle>
        <a:defPPr fontAlgn="base">
          <a:defRPr sz="1600" dirty="0" err="1" smtClean="0">
            <a:cs typeface="Daimler CS"/>
          </a:defRPr>
        </a:defPPr>
      </a:lstStyle>
    </a:txDef>
  </a:objectDefaults>
  <a:extraClrSchemeLst/>
  <a:custClrLst>
    <a:custClr name="Light Grey 100%">
      <a:srgbClr val="E6E6E6"/>
    </a:custClr>
    <a:custClr name="Light Grey 1">
      <a:srgbClr val="C8C8C8"/>
    </a:custClr>
    <a:custClr name="Light Grey 2">
      <a:srgbClr val="9E9E9E"/>
    </a:custClr>
    <a:custClr name="Light Grey 3">
      <a:srgbClr val="707070"/>
    </a:custClr>
    <a:custClr name="Light Grey 4">
      <a:srgbClr val="444444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Petrol 100%">
      <a:srgbClr val="00677F"/>
    </a:custClr>
    <a:custClr name="Petrol 1">
      <a:srgbClr val="A6CAD8"/>
    </a:custClr>
    <a:custClr name="Petrol 2">
      <a:srgbClr val="79AEBF"/>
    </a:custClr>
    <a:custClr name="Petrol 3">
      <a:srgbClr val="5097AB"/>
    </a:custClr>
    <a:custClr name="Petrol 4">
      <a:srgbClr val="007A93"/>
    </a:custClr>
    <a:custClr name="Petrol 5">
      <a:srgbClr val="00566A"/>
    </a:custClr>
    <a:custClr name="Petrol 6">
      <a:srgbClr val="004355"/>
    </a:custClr>
    <a:custClr>
      <a:srgbClr val="FFFFFF"/>
    </a:custClr>
    <a:custClr>
      <a:srgbClr val="FFFFFF"/>
    </a:custClr>
    <a:custClr>
      <a:srgbClr val="FFFFFF"/>
    </a:custClr>
    <a:custClr name="Deep Red 100%">
      <a:srgbClr val="71180C"/>
    </a:custClr>
    <a:custClr name="Deep Red 1">
      <a:srgbClr val="5A130A"/>
    </a:custClr>
    <a:custClr name="Deep Red 2">
      <a:srgbClr val="440E07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Blank.potx" id="{D2AEC184-1FBE-4011-911C-2BEEE050BC69}" vid="{D19F048A-6431-4234-A21C-90E865091413}"/>
    </a:ext>
  </a:extLst>
</a:theme>
</file>

<file path=ppt/theme/theme7.xml><?xml version="1.0" encoding="utf-8"?>
<a:theme xmlns:a="http://schemas.openxmlformats.org/drawingml/2006/main" name="Daimler_Trucks_Master_North_America">
  <a:themeElements>
    <a:clrScheme name="Daimler_Trucks_Master_North_America 1">
      <a:dk1>
        <a:srgbClr val="000000"/>
      </a:dk1>
      <a:lt1>
        <a:srgbClr val="FFFFFF"/>
      </a:lt1>
      <a:dk2>
        <a:srgbClr val="263F6A"/>
      </a:dk2>
      <a:lt2>
        <a:srgbClr val="3F9AC9"/>
      </a:lt2>
      <a:accent1>
        <a:srgbClr val="D2D4D6"/>
      </a:accent1>
      <a:accent2>
        <a:srgbClr val="76787A"/>
      </a:accent2>
      <a:accent3>
        <a:srgbClr val="FFFFFF"/>
      </a:accent3>
      <a:accent4>
        <a:srgbClr val="000000"/>
      </a:accent4>
      <a:accent5>
        <a:srgbClr val="E5E6E8"/>
      </a:accent5>
      <a:accent6>
        <a:srgbClr val="6A6C6E"/>
      </a:accent6>
      <a:hlink>
        <a:srgbClr val="AFB2B4"/>
      </a:hlink>
      <a:folHlink>
        <a:srgbClr val="DFE0E2"/>
      </a:folHlink>
    </a:clrScheme>
    <a:fontScheme name="Daimler_Trucks_Master_North_America">
      <a:majorFont>
        <a:latin typeface="CorpoS"/>
        <a:ea typeface=""/>
        <a:cs typeface=""/>
      </a:majorFont>
      <a:minorFont>
        <a:latin typeface="Corpo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0000" tIns="46800" rIns="90000" bIns="4680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CorpoS" pitchFamily="2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0000" tIns="46800" rIns="90000" bIns="4680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CorpoS" pitchFamily="2" charset="0"/>
          </a:defRPr>
        </a:defPPr>
      </a:lstStyle>
    </a:lnDef>
  </a:objectDefaults>
  <a:extraClrSchemeLst>
    <a:extraClrScheme>
      <a:clrScheme name="Daimler_Trucks_Master_North_America 1">
        <a:dk1>
          <a:srgbClr val="000000"/>
        </a:dk1>
        <a:lt1>
          <a:srgbClr val="FFFFFF"/>
        </a:lt1>
        <a:dk2>
          <a:srgbClr val="263F6A"/>
        </a:dk2>
        <a:lt2>
          <a:srgbClr val="3F9AC9"/>
        </a:lt2>
        <a:accent1>
          <a:srgbClr val="D2D4D6"/>
        </a:accent1>
        <a:accent2>
          <a:srgbClr val="76787A"/>
        </a:accent2>
        <a:accent3>
          <a:srgbClr val="FFFFFF"/>
        </a:accent3>
        <a:accent4>
          <a:srgbClr val="000000"/>
        </a:accent4>
        <a:accent5>
          <a:srgbClr val="E5E6E8"/>
        </a:accent5>
        <a:accent6>
          <a:srgbClr val="6A6C6E"/>
        </a:accent6>
        <a:hlink>
          <a:srgbClr val="AFB2B4"/>
        </a:hlink>
        <a:folHlink>
          <a:srgbClr val="DFE0E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17_blank">
  <a:themeElements>
    <a:clrScheme name="DAIMLER PPT">
      <a:dk1>
        <a:sysClr val="windowText" lastClr="000000"/>
      </a:dk1>
      <a:lt1>
        <a:sysClr val="window" lastClr="FFFFFF"/>
      </a:lt1>
      <a:dk2>
        <a:srgbClr val="E6E6E6"/>
      </a:dk2>
      <a:lt2>
        <a:srgbClr val="71180C"/>
      </a:lt2>
      <a:accent1>
        <a:srgbClr val="004355"/>
      </a:accent1>
      <a:accent2>
        <a:srgbClr val="00677F"/>
      </a:accent2>
      <a:accent3>
        <a:srgbClr val="007A93"/>
      </a:accent3>
      <a:accent4>
        <a:srgbClr val="A6CAD8"/>
      </a:accent4>
      <a:accent5>
        <a:srgbClr val="444444"/>
      </a:accent5>
      <a:accent6>
        <a:srgbClr val="9E9E9E"/>
      </a:accent6>
      <a:hlink>
        <a:srgbClr val="000000"/>
      </a:hlink>
      <a:folHlink>
        <a:srgbClr val="000000"/>
      </a:folHlink>
    </a:clrScheme>
    <a:fontScheme name="DAIMLER alte Schriften">
      <a:majorFont>
        <a:latin typeface="CorpoS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auto">
        <a:solidFill>
          <a:schemeClr val="bg1"/>
        </a:solidFill>
        <a:ln w="3175" cap="flat" cmpd="sng" algn="ctr">
          <a:solidFill>
            <a:schemeClr val="tx1"/>
          </a:solidFill>
          <a:prstDash val="solid"/>
          <a:miter lim="800000"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/>
      <a:lstStyle/>
    </a:lnDef>
    <a:txDef>
      <a:spPr bwMode="auto">
        <a:noFill/>
        <a:ln w="9525">
          <a:noFill/>
          <a:miter lim="800000"/>
          <a:headEnd/>
          <a:tailEnd/>
        </a:ln>
      </a:spPr>
      <a:bodyPr lIns="0" tIns="0" rIns="0" bIns="0" anchor="t" anchorCtr="0"/>
      <a:lstStyle>
        <a:defPPr fontAlgn="base">
          <a:spcBef>
            <a:spcPct val="0"/>
          </a:spcBef>
          <a:spcAft>
            <a:spcPct val="0"/>
          </a:spcAft>
          <a:defRPr sz="1600" dirty="0">
            <a:cs typeface="Daimler CS"/>
          </a:defRPr>
        </a:defPPr>
      </a:lstStyle>
    </a:txDef>
  </a:objectDefaults>
  <a:extraClrSchemeLst/>
  <a:custClrLst>
    <a:custClr name="Light Grey 100%">
      <a:srgbClr val="E6E6E6"/>
    </a:custClr>
    <a:custClr name="Light Grey 1">
      <a:srgbClr val="C8C8C8"/>
    </a:custClr>
    <a:custClr name="Light Grey 2">
      <a:srgbClr val="9E9E9E"/>
    </a:custClr>
    <a:custClr name="Light Grey 3">
      <a:srgbClr val="707070"/>
    </a:custClr>
    <a:custClr name="Light Grey 4">
      <a:srgbClr val="444444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Petrol 100%">
      <a:srgbClr val="00677F"/>
    </a:custClr>
    <a:custClr name="Petrol 1">
      <a:srgbClr val="A6CAD8"/>
    </a:custClr>
    <a:custClr name="Petrol 2">
      <a:srgbClr val="79AEBF"/>
    </a:custClr>
    <a:custClr name="Petrol 3">
      <a:srgbClr val="5097AB"/>
    </a:custClr>
    <a:custClr name="Petrol 4">
      <a:srgbClr val="007A93"/>
    </a:custClr>
    <a:custClr name="Petrol 5">
      <a:srgbClr val="00566A"/>
    </a:custClr>
    <a:custClr name="Petrol 6">
      <a:srgbClr val="004355"/>
    </a:custClr>
    <a:custClr>
      <a:srgbClr val="FFFFFF"/>
    </a:custClr>
    <a:custClr>
      <a:srgbClr val="FFFFFF"/>
    </a:custClr>
    <a:custClr>
      <a:srgbClr val="FFFFFF"/>
    </a:custClr>
    <a:custClr name="Deep Red 100%">
      <a:srgbClr val="71180C"/>
    </a:custClr>
    <a:custClr name="Deep Red 1">
      <a:srgbClr val="5A130A"/>
    </a:custClr>
    <a:custClr name="Deep Red 2">
      <a:srgbClr val="440E07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DTA_official_master.potx" id="{46BE0E8D-0541-47CB-8744-C90F9E738DC5}" vid="{86BDA009-904C-45C3-9883-899F1DC12BB9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leansing_Plan_2nd_20190627</Template>
  <TotalTime>0</TotalTime>
  <Words>1648</Words>
  <Application>Microsoft Office PowerPoint</Application>
  <PresentationFormat>ワイド画面</PresentationFormat>
  <Paragraphs>346</Paragraphs>
  <Slides>10</Slides>
  <Notes>10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13</vt:i4>
      </vt:variant>
      <vt:variant>
        <vt:lpstr>テーマ</vt:lpstr>
      </vt:variant>
      <vt:variant>
        <vt:i4>15</vt:i4>
      </vt:variant>
      <vt:variant>
        <vt:lpstr>埋め込まれた OLE サーバー</vt:lpstr>
      </vt:variant>
      <vt:variant>
        <vt:i4>2</vt:i4>
      </vt:variant>
      <vt:variant>
        <vt:lpstr>スライド タイトル</vt:lpstr>
      </vt:variant>
      <vt:variant>
        <vt:i4>10</vt:i4>
      </vt:variant>
    </vt:vector>
  </HeadingPairs>
  <TitlesOfParts>
    <vt:vector size="40" baseType="lpstr">
      <vt:lpstr>Meiryo UI</vt:lpstr>
      <vt:lpstr>ＭＳ Ｐゴシック</vt:lpstr>
      <vt:lpstr>游ゴシック</vt:lpstr>
      <vt:lpstr>Arial</vt:lpstr>
      <vt:lpstr>Calibri</vt:lpstr>
      <vt:lpstr>Calibri Light</vt:lpstr>
      <vt:lpstr>CorpoS</vt:lpstr>
      <vt:lpstr>CorpoSDem</vt:lpstr>
      <vt:lpstr>Daimler CS</vt:lpstr>
      <vt:lpstr>Georgia</vt:lpstr>
      <vt:lpstr>Symbol</vt:lpstr>
      <vt:lpstr>Trebuchet MS</vt:lpstr>
      <vt:lpstr>Wingdings</vt:lpstr>
      <vt:lpstr>DAIMLER PowerPoint Master</vt:lpstr>
      <vt:lpstr>DAIMLER_PPT_Master_EN_01</vt:lpstr>
      <vt:lpstr>Daimler_PowerPoint_Presentations_Template_EN</vt:lpstr>
      <vt:lpstr>1_DAIMLER PowerPoint Master</vt:lpstr>
      <vt:lpstr>2_DAIMLER PowerPoint Master</vt:lpstr>
      <vt:lpstr>3_DAIMLER PowerPoint Master</vt:lpstr>
      <vt:lpstr>Daimler_Trucks_Master_North_America</vt:lpstr>
      <vt:lpstr>Custom Design</vt:lpstr>
      <vt:lpstr>17_blank</vt:lpstr>
      <vt:lpstr>3_BCG Grid 16:9</vt:lpstr>
      <vt:lpstr>4_DAIMLER PowerPoint Master</vt:lpstr>
      <vt:lpstr>1_BCG Grid 16:9</vt:lpstr>
      <vt:lpstr>2_BCG Grid 16:9</vt:lpstr>
      <vt:lpstr>4_BCG Grid 16:9</vt:lpstr>
      <vt:lpstr>5_DAIMLER PowerPoint Master</vt:lpstr>
      <vt:lpstr>think-cell スライド</vt:lpstr>
      <vt:lpstr>think-cell Slide</vt:lpstr>
      <vt:lpstr>FORCE – 役割説明資料 Sep 27th , 2019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</vt:vector>
  </TitlesOfParts>
  <Company>Daimler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ata cleansing plan for 2nd Go-Live June 27th , 2019 WS6.3</dc:title>
  <dc:creator>Higashi, Daisuke (575-Extern)</dc:creator>
  <cp:lastModifiedBy>Ikezawa, Makoto (575)</cp:lastModifiedBy>
  <cp:revision>439</cp:revision>
  <cp:lastPrinted>2018-09-28T05:55:43Z</cp:lastPrinted>
  <dcterms:created xsi:type="dcterms:W3CDTF">2019-06-28T01:24:07Z</dcterms:created>
  <dcterms:modified xsi:type="dcterms:W3CDTF">2019-10-02T09:59:47Z</dcterms:modified>
</cp:coreProperties>
</file>